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21"/>
  </p:notesMasterIdLst>
  <p:handoutMasterIdLst>
    <p:handoutMasterId r:id="rId22"/>
  </p:handoutMasterIdLst>
  <p:sldIdLst>
    <p:sldId id="2145705560" r:id="rId6"/>
    <p:sldId id="2147481241" r:id="rId7"/>
    <p:sldId id="2147479283" r:id="rId8"/>
    <p:sldId id="2147481242" r:id="rId9"/>
    <p:sldId id="2147479278" r:id="rId10"/>
    <p:sldId id="2147479268" r:id="rId11"/>
    <p:sldId id="2147479298" r:id="rId12"/>
    <p:sldId id="2147479269" r:id="rId13"/>
    <p:sldId id="2147479270" r:id="rId14"/>
    <p:sldId id="2147479271" r:id="rId15"/>
    <p:sldId id="2147479276" r:id="rId16"/>
    <p:sldId id="2147479272" r:id="rId17"/>
    <p:sldId id="2147479273" r:id="rId18"/>
    <p:sldId id="2147479279" r:id="rId19"/>
    <p:sldId id="2147479275" r:id="rId20"/>
  </p:sldIdLst>
  <p:sldSz cx="12192000" cy="6858000"/>
  <p:notesSz cx="7010400" cy="9296400"/>
  <p:embeddedFontLst>
    <p:embeddedFont>
      <p:font typeface="PTCRaleway" panose="020B0604020202020204" charset="0"/>
      <p:regular r:id="rId23"/>
      <p:bold r:id="rId24"/>
      <p:italic r:id="rId25"/>
      <p:boldItalic r:id="rId26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7" pos="7392" userDrawn="1">
          <p15:clr>
            <a:srgbClr val="A4A3A4"/>
          </p15:clr>
        </p15:guide>
        <p15:guide id="30" pos="312" userDrawn="1">
          <p15:clr>
            <a:srgbClr val="A4A3A4"/>
          </p15:clr>
        </p15:guide>
        <p15:guide id="32" orient="horz" pos="4152" userDrawn="1">
          <p15:clr>
            <a:srgbClr val="A4A3A4"/>
          </p15:clr>
        </p15:guide>
        <p15:guide id="33" orient="horz" pos="1200" userDrawn="1">
          <p15:clr>
            <a:srgbClr val="A4A3A4"/>
          </p15:clr>
        </p15:guide>
        <p15:guide id="34" orient="horz" pos="15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9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2C3A"/>
    <a:srgbClr val="595F60"/>
    <a:srgbClr val="C9C9C9"/>
    <a:srgbClr val="C37729"/>
    <a:srgbClr val="EB6D00"/>
    <a:srgbClr val="3D4647"/>
    <a:srgbClr val="197BC0"/>
    <a:srgbClr val="BDE1BF"/>
    <a:srgbClr val="97CF9B"/>
    <a:srgbClr val="33A1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2226" autoAdjust="0"/>
    <p:restoredTop sz="88875" autoAdjust="0"/>
  </p:normalViewPr>
  <p:slideViewPr>
    <p:cSldViewPr snapToGrid="0" snapToObjects="1">
      <p:cViewPr varScale="1">
        <p:scale>
          <a:sx n="66" d="100"/>
          <a:sy n="66" d="100"/>
        </p:scale>
        <p:origin x="1382" y="48"/>
      </p:cViewPr>
      <p:guideLst>
        <p:guide orient="horz" pos="888"/>
        <p:guide orient="horz" pos="600"/>
        <p:guide pos="7392"/>
        <p:guide pos="312"/>
        <p:guide orient="horz" pos="4152"/>
        <p:guide orient="horz" pos="1200"/>
        <p:guide orient="horz" pos="15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242"/>
    </p:cViewPr>
  </p:sorterViewPr>
  <p:notesViewPr>
    <p:cSldViewPr snapToGrid="0" snapToObjects="1">
      <p:cViewPr varScale="1">
        <p:scale>
          <a:sx n="77" d="100"/>
          <a:sy n="77" d="100"/>
        </p:scale>
        <p:origin x="3096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2.fntdata"/><Relationship Id="rId32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font" Target="fonts/font1.fntdata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2/03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/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AC5DD82D-684E-4FFB-8320-B8CCB1AF24EB}" type="datetimeFigureOut">
              <a:rPr lang="en-US" smtClean="0"/>
              <a:pPr/>
              <a:t>3/12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2880" indent="-18288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j-lt"/>
        <a:ea typeface="+mn-ea"/>
        <a:cs typeface="+mn-cs"/>
      </a:defRPr>
    </a:lvl1pPr>
    <a:lvl2pPr marL="365760" indent="-182880" algn="l" defTabSz="914400" rtl="0" eaLnBrk="1" latinLnBrk="0" hangingPunct="1">
      <a:buFont typeface="Calibri Light" panose="020F0302020204030204" pitchFamily="34" charset="0"/>
      <a:buChar char="–"/>
      <a:defRPr sz="1200" kern="1200">
        <a:solidFill>
          <a:schemeClr val="tx1"/>
        </a:solidFill>
        <a:latin typeface="+mj-lt"/>
        <a:ea typeface="+mn-ea"/>
        <a:cs typeface="+mn-cs"/>
      </a:defRPr>
    </a:lvl2pPr>
    <a:lvl3pPr marL="548640" indent="-18288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j-lt"/>
        <a:ea typeface="+mn-ea"/>
        <a:cs typeface="+mn-cs"/>
      </a:defRPr>
    </a:lvl3pPr>
    <a:lvl4pPr marL="731520" indent="-182880" algn="l" defTabSz="914400" rtl="0" eaLnBrk="1" latinLnBrk="0" hangingPunct="1">
      <a:buFont typeface="Calibri Light" panose="020F0302020204030204" pitchFamily="34" charset="0"/>
      <a:buChar char="–"/>
      <a:defRPr sz="1200" kern="1200">
        <a:solidFill>
          <a:schemeClr val="tx1"/>
        </a:solidFill>
        <a:latin typeface="+mj-lt"/>
        <a:ea typeface="+mn-ea"/>
        <a:cs typeface="+mn-cs"/>
      </a:defRPr>
    </a:lvl4pPr>
    <a:lvl5pPr marL="914400" indent="-18288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j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/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9872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ea typeface="+mn-lt"/>
                <a:cs typeface="+mn-lt"/>
              </a:rPr>
              <a:t>Chart (decreased cost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ea typeface="+mn-lt"/>
                <a:cs typeface="+mn-lt"/>
              </a:rPr>
              <a:t>Chart (increased cost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ea typeface="+mn-lt"/>
                <a:cs typeface="+mn-lt"/>
              </a:rPr>
              <a:t>Increased revenu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ea typeface="+mn-lt"/>
                <a:cs typeface="+mn-lt"/>
              </a:rPr>
              <a:t>Increased productiv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ea typeface="+mn-lt"/>
                <a:cs typeface="+mn-lt"/>
              </a:rPr>
              <a:t>Pillars</a:t>
            </a:r>
          </a:p>
          <a:p>
            <a:pPr marL="0" indent="0">
              <a:buNone/>
            </a:pPr>
            <a:r>
              <a:rPr lang="en-US" dirty="0"/>
              <a:t>Justice</a:t>
            </a:r>
          </a:p>
          <a:p>
            <a:pPr marL="0" indent="0">
              <a:buNone/>
            </a:pPr>
            <a:r>
              <a:rPr lang="en-US" dirty="0"/>
              <a:t>Clock </a:t>
            </a:r>
          </a:p>
          <a:p>
            <a:pPr marL="0" indent="0">
              <a:buNone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duce Burndow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 burndown chart helps agile project management teams keep track of what’s been done, what needs to be done and how much time is left in the project. While a burndown chart is traditionally a visual tool, it can also act as a list that outlines the work to be done and what percentage of it is complete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4495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8475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790138-71D5-48AF-995D-39D4BC255CB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0997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novative</a:t>
            </a:r>
          </a:p>
          <a:p>
            <a:pPr marL="0" indent="0">
              <a:buNone/>
            </a:pPr>
            <a:r>
              <a:rPr lang="en-US" dirty="0"/>
              <a:t>Envelope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3177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954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790138-71D5-48AF-995D-39D4BC255CB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500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24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790138-71D5-48AF-995D-39D4BC255CB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5131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0002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3650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594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589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2827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998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svg"/><Relationship Id="rId5" Type="http://schemas.openxmlformats.org/officeDocument/2006/relationships/image" Target="../media/image2.png"/><Relationship Id="rId4" Type="http://schemas.openxmlformats.org/officeDocument/2006/relationships/image" Target="../media/image21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2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36.svg"/><Relationship Id="rId3" Type="http://schemas.openxmlformats.org/officeDocument/2006/relationships/hyperlink" Target="https://www.linkedin.com/company/ptc/" TargetMode="External"/><Relationship Id="rId7" Type="http://schemas.openxmlformats.org/officeDocument/2006/relationships/hyperlink" Target="https://youtube.com/ptc" TargetMode="External"/><Relationship Id="rId12" Type="http://schemas.openxmlformats.org/officeDocument/2006/relationships/image" Target="../media/image35.pn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twitter.com/ptc" TargetMode="External"/><Relationship Id="rId11" Type="http://schemas.openxmlformats.org/officeDocument/2006/relationships/image" Target="../media/image34.svg"/><Relationship Id="rId5" Type="http://schemas.openxmlformats.org/officeDocument/2006/relationships/image" Target="../media/image32.svg"/><Relationship Id="rId15" Type="http://schemas.openxmlformats.org/officeDocument/2006/relationships/image" Target="../media/image11.svg"/><Relationship Id="rId10" Type="http://schemas.openxmlformats.org/officeDocument/2006/relationships/image" Target="../media/image33.png"/><Relationship Id="rId4" Type="http://schemas.openxmlformats.org/officeDocument/2006/relationships/image" Target="../media/image31.png"/><Relationship Id="rId9" Type="http://schemas.openxmlformats.org/officeDocument/2006/relationships/hyperlink" Target="https://www.ptc.com/" TargetMode="External"/><Relationship Id="rId1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4.pn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Relationship Id="rId9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09928"/>
            <a:ext cx="1078992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 marL="932688"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5417A66-28C9-4F74-8725-ED614CCC78B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402571" y="2267712"/>
            <a:ext cx="5166493" cy="347472"/>
          </a:xfrm>
        </p:spPr>
        <p:txBody>
          <a:bodyPr/>
          <a:lstStyle>
            <a:lvl1pPr marL="0" indent="0" algn="ctr">
              <a:buFontTx/>
              <a:buNone/>
              <a:defRPr b="1"/>
            </a:lvl1pPr>
          </a:lstStyle>
          <a:p>
            <a:pPr lvl="0"/>
            <a:r>
              <a:rPr lang="en-US" dirty="0"/>
              <a:t>Add Titl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71067A-153F-402A-9705-FE668216495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68361" y="2267712"/>
            <a:ext cx="5166489" cy="347472"/>
          </a:xfrm>
        </p:spPr>
        <p:txBody>
          <a:bodyPr/>
          <a:lstStyle>
            <a:lvl1pPr marL="0" indent="0" algn="ctr">
              <a:buFontTx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02571" y="2733199"/>
            <a:ext cx="5166360" cy="281201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342900" indent="-342900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66360" cy="2818946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342900" indent="-342900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0" y="5726510"/>
            <a:ext cx="5166359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02571" y="5726510"/>
            <a:ext cx="5166360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84130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322676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342900" indent="-342900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322676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37558" y="2733198"/>
            <a:ext cx="3353221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342900" indent="-342900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7558" y="5726509"/>
            <a:ext cx="3353221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7558" y="2262961"/>
            <a:ext cx="335322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37172" y="2733198"/>
            <a:ext cx="3322967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342900" indent="-342900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7172" y="2262961"/>
            <a:ext cx="3322967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89004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89004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77252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03887" y="2743246"/>
            <a:ext cx="2446288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3887" y="5726509"/>
            <a:ext cx="2446288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3887" y="2262962"/>
            <a:ext cx="244628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396567" y="2733198"/>
            <a:ext cx="2446288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96567" y="5726509"/>
            <a:ext cx="2446288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96567" y="2262962"/>
            <a:ext cx="244628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189247" y="2733197"/>
            <a:ext cx="2389005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89247" y="5726508"/>
            <a:ext cx="2389475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89247" y="2262961"/>
            <a:ext cx="2389476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2CB97F46-9E75-595F-CDB2-2A43210796C2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09331"/>
            <a:chExt cx="3558618" cy="471112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37147D3-BB0F-F89C-1174-8D8535C2C94D}"/>
                </a:ext>
              </a:extLst>
            </p:cNvPr>
            <p:cNvSpPr/>
            <p:nvPr userDrawn="1"/>
          </p:nvSpPr>
          <p:spPr>
            <a:xfrm>
              <a:off x="567709" y="1619502"/>
              <a:ext cx="3558618" cy="46009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15" name="Arrow: Pentagon 14">
              <a:extLst>
                <a:ext uri="{FF2B5EF4-FFF2-40B4-BE49-F238E27FC236}">
                  <a16:creationId xmlns:a16="http://schemas.microsoft.com/office/drawing/2014/main" id="{89EDD2DD-B352-D838-D86A-A84099963EA9}"/>
                </a:ext>
              </a:extLst>
            </p:cNvPr>
            <p:cNvSpPr/>
            <p:nvPr userDrawn="1"/>
          </p:nvSpPr>
          <p:spPr>
            <a:xfrm>
              <a:off x="567710" y="1509331"/>
              <a:ext cx="1235088" cy="224180"/>
            </a:xfrm>
            <a:prstGeom prst="homePlate">
              <a:avLst>
                <a:gd name="adj" fmla="val 104107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D002AE4-09A9-09EE-5B7C-E2715DBB8A81}"/>
              </a:ext>
            </a:extLst>
          </p:cNvPr>
          <p:cNvGrpSpPr/>
          <p:nvPr userDrawn="1"/>
        </p:nvGrpSpPr>
        <p:grpSpPr>
          <a:xfrm>
            <a:off x="3379623" y="1727879"/>
            <a:ext cx="631597" cy="594534"/>
            <a:chOff x="3331998" y="1775504"/>
            <a:chExt cx="631597" cy="594534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19E5BAB-A477-C360-01C3-F9F999CC597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C620EE-F05A-BD09-4BFC-87084A5C68C0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7D5BEA0-FC34-709E-9718-DB3566E04D6B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DC1DA70-1A1D-2C1A-9328-8B9270D82D24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C77841A-E045-4542-A192-C5E9155E3851}"/>
              </a:ext>
            </a:extLst>
          </p:cNvPr>
          <p:cNvCxnSpPr>
            <a:cxnSpLocks/>
          </p:cNvCxnSpPr>
          <p:nvPr/>
        </p:nvCxnSpPr>
        <p:spPr>
          <a:xfrm>
            <a:off x="4583953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13F1DEF-A422-451E-8E4B-2CA3BEBF0FD4}"/>
              </a:ext>
            </a:extLst>
          </p:cNvPr>
          <p:cNvCxnSpPr>
            <a:cxnSpLocks/>
          </p:cNvCxnSpPr>
          <p:nvPr/>
        </p:nvCxnSpPr>
        <p:spPr>
          <a:xfrm>
            <a:off x="5684017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6B8B8C22-FB4C-4F60-AAF8-1105E997767C}"/>
              </a:ext>
            </a:extLst>
          </p:cNvPr>
          <p:cNvCxnSpPr>
            <a:cxnSpLocks/>
          </p:cNvCxnSpPr>
          <p:nvPr/>
        </p:nvCxnSpPr>
        <p:spPr>
          <a:xfrm>
            <a:off x="6784081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8540B4BD-35FC-4B98-9B3D-EEC050BFDDCE}"/>
              </a:ext>
            </a:extLst>
          </p:cNvPr>
          <p:cNvCxnSpPr>
            <a:cxnSpLocks/>
          </p:cNvCxnSpPr>
          <p:nvPr/>
        </p:nvCxnSpPr>
        <p:spPr>
          <a:xfrm>
            <a:off x="7884145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95500C9A-2A26-4536-9BB1-24C564726028}"/>
              </a:ext>
            </a:extLst>
          </p:cNvPr>
          <p:cNvCxnSpPr>
            <a:cxnSpLocks/>
          </p:cNvCxnSpPr>
          <p:nvPr/>
        </p:nvCxnSpPr>
        <p:spPr>
          <a:xfrm>
            <a:off x="8984209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0D12C76-B7C9-48D9-889A-8578BC643659}"/>
              </a:ext>
            </a:extLst>
          </p:cNvPr>
          <p:cNvCxnSpPr>
            <a:cxnSpLocks/>
          </p:cNvCxnSpPr>
          <p:nvPr/>
        </p:nvCxnSpPr>
        <p:spPr>
          <a:xfrm>
            <a:off x="10084273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718F8938-2DB3-4B49-A0BC-EC5C9E64C08E}"/>
              </a:ext>
            </a:extLst>
          </p:cNvPr>
          <p:cNvCxnSpPr>
            <a:cxnSpLocks/>
          </p:cNvCxnSpPr>
          <p:nvPr/>
        </p:nvCxnSpPr>
        <p:spPr>
          <a:xfrm>
            <a:off x="11184341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aphic 1061">
            <a:extLst>
              <a:ext uri="{FF2B5EF4-FFF2-40B4-BE49-F238E27FC236}">
                <a16:creationId xmlns:a16="http://schemas.microsoft.com/office/drawing/2014/main" id="{66830D77-258F-4A8F-9120-7E2465199E40}"/>
              </a:ext>
            </a:extLst>
          </p:cNvPr>
          <p:cNvGrpSpPr/>
          <p:nvPr/>
        </p:nvGrpSpPr>
        <p:grpSpPr>
          <a:xfrm>
            <a:off x="10698946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1CAD5240-3A52-4379-9F92-BD1E52F2CB4B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35CD7343-E932-49CF-8F93-9F0AB7491ADC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036CC769-25FA-45D3-B5B7-741419D0BF4E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E27FFE3-9666-4FDA-B24A-B0CACDC72D62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05" name="Graphic 1061">
            <a:extLst>
              <a:ext uri="{FF2B5EF4-FFF2-40B4-BE49-F238E27FC236}">
                <a16:creationId xmlns:a16="http://schemas.microsoft.com/office/drawing/2014/main" id="{43FE98BD-1629-4591-A7CE-C0B00722C53A}"/>
              </a:ext>
            </a:extLst>
          </p:cNvPr>
          <p:cNvGrpSpPr/>
          <p:nvPr/>
        </p:nvGrpSpPr>
        <p:grpSpPr>
          <a:xfrm>
            <a:off x="9598882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5C445072-032C-49DE-B654-772360F027EC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5A69D9A5-23CB-4120-9A2C-120756CF38C0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557A943F-B4D1-48C1-9915-56ABC12A644E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1A51B713-B423-4118-80E1-DE48750C7910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06" name="Graphic 1061">
            <a:extLst>
              <a:ext uri="{FF2B5EF4-FFF2-40B4-BE49-F238E27FC236}">
                <a16:creationId xmlns:a16="http://schemas.microsoft.com/office/drawing/2014/main" id="{3CAF6FF2-E414-475A-BC9B-305E2CFF7318}"/>
              </a:ext>
            </a:extLst>
          </p:cNvPr>
          <p:cNvGrpSpPr/>
          <p:nvPr/>
        </p:nvGrpSpPr>
        <p:grpSpPr>
          <a:xfrm>
            <a:off x="8498818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B88373D9-06D5-47E1-A904-4BD0FB31EB5D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617B5131-8A72-49AD-99B6-EB7AE54486E2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B5B1EF33-5097-47EE-AA48-98E3174A6388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93804D7A-21B3-4211-B0C2-29C56D3D644E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07" name="Graphic 1061">
            <a:extLst>
              <a:ext uri="{FF2B5EF4-FFF2-40B4-BE49-F238E27FC236}">
                <a16:creationId xmlns:a16="http://schemas.microsoft.com/office/drawing/2014/main" id="{E9B16AD9-B8FD-4323-9114-F26B14EDCD69}"/>
              </a:ext>
            </a:extLst>
          </p:cNvPr>
          <p:cNvGrpSpPr/>
          <p:nvPr/>
        </p:nvGrpSpPr>
        <p:grpSpPr>
          <a:xfrm>
            <a:off x="7398754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367D746F-F106-4FA3-A873-F52BBE24CE89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F017F511-A786-47B8-8009-C2405C67AF03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8D1B408C-6D1D-4337-BE5D-051F1DF60B98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247E5DBB-B06F-4B10-979D-FF7CE6D1DD4D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08" name="Graphic 1061">
            <a:extLst>
              <a:ext uri="{FF2B5EF4-FFF2-40B4-BE49-F238E27FC236}">
                <a16:creationId xmlns:a16="http://schemas.microsoft.com/office/drawing/2014/main" id="{80C5F819-EF42-4A1E-9169-4A0EAF9017D2}"/>
              </a:ext>
            </a:extLst>
          </p:cNvPr>
          <p:cNvGrpSpPr/>
          <p:nvPr/>
        </p:nvGrpSpPr>
        <p:grpSpPr>
          <a:xfrm>
            <a:off x="6298690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AE31BD1-5DDC-4B18-A3D0-3FDFF473C1BD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EDF9C5BC-53D0-41B7-89DE-6D96E268393E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80B476FB-C458-47B9-8F7F-7E39FA3A7A84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1A259F22-4E56-4C01-9A49-8911A0ABC81B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09" name="Graphic 1061">
            <a:extLst>
              <a:ext uri="{FF2B5EF4-FFF2-40B4-BE49-F238E27FC236}">
                <a16:creationId xmlns:a16="http://schemas.microsoft.com/office/drawing/2014/main" id="{9C7D2708-E551-43D4-9749-9FA78B778158}"/>
              </a:ext>
            </a:extLst>
          </p:cNvPr>
          <p:cNvGrpSpPr/>
          <p:nvPr/>
        </p:nvGrpSpPr>
        <p:grpSpPr>
          <a:xfrm>
            <a:off x="5198626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AB5F4C93-D2D6-42DC-8D71-5B863BED824E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0052F826-950B-41B1-8315-6D17D3BFF416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EB090A3D-553F-431D-9A4F-F24FD0AC33D6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40388C12-10E1-4E14-8358-269F50130D66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302CDFFB-3296-45F1-837F-BC567AD0FD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53787"/>
          <a:stretch/>
        </p:blipFill>
        <p:spPr>
          <a:xfrm>
            <a:off x="11030375" y="2866175"/>
            <a:ext cx="1161626" cy="231343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4572000" y="1618422"/>
            <a:ext cx="7096125" cy="4599432"/>
          </a:xfr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D69C94F-DE01-9E10-578B-026C24D87BE8}"/>
              </a:ext>
            </a:extLst>
          </p:cNvPr>
          <p:cNvGrpSpPr/>
          <p:nvPr userDrawn="1"/>
        </p:nvGrpSpPr>
        <p:grpSpPr>
          <a:xfrm>
            <a:off x="4558698" y="6297424"/>
            <a:ext cx="237934" cy="161861"/>
            <a:chOff x="4558698" y="6297424"/>
            <a:chExt cx="237934" cy="161861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5075E11-C95B-43F7-AE58-F819F4432F94}"/>
                </a:ext>
              </a:extLst>
            </p:cNvPr>
            <p:cNvSpPr/>
            <p:nvPr userDrawn="1"/>
          </p:nvSpPr>
          <p:spPr>
            <a:xfrm>
              <a:off x="4558698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7942 w 99631"/>
                <a:gd name="connsiteY1" fmla="*/ 0 h 161861"/>
                <a:gd name="connsiteX2" fmla="*/ 99631 w 99631"/>
                <a:gd name="connsiteY2" fmla="*/ 80962 h 161861"/>
                <a:gd name="connsiteX3" fmla="*/ 47942 w 99631"/>
                <a:gd name="connsiteY3" fmla="*/ 161862 h 161861"/>
                <a:gd name="connsiteX4" fmla="*/ 0 w 99631"/>
                <a:gd name="connsiteY4" fmla="*/ 161862 h 161861"/>
                <a:gd name="connsiteX5" fmla="*/ 51626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7942" y="0"/>
                  </a:lnTo>
                  <a:lnTo>
                    <a:pt x="99631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7C06D70-7E3E-4D15-B6B1-EAF35FBF771C}"/>
                </a:ext>
              </a:extLst>
            </p:cNvPr>
            <p:cNvSpPr/>
            <p:nvPr userDrawn="1"/>
          </p:nvSpPr>
          <p:spPr>
            <a:xfrm>
              <a:off x="4628548" y="6297424"/>
              <a:ext cx="99567" cy="161861"/>
            </a:xfrm>
            <a:custGeom>
              <a:avLst/>
              <a:gdLst>
                <a:gd name="connsiteX0" fmla="*/ 0 w 99567"/>
                <a:gd name="connsiteY0" fmla="*/ 0 h 161861"/>
                <a:gd name="connsiteX1" fmla="*/ 47942 w 99567"/>
                <a:gd name="connsiteY1" fmla="*/ 0 h 161861"/>
                <a:gd name="connsiteX2" fmla="*/ 99568 w 99567"/>
                <a:gd name="connsiteY2" fmla="*/ 80962 h 161861"/>
                <a:gd name="connsiteX3" fmla="*/ 47942 w 99567"/>
                <a:gd name="connsiteY3" fmla="*/ 161862 h 161861"/>
                <a:gd name="connsiteX4" fmla="*/ 0 w 99567"/>
                <a:gd name="connsiteY4" fmla="*/ 161862 h 161861"/>
                <a:gd name="connsiteX5" fmla="*/ 51626 w 99567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567" h="161861">
                  <a:moveTo>
                    <a:pt x="0" y="0"/>
                  </a:moveTo>
                  <a:lnTo>
                    <a:pt x="47942" y="0"/>
                  </a:lnTo>
                  <a:lnTo>
                    <a:pt x="99568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560CFA8-8666-401D-B91D-47D7B7FABCCC}"/>
                </a:ext>
              </a:extLst>
            </p:cNvPr>
            <p:cNvSpPr/>
            <p:nvPr userDrawn="1"/>
          </p:nvSpPr>
          <p:spPr>
            <a:xfrm>
              <a:off x="4697001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8006 w 99631"/>
                <a:gd name="connsiteY1" fmla="*/ 0 h 161861"/>
                <a:gd name="connsiteX2" fmla="*/ 99631 w 99631"/>
                <a:gd name="connsiteY2" fmla="*/ 80962 h 161861"/>
                <a:gd name="connsiteX3" fmla="*/ 48006 w 99631"/>
                <a:gd name="connsiteY3" fmla="*/ 161862 h 161861"/>
                <a:gd name="connsiteX4" fmla="*/ 0 w 99631"/>
                <a:gd name="connsiteY4" fmla="*/ 161862 h 161861"/>
                <a:gd name="connsiteX5" fmla="*/ 51625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8006" y="0"/>
                  </a:lnTo>
                  <a:lnTo>
                    <a:pt x="99631" y="80962"/>
                  </a:lnTo>
                  <a:lnTo>
                    <a:pt x="48006" y="161862"/>
                  </a:lnTo>
                  <a:lnTo>
                    <a:pt x="0" y="161862"/>
                  </a:lnTo>
                  <a:lnTo>
                    <a:pt x="51625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71462" y="3134272"/>
            <a:ext cx="3026664" cy="151528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marL="896112" lvl="2" indent="-228600"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dirty="0"/>
              <a:t>Bullet 3</a:t>
            </a:r>
          </a:p>
          <a:p>
            <a:pPr marL="1143000" lvl="3">
              <a:buBlip>
                <a:blip r:embed="rId7"/>
              </a:buBlip>
            </a:pPr>
            <a:r>
              <a:rPr lang="en-US" dirty="0"/>
              <a:t>Bullet 4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CF86E01-CC39-872B-0201-3C73CC108B1A}"/>
              </a:ext>
            </a:extLst>
          </p:cNvPr>
          <p:cNvGrpSpPr/>
          <p:nvPr userDrawn="1"/>
        </p:nvGrpSpPr>
        <p:grpSpPr>
          <a:xfrm>
            <a:off x="3514325" y="3055609"/>
            <a:ext cx="478233" cy="3067294"/>
            <a:chOff x="3543141" y="2978301"/>
            <a:chExt cx="478233" cy="3067294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EEEFE01-E31F-AC81-5438-C97B58CFCE60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3175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0D161C7-0E22-5DD1-1574-221ED499A2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952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7F5C456-7503-F552-41B4-1FB04575BB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141" y="6042913"/>
              <a:ext cx="478233" cy="0"/>
            </a:xfrm>
            <a:prstGeom prst="line">
              <a:avLst/>
            </a:prstGeom>
            <a:ln w="1587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A4095343-4951-A0F0-3341-A250476E76A1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09331"/>
            <a:chExt cx="3558618" cy="471112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19502"/>
              <a:ext cx="3558618" cy="46009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09331"/>
              <a:ext cx="1235088" cy="224180"/>
            </a:xfrm>
            <a:prstGeom prst="homePlate">
              <a:avLst>
                <a:gd name="adj" fmla="val 104107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79623" y="1727879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72000" y="1619502"/>
            <a:ext cx="7086600" cy="4600957"/>
          </a:xfrm>
          <a:ln w="12700">
            <a:solidFill>
              <a:schemeClr val="bg2"/>
            </a:solidFill>
          </a:ln>
        </p:spPr>
        <p:txBody>
          <a:bodyPr vert="horz" lIns="182880" tIns="182880" rIns="182880" bIns="182880" rtlCol="0" anchor="ctr" anchorCtr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vert="horz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71144" y="3130080"/>
            <a:ext cx="3029331" cy="151528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96112" indent="-228600"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29DC23-4580-422E-9524-A6BDD0FBEEB4}"/>
              </a:ext>
            </a:extLst>
          </p:cNvPr>
          <p:cNvGrpSpPr/>
          <p:nvPr userDrawn="1"/>
        </p:nvGrpSpPr>
        <p:grpSpPr>
          <a:xfrm>
            <a:off x="3514325" y="3055609"/>
            <a:ext cx="478233" cy="3067294"/>
            <a:chOff x="3543141" y="2978301"/>
            <a:chExt cx="478233" cy="3067294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6558BD-2FE6-4824-9681-AC6B50FC2825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3175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290F29F5-4529-4B00-A185-F237BA88D7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952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60F12DB-F906-46E7-BB6C-A0C096CDEF4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141" y="6042913"/>
              <a:ext cx="478233" cy="0"/>
            </a:xfrm>
            <a:prstGeom prst="line">
              <a:avLst/>
            </a:prstGeom>
            <a:ln w="1587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Two-third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E6F5A70A-B3CC-70DA-9E2C-D8AC19E987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402" y="1516415"/>
            <a:ext cx="3561814" cy="4705903"/>
          </a:xfrm>
          <a:custGeom>
            <a:avLst/>
            <a:gdLst>
              <a:gd name="connsiteX0" fmla="*/ 0 w 3532738"/>
              <a:gd name="connsiteY0" fmla="*/ 0 h 4709160"/>
              <a:gd name="connsiteX1" fmla="*/ 3532738 w 3532738"/>
              <a:gd name="connsiteY1" fmla="*/ 0 h 4709160"/>
              <a:gd name="connsiteX2" fmla="*/ 3532738 w 3532738"/>
              <a:gd name="connsiteY2" fmla="*/ 0 h 4709160"/>
              <a:gd name="connsiteX3" fmla="*/ 3532738 w 3532738"/>
              <a:gd name="connsiteY3" fmla="*/ 4709160 h 4709160"/>
              <a:gd name="connsiteX4" fmla="*/ 0 w 3532738"/>
              <a:gd name="connsiteY4" fmla="*/ 4709160 h 4709160"/>
              <a:gd name="connsiteX5" fmla="*/ 0 w 3532738"/>
              <a:gd name="connsiteY5" fmla="*/ 0 h 4709160"/>
              <a:gd name="connsiteX0" fmla="*/ 0 w 3532738"/>
              <a:gd name="connsiteY0" fmla="*/ 8522 h 4717682"/>
              <a:gd name="connsiteX1" fmla="*/ 1125989 w 3532738"/>
              <a:gd name="connsiteY1" fmla="*/ 0 h 4717682"/>
              <a:gd name="connsiteX2" fmla="*/ 3532738 w 3532738"/>
              <a:gd name="connsiteY2" fmla="*/ 8522 h 4717682"/>
              <a:gd name="connsiteX3" fmla="*/ 3532738 w 3532738"/>
              <a:gd name="connsiteY3" fmla="*/ 8522 h 4717682"/>
              <a:gd name="connsiteX4" fmla="*/ 3532738 w 3532738"/>
              <a:gd name="connsiteY4" fmla="*/ 4717682 h 4717682"/>
              <a:gd name="connsiteX5" fmla="*/ 0 w 3532738"/>
              <a:gd name="connsiteY5" fmla="*/ 4717682 h 4717682"/>
              <a:gd name="connsiteX6" fmla="*/ 0 w 3532738"/>
              <a:gd name="connsiteY6" fmla="*/ 8522 h 4717682"/>
              <a:gd name="connsiteX0" fmla="*/ 0 w 3532738"/>
              <a:gd name="connsiteY0" fmla="*/ 18461 h 4727621"/>
              <a:gd name="connsiteX1" fmla="*/ 1125989 w 3532738"/>
              <a:gd name="connsiteY1" fmla="*/ 9939 h 4727621"/>
              <a:gd name="connsiteX2" fmla="*/ 1463920 w 3532738"/>
              <a:gd name="connsiteY2" fmla="*/ 0 h 4727621"/>
              <a:gd name="connsiteX3" fmla="*/ 3532738 w 3532738"/>
              <a:gd name="connsiteY3" fmla="*/ 18461 h 4727621"/>
              <a:gd name="connsiteX4" fmla="*/ 3532738 w 3532738"/>
              <a:gd name="connsiteY4" fmla="*/ 18461 h 4727621"/>
              <a:gd name="connsiteX5" fmla="*/ 3532738 w 3532738"/>
              <a:gd name="connsiteY5" fmla="*/ 4727621 h 4727621"/>
              <a:gd name="connsiteX6" fmla="*/ 0 w 3532738"/>
              <a:gd name="connsiteY6" fmla="*/ 4727621 h 4727621"/>
              <a:gd name="connsiteX7" fmla="*/ 0 w 3532738"/>
              <a:gd name="connsiteY7" fmla="*/ 18461 h 4727621"/>
              <a:gd name="connsiteX0" fmla="*/ 0 w 3532738"/>
              <a:gd name="connsiteY0" fmla="*/ 8522 h 4717682"/>
              <a:gd name="connsiteX1" fmla="*/ 1125989 w 3532738"/>
              <a:gd name="connsiteY1" fmla="*/ 0 h 4717682"/>
              <a:gd name="connsiteX2" fmla="*/ 1294955 w 3532738"/>
              <a:gd name="connsiteY2" fmla="*/ 109331 h 4717682"/>
              <a:gd name="connsiteX3" fmla="*/ 3532738 w 3532738"/>
              <a:gd name="connsiteY3" fmla="*/ 8522 h 4717682"/>
              <a:gd name="connsiteX4" fmla="*/ 3532738 w 3532738"/>
              <a:gd name="connsiteY4" fmla="*/ 8522 h 4717682"/>
              <a:gd name="connsiteX5" fmla="*/ 3532738 w 3532738"/>
              <a:gd name="connsiteY5" fmla="*/ 4717682 h 4717682"/>
              <a:gd name="connsiteX6" fmla="*/ 0 w 3532738"/>
              <a:gd name="connsiteY6" fmla="*/ 4717682 h 4717682"/>
              <a:gd name="connsiteX7" fmla="*/ 0 w 3532738"/>
              <a:gd name="connsiteY7" fmla="*/ 8522 h 4717682"/>
              <a:gd name="connsiteX0" fmla="*/ 0 w 3532738"/>
              <a:gd name="connsiteY0" fmla="*/ 8522 h 4717682"/>
              <a:gd name="connsiteX1" fmla="*/ 1116050 w 3532738"/>
              <a:gd name="connsiteY1" fmla="*/ 0 h 4717682"/>
              <a:gd name="connsiteX2" fmla="*/ 1294955 w 3532738"/>
              <a:gd name="connsiteY2" fmla="*/ 109331 h 4717682"/>
              <a:gd name="connsiteX3" fmla="*/ 3532738 w 3532738"/>
              <a:gd name="connsiteY3" fmla="*/ 8522 h 4717682"/>
              <a:gd name="connsiteX4" fmla="*/ 3532738 w 3532738"/>
              <a:gd name="connsiteY4" fmla="*/ 8522 h 4717682"/>
              <a:gd name="connsiteX5" fmla="*/ 3532738 w 3532738"/>
              <a:gd name="connsiteY5" fmla="*/ 4717682 h 4717682"/>
              <a:gd name="connsiteX6" fmla="*/ 0 w 3532738"/>
              <a:gd name="connsiteY6" fmla="*/ 4717682 h 4717682"/>
              <a:gd name="connsiteX7" fmla="*/ 0 w 3532738"/>
              <a:gd name="connsiteY7" fmla="*/ 8522 h 4717682"/>
              <a:gd name="connsiteX0" fmla="*/ 0 w 3532738"/>
              <a:gd name="connsiteY0" fmla="*/ 8522 h 4717682"/>
              <a:gd name="connsiteX1" fmla="*/ 1116050 w 3532738"/>
              <a:gd name="connsiteY1" fmla="*/ 0 h 4717682"/>
              <a:gd name="connsiteX2" fmla="*/ 1265137 w 3532738"/>
              <a:gd name="connsiteY2" fmla="*/ 109331 h 4717682"/>
              <a:gd name="connsiteX3" fmla="*/ 3532738 w 3532738"/>
              <a:gd name="connsiteY3" fmla="*/ 8522 h 4717682"/>
              <a:gd name="connsiteX4" fmla="*/ 3532738 w 3532738"/>
              <a:gd name="connsiteY4" fmla="*/ 8522 h 4717682"/>
              <a:gd name="connsiteX5" fmla="*/ 3532738 w 3532738"/>
              <a:gd name="connsiteY5" fmla="*/ 4717682 h 4717682"/>
              <a:gd name="connsiteX6" fmla="*/ 0 w 3532738"/>
              <a:gd name="connsiteY6" fmla="*/ 4717682 h 4717682"/>
              <a:gd name="connsiteX7" fmla="*/ 0 w 3532738"/>
              <a:gd name="connsiteY7" fmla="*/ 8522 h 4717682"/>
              <a:gd name="connsiteX0" fmla="*/ 0 w 3542677"/>
              <a:gd name="connsiteY0" fmla="*/ 8522 h 4717682"/>
              <a:gd name="connsiteX1" fmla="*/ 1116050 w 3542677"/>
              <a:gd name="connsiteY1" fmla="*/ 0 h 4717682"/>
              <a:gd name="connsiteX2" fmla="*/ 1265137 w 3542677"/>
              <a:gd name="connsiteY2" fmla="*/ 109331 h 4717682"/>
              <a:gd name="connsiteX3" fmla="*/ 3532738 w 3542677"/>
              <a:gd name="connsiteY3" fmla="*/ 8522 h 4717682"/>
              <a:gd name="connsiteX4" fmla="*/ 3542677 w 3542677"/>
              <a:gd name="connsiteY4" fmla="*/ 117853 h 4717682"/>
              <a:gd name="connsiteX5" fmla="*/ 3532738 w 3542677"/>
              <a:gd name="connsiteY5" fmla="*/ 4717682 h 4717682"/>
              <a:gd name="connsiteX6" fmla="*/ 0 w 3542677"/>
              <a:gd name="connsiteY6" fmla="*/ 4717682 h 4717682"/>
              <a:gd name="connsiteX7" fmla="*/ 0 w 3542677"/>
              <a:gd name="connsiteY7" fmla="*/ 8522 h 4717682"/>
              <a:gd name="connsiteX0" fmla="*/ 0 w 3532738"/>
              <a:gd name="connsiteY0" fmla="*/ 8522 h 4717682"/>
              <a:gd name="connsiteX1" fmla="*/ 1116050 w 3532738"/>
              <a:gd name="connsiteY1" fmla="*/ 0 h 4717682"/>
              <a:gd name="connsiteX2" fmla="*/ 1265137 w 3532738"/>
              <a:gd name="connsiteY2" fmla="*/ 109331 h 4717682"/>
              <a:gd name="connsiteX3" fmla="*/ 3532738 w 3532738"/>
              <a:gd name="connsiteY3" fmla="*/ 8522 h 4717682"/>
              <a:gd name="connsiteX4" fmla="*/ 3532738 w 3532738"/>
              <a:gd name="connsiteY4" fmla="*/ 4717682 h 4717682"/>
              <a:gd name="connsiteX5" fmla="*/ 0 w 3532738"/>
              <a:gd name="connsiteY5" fmla="*/ 4717682 h 4717682"/>
              <a:gd name="connsiteX6" fmla="*/ 0 w 3532738"/>
              <a:gd name="connsiteY6" fmla="*/ 8522 h 4717682"/>
              <a:gd name="connsiteX0" fmla="*/ 0 w 3532738"/>
              <a:gd name="connsiteY0" fmla="*/ 8522 h 4717682"/>
              <a:gd name="connsiteX1" fmla="*/ 1116050 w 3532738"/>
              <a:gd name="connsiteY1" fmla="*/ 0 h 4717682"/>
              <a:gd name="connsiteX2" fmla="*/ 1265137 w 3532738"/>
              <a:gd name="connsiteY2" fmla="*/ 109331 h 4717682"/>
              <a:gd name="connsiteX3" fmla="*/ 3532738 w 3532738"/>
              <a:gd name="connsiteY3" fmla="*/ 117852 h 4717682"/>
              <a:gd name="connsiteX4" fmla="*/ 3532738 w 3532738"/>
              <a:gd name="connsiteY4" fmla="*/ 4717682 h 4717682"/>
              <a:gd name="connsiteX5" fmla="*/ 0 w 3532738"/>
              <a:gd name="connsiteY5" fmla="*/ 4717682 h 4717682"/>
              <a:gd name="connsiteX6" fmla="*/ 0 w 3532738"/>
              <a:gd name="connsiteY6" fmla="*/ 8522 h 4717682"/>
              <a:gd name="connsiteX0" fmla="*/ 0 w 3532738"/>
              <a:gd name="connsiteY0" fmla="*/ 8522 h 4717682"/>
              <a:gd name="connsiteX1" fmla="*/ 1116050 w 3532738"/>
              <a:gd name="connsiteY1" fmla="*/ 0 h 4717682"/>
              <a:gd name="connsiteX2" fmla="*/ 1243365 w 3532738"/>
              <a:gd name="connsiteY2" fmla="*/ 131102 h 4717682"/>
              <a:gd name="connsiteX3" fmla="*/ 3532738 w 3532738"/>
              <a:gd name="connsiteY3" fmla="*/ 117852 h 4717682"/>
              <a:gd name="connsiteX4" fmla="*/ 3532738 w 3532738"/>
              <a:gd name="connsiteY4" fmla="*/ 4717682 h 4717682"/>
              <a:gd name="connsiteX5" fmla="*/ 0 w 3532738"/>
              <a:gd name="connsiteY5" fmla="*/ 4717682 h 4717682"/>
              <a:gd name="connsiteX6" fmla="*/ 0 w 3532738"/>
              <a:gd name="connsiteY6" fmla="*/ 8522 h 4717682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43365 w 3532738"/>
              <a:gd name="connsiteY2" fmla="*/ 122580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7037 w 3532738"/>
              <a:gd name="connsiteY2" fmla="*/ 12802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7037 w 3532738"/>
              <a:gd name="connsiteY2" fmla="*/ 12421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7037 w 3532738"/>
              <a:gd name="connsiteY2" fmla="*/ 12421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34657 w 3532738"/>
              <a:gd name="connsiteY2" fmla="*/ 12040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34657 w 3532738"/>
              <a:gd name="connsiteY2" fmla="*/ 12040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3227 w 3532738"/>
              <a:gd name="connsiteY2" fmla="*/ 12421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3227 w 3532738"/>
              <a:gd name="connsiteY2" fmla="*/ 12421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3227 w 3532738"/>
              <a:gd name="connsiteY2" fmla="*/ 11659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108894 w 3532738"/>
              <a:gd name="connsiteY1" fmla="*/ 4672 h 4709160"/>
              <a:gd name="connsiteX2" fmla="*/ 1223227 w 3532738"/>
              <a:gd name="connsiteY2" fmla="*/ 11659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108894 w 3532738"/>
              <a:gd name="connsiteY1" fmla="*/ 4672 h 4709160"/>
              <a:gd name="connsiteX2" fmla="*/ 1223227 w 3532738"/>
              <a:gd name="connsiteY2" fmla="*/ 109666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108894 w 3532738"/>
              <a:gd name="connsiteY1" fmla="*/ 4672 h 4709160"/>
              <a:gd name="connsiteX2" fmla="*/ 1223227 w 3532738"/>
              <a:gd name="connsiteY2" fmla="*/ 109666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18844 w 3532738"/>
              <a:gd name="connsiteY1" fmla="*/ 4672 h 4709160"/>
              <a:gd name="connsiteX2" fmla="*/ 1223227 w 3532738"/>
              <a:gd name="connsiteY2" fmla="*/ 109666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362 h 4709522"/>
              <a:gd name="connsiteX1" fmla="*/ 1003837 w 3532738"/>
              <a:gd name="connsiteY1" fmla="*/ 0 h 4709522"/>
              <a:gd name="connsiteX2" fmla="*/ 1223227 w 3532738"/>
              <a:gd name="connsiteY2" fmla="*/ 110028 h 4709522"/>
              <a:gd name="connsiteX3" fmla="*/ 3532738 w 3532738"/>
              <a:gd name="connsiteY3" fmla="*/ 109692 h 4709522"/>
              <a:gd name="connsiteX4" fmla="*/ 3532738 w 3532738"/>
              <a:gd name="connsiteY4" fmla="*/ 4709522 h 4709522"/>
              <a:gd name="connsiteX5" fmla="*/ 0 w 3532738"/>
              <a:gd name="connsiteY5" fmla="*/ 4709522 h 4709522"/>
              <a:gd name="connsiteX6" fmla="*/ 0 w 3532738"/>
              <a:gd name="connsiteY6" fmla="*/ 362 h 4709522"/>
              <a:gd name="connsiteX0" fmla="*/ 0 w 3532738"/>
              <a:gd name="connsiteY0" fmla="*/ 362 h 4709522"/>
              <a:gd name="connsiteX1" fmla="*/ 983452 w 3532738"/>
              <a:gd name="connsiteY1" fmla="*/ 0 h 4709522"/>
              <a:gd name="connsiteX2" fmla="*/ 1223227 w 3532738"/>
              <a:gd name="connsiteY2" fmla="*/ 110028 h 4709522"/>
              <a:gd name="connsiteX3" fmla="*/ 3532738 w 3532738"/>
              <a:gd name="connsiteY3" fmla="*/ 109692 h 4709522"/>
              <a:gd name="connsiteX4" fmla="*/ 3532738 w 3532738"/>
              <a:gd name="connsiteY4" fmla="*/ 4709522 h 4709522"/>
              <a:gd name="connsiteX5" fmla="*/ 0 w 3532738"/>
              <a:gd name="connsiteY5" fmla="*/ 4709522 h 4709522"/>
              <a:gd name="connsiteX6" fmla="*/ 0 w 3532738"/>
              <a:gd name="connsiteY6" fmla="*/ 362 h 4709522"/>
              <a:gd name="connsiteX0" fmla="*/ 6795 w 3539533"/>
              <a:gd name="connsiteY0" fmla="*/ 362 h 4716359"/>
              <a:gd name="connsiteX1" fmla="*/ 990247 w 3539533"/>
              <a:gd name="connsiteY1" fmla="*/ 0 h 4716359"/>
              <a:gd name="connsiteX2" fmla="*/ 1230022 w 3539533"/>
              <a:gd name="connsiteY2" fmla="*/ 110028 h 4716359"/>
              <a:gd name="connsiteX3" fmla="*/ 3539533 w 3539533"/>
              <a:gd name="connsiteY3" fmla="*/ 109692 h 4716359"/>
              <a:gd name="connsiteX4" fmla="*/ 3539533 w 3539533"/>
              <a:gd name="connsiteY4" fmla="*/ 4709522 h 4716359"/>
              <a:gd name="connsiteX5" fmla="*/ 0 w 3539533"/>
              <a:gd name="connsiteY5" fmla="*/ 4716359 h 4716359"/>
              <a:gd name="connsiteX6" fmla="*/ 6795 w 3539533"/>
              <a:gd name="connsiteY6" fmla="*/ 362 h 4716359"/>
              <a:gd name="connsiteX0" fmla="*/ 6795 w 3539533"/>
              <a:gd name="connsiteY0" fmla="*/ 362 h 4722266"/>
              <a:gd name="connsiteX1" fmla="*/ 990247 w 3539533"/>
              <a:gd name="connsiteY1" fmla="*/ 0 h 4722266"/>
              <a:gd name="connsiteX2" fmla="*/ 1230022 w 3539533"/>
              <a:gd name="connsiteY2" fmla="*/ 110028 h 4722266"/>
              <a:gd name="connsiteX3" fmla="*/ 3539533 w 3539533"/>
              <a:gd name="connsiteY3" fmla="*/ 109692 h 4722266"/>
              <a:gd name="connsiteX4" fmla="*/ 3526887 w 3539533"/>
              <a:gd name="connsiteY4" fmla="*/ 4722266 h 4722266"/>
              <a:gd name="connsiteX5" fmla="*/ 0 w 3539533"/>
              <a:gd name="connsiteY5" fmla="*/ 4716359 h 4722266"/>
              <a:gd name="connsiteX6" fmla="*/ 6795 w 3539533"/>
              <a:gd name="connsiteY6" fmla="*/ 362 h 4722266"/>
              <a:gd name="connsiteX0" fmla="*/ 6795 w 3546621"/>
              <a:gd name="connsiteY0" fmla="*/ 362 h 4722266"/>
              <a:gd name="connsiteX1" fmla="*/ 990247 w 3546621"/>
              <a:gd name="connsiteY1" fmla="*/ 0 h 4722266"/>
              <a:gd name="connsiteX2" fmla="*/ 1230022 w 3546621"/>
              <a:gd name="connsiteY2" fmla="*/ 110028 h 4722266"/>
              <a:gd name="connsiteX3" fmla="*/ 3539533 w 3546621"/>
              <a:gd name="connsiteY3" fmla="*/ 109692 h 4722266"/>
              <a:gd name="connsiteX4" fmla="*/ 3545856 w 3546621"/>
              <a:gd name="connsiteY4" fmla="*/ 4722266 h 4722266"/>
              <a:gd name="connsiteX5" fmla="*/ 0 w 3546621"/>
              <a:gd name="connsiteY5" fmla="*/ 4716359 h 4722266"/>
              <a:gd name="connsiteX6" fmla="*/ 6795 w 3546621"/>
              <a:gd name="connsiteY6" fmla="*/ 362 h 472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6621" h="4722266">
                <a:moveTo>
                  <a:pt x="6795" y="362"/>
                </a:moveTo>
                <a:lnTo>
                  <a:pt x="990247" y="0"/>
                </a:lnTo>
                <a:lnTo>
                  <a:pt x="1230022" y="110028"/>
                </a:lnTo>
                <a:lnTo>
                  <a:pt x="3539533" y="109692"/>
                </a:lnTo>
                <a:cubicBezTo>
                  <a:pt x="3535318" y="1647217"/>
                  <a:pt x="3550071" y="3184741"/>
                  <a:pt x="3545856" y="4722266"/>
                </a:cubicBezTo>
                <a:lnTo>
                  <a:pt x="0" y="4716359"/>
                </a:lnTo>
                <a:lnTo>
                  <a:pt x="6795" y="362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171450" indent="-171450">
              <a:buFont typeface="Wingdings" panose="05000000000000000000" pitchFamily="2" charset="2"/>
              <a:buChar char="§"/>
              <a:defRPr lang="en-US" sz="110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72000" y="1618689"/>
            <a:ext cx="7086600" cy="4599432"/>
          </a:xfrm>
          <a:ln w="12700">
            <a:solidFill>
              <a:schemeClr val="bg2"/>
            </a:solidFill>
          </a:ln>
        </p:spPr>
        <p:txBody>
          <a:bodyPr vert="horz" lIns="182880" tIns="182880" rIns="182880" bIns="182880" rtlCol="0" anchor="ctr" anchorCtr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vert="horz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B8BB190-45C4-B4EA-E91F-D91647DD201A}"/>
              </a:ext>
            </a:extLst>
          </p:cNvPr>
          <p:cNvGrpSpPr/>
          <p:nvPr userDrawn="1"/>
        </p:nvGrpSpPr>
        <p:grpSpPr>
          <a:xfrm>
            <a:off x="592994" y="6297424"/>
            <a:ext cx="237934" cy="161861"/>
            <a:chOff x="4558698" y="6297424"/>
            <a:chExt cx="237934" cy="161861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AF73820-1083-FF47-1ED2-921C54B2DA04}"/>
                </a:ext>
              </a:extLst>
            </p:cNvPr>
            <p:cNvSpPr/>
            <p:nvPr userDrawn="1"/>
          </p:nvSpPr>
          <p:spPr>
            <a:xfrm>
              <a:off x="4558698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7942 w 99631"/>
                <a:gd name="connsiteY1" fmla="*/ 0 h 161861"/>
                <a:gd name="connsiteX2" fmla="*/ 99631 w 99631"/>
                <a:gd name="connsiteY2" fmla="*/ 80962 h 161861"/>
                <a:gd name="connsiteX3" fmla="*/ 47942 w 99631"/>
                <a:gd name="connsiteY3" fmla="*/ 161862 h 161861"/>
                <a:gd name="connsiteX4" fmla="*/ 0 w 99631"/>
                <a:gd name="connsiteY4" fmla="*/ 161862 h 161861"/>
                <a:gd name="connsiteX5" fmla="*/ 51626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7942" y="0"/>
                  </a:lnTo>
                  <a:lnTo>
                    <a:pt x="99631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B83EE4A-325F-6424-ADD2-4C282A359E4C}"/>
                </a:ext>
              </a:extLst>
            </p:cNvPr>
            <p:cNvSpPr/>
            <p:nvPr userDrawn="1"/>
          </p:nvSpPr>
          <p:spPr>
            <a:xfrm>
              <a:off x="4628548" y="6297424"/>
              <a:ext cx="99567" cy="161861"/>
            </a:xfrm>
            <a:custGeom>
              <a:avLst/>
              <a:gdLst>
                <a:gd name="connsiteX0" fmla="*/ 0 w 99567"/>
                <a:gd name="connsiteY0" fmla="*/ 0 h 161861"/>
                <a:gd name="connsiteX1" fmla="*/ 47942 w 99567"/>
                <a:gd name="connsiteY1" fmla="*/ 0 h 161861"/>
                <a:gd name="connsiteX2" fmla="*/ 99568 w 99567"/>
                <a:gd name="connsiteY2" fmla="*/ 80962 h 161861"/>
                <a:gd name="connsiteX3" fmla="*/ 47942 w 99567"/>
                <a:gd name="connsiteY3" fmla="*/ 161862 h 161861"/>
                <a:gd name="connsiteX4" fmla="*/ 0 w 99567"/>
                <a:gd name="connsiteY4" fmla="*/ 161862 h 161861"/>
                <a:gd name="connsiteX5" fmla="*/ 51626 w 99567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567" h="161861">
                  <a:moveTo>
                    <a:pt x="0" y="0"/>
                  </a:moveTo>
                  <a:lnTo>
                    <a:pt x="47942" y="0"/>
                  </a:lnTo>
                  <a:lnTo>
                    <a:pt x="99568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7D74398-9694-0B5D-3BB9-EF3F4A0B55BA}"/>
                </a:ext>
              </a:extLst>
            </p:cNvPr>
            <p:cNvSpPr/>
            <p:nvPr userDrawn="1"/>
          </p:nvSpPr>
          <p:spPr>
            <a:xfrm>
              <a:off x="4697001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8006 w 99631"/>
                <a:gd name="connsiteY1" fmla="*/ 0 h 161861"/>
                <a:gd name="connsiteX2" fmla="*/ 99631 w 99631"/>
                <a:gd name="connsiteY2" fmla="*/ 80962 h 161861"/>
                <a:gd name="connsiteX3" fmla="*/ 48006 w 99631"/>
                <a:gd name="connsiteY3" fmla="*/ 161862 h 161861"/>
                <a:gd name="connsiteX4" fmla="*/ 0 w 99631"/>
                <a:gd name="connsiteY4" fmla="*/ 161862 h 161861"/>
                <a:gd name="connsiteX5" fmla="*/ 51625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8006" y="0"/>
                  </a:lnTo>
                  <a:lnTo>
                    <a:pt x="99631" y="80962"/>
                  </a:lnTo>
                  <a:lnTo>
                    <a:pt x="48006" y="161862"/>
                  </a:lnTo>
                  <a:lnTo>
                    <a:pt x="0" y="161862"/>
                  </a:lnTo>
                  <a:lnTo>
                    <a:pt x="51625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707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72000" y="1618488"/>
            <a:ext cx="7086600" cy="4599432"/>
          </a:xfrm>
          <a:ln w="12700">
            <a:solidFill>
              <a:schemeClr val="bg2"/>
            </a:solidFill>
          </a:ln>
        </p:spPr>
        <p:txBody>
          <a:bodyPr vert="horz" lIns="182880" tIns="182880" rIns="182880" bIns="182880" rtlCol="0" anchor="ctr" anchorCtr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vert="horz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B8BB190-45C4-B4EA-E91F-D91647DD201A}"/>
              </a:ext>
            </a:extLst>
          </p:cNvPr>
          <p:cNvGrpSpPr/>
          <p:nvPr userDrawn="1"/>
        </p:nvGrpSpPr>
        <p:grpSpPr>
          <a:xfrm>
            <a:off x="592994" y="6297424"/>
            <a:ext cx="237934" cy="161861"/>
            <a:chOff x="4558698" y="6297424"/>
            <a:chExt cx="237934" cy="161861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AF73820-1083-FF47-1ED2-921C54B2DA04}"/>
                </a:ext>
              </a:extLst>
            </p:cNvPr>
            <p:cNvSpPr/>
            <p:nvPr userDrawn="1"/>
          </p:nvSpPr>
          <p:spPr>
            <a:xfrm>
              <a:off x="4558698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7942 w 99631"/>
                <a:gd name="connsiteY1" fmla="*/ 0 h 161861"/>
                <a:gd name="connsiteX2" fmla="*/ 99631 w 99631"/>
                <a:gd name="connsiteY2" fmla="*/ 80962 h 161861"/>
                <a:gd name="connsiteX3" fmla="*/ 47942 w 99631"/>
                <a:gd name="connsiteY3" fmla="*/ 161862 h 161861"/>
                <a:gd name="connsiteX4" fmla="*/ 0 w 99631"/>
                <a:gd name="connsiteY4" fmla="*/ 161862 h 161861"/>
                <a:gd name="connsiteX5" fmla="*/ 51626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7942" y="0"/>
                  </a:lnTo>
                  <a:lnTo>
                    <a:pt x="99631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B83EE4A-325F-6424-ADD2-4C282A359E4C}"/>
                </a:ext>
              </a:extLst>
            </p:cNvPr>
            <p:cNvSpPr/>
            <p:nvPr userDrawn="1"/>
          </p:nvSpPr>
          <p:spPr>
            <a:xfrm>
              <a:off x="4628548" y="6297424"/>
              <a:ext cx="99567" cy="161861"/>
            </a:xfrm>
            <a:custGeom>
              <a:avLst/>
              <a:gdLst>
                <a:gd name="connsiteX0" fmla="*/ 0 w 99567"/>
                <a:gd name="connsiteY0" fmla="*/ 0 h 161861"/>
                <a:gd name="connsiteX1" fmla="*/ 47942 w 99567"/>
                <a:gd name="connsiteY1" fmla="*/ 0 h 161861"/>
                <a:gd name="connsiteX2" fmla="*/ 99568 w 99567"/>
                <a:gd name="connsiteY2" fmla="*/ 80962 h 161861"/>
                <a:gd name="connsiteX3" fmla="*/ 47942 w 99567"/>
                <a:gd name="connsiteY3" fmla="*/ 161862 h 161861"/>
                <a:gd name="connsiteX4" fmla="*/ 0 w 99567"/>
                <a:gd name="connsiteY4" fmla="*/ 161862 h 161861"/>
                <a:gd name="connsiteX5" fmla="*/ 51626 w 99567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567" h="161861">
                  <a:moveTo>
                    <a:pt x="0" y="0"/>
                  </a:moveTo>
                  <a:lnTo>
                    <a:pt x="47942" y="0"/>
                  </a:lnTo>
                  <a:lnTo>
                    <a:pt x="99568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7D74398-9694-0B5D-3BB9-EF3F4A0B55BA}"/>
                </a:ext>
              </a:extLst>
            </p:cNvPr>
            <p:cNvSpPr/>
            <p:nvPr userDrawn="1"/>
          </p:nvSpPr>
          <p:spPr>
            <a:xfrm>
              <a:off x="4697001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8006 w 99631"/>
                <a:gd name="connsiteY1" fmla="*/ 0 h 161861"/>
                <a:gd name="connsiteX2" fmla="*/ 99631 w 99631"/>
                <a:gd name="connsiteY2" fmla="*/ 80962 h 161861"/>
                <a:gd name="connsiteX3" fmla="*/ 48006 w 99631"/>
                <a:gd name="connsiteY3" fmla="*/ 161862 h 161861"/>
                <a:gd name="connsiteX4" fmla="*/ 0 w 99631"/>
                <a:gd name="connsiteY4" fmla="*/ 161862 h 161861"/>
                <a:gd name="connsiteX5" fmla="*/ 51625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8006" y="0"/>
                  </a:lnTo>
                  <a:lnTo>
                    <a:pt x="99631" y="80962"/>
                  </a:lnTo>
                  <a:lnTo>
                    <a:pt x="48006" y="161862"/>
                  </a:lnTo>
                  <a:lnTo>
                    <a:pt x="0" y="161862"/>
                  </a:lnTo>
                  <a:lnTo>
                    <a:pt x="51625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80136C2-DE7F-02D4-C0C1-88969CD76BC9}"/>
              </a:ext>
            </a:extLst>
          </p:cNvPr>
          <p:cNvSpPr/>
          <p:nvPr userDrawn="1"/>
        </p:nvSpPr>
        <p:spPr>
          <a:xfrm>
            <a:off x="577869" y="1519971"/>
            <a:ext cx="3547872" cy="4700016"/>
          </a:xfrm>
          <a:custGeom>
            <a:avLst/>
            <a:gdLst>
              <a:gd name="connsiteX0" fmla="*/ 1 w 3558618"/>
              <a:gd name="connsiteY0" fmla="*/ 0 h 4711129"/>
              <a:gd name="connsiteX1" fmla="*/ 1001702 w 3558618"/>
              <a:gd name="connsiteY1" fmla="*/ 0 h 4711129"/>
              <a:gd name="connsiteX2" fmla="*/ 1231093 w 3558618"/>
              <a:gd name="connsiteY2" fmla="*/ 110171 h 4711129"/>
              <a:gd name="connsiteX3" fmla="*/ 3558618 w 3558618"/>
              <a:gd name="connsiteY3" fmla="*/ 110171 h 4711129"/>
              <a:gd name="connsiteX4" fmla="*/ 3558618 w 3558618"/>
              <a:gd name="connsiteY4" fmla="*/ 4711129 h 4711129"/>
              <a:gd name="connsiteX5" fmla="*/ 0 w 3558618"/>
              <a:gd name="connsiteY5" fmla="*/ 4711129 h 4711129"/>
              <a:gd name="connsiteX6" fmla="*/ 0 w 3558618"/>
              <a:gd name="connsiteY6" fmla="*/ 110171 h 4711129"/>
              <a:gd name="connsiteX7" fmla="*/ 1 w 3558618"/>
              <a:gd name="connsiteY7" fmla="*/ 110171 h 4711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58618" h="4711129">
                <a:moveTo>
                  <a:pt x="1" y="0"/>
                </a:moveTo>
                <a:lnTo>
                  <a:pt x="1001702" y="0"/>
                </a:lnTo>
                <a:lnTo>
                  <a:pt x="1231093" y="110171"/>
                </a:lnTo>
                <a:lnTo>
                  <a:pt x="3558618" y="110171"/>
                </a:lnTo>
                <a:lnTo>
                  <a:pt x="3558618" y="4711129"/>
                </a:lnTo>
                <a:lnTo>
                  <a:pt x="0" y="4711129"/>
                </a:lnTo>
                <a:lnTo>
                  <a:pt x="0" y="110171"/>
                </a:lnTo>
                <a:lnTo>
                  <a:pt x="1" y="11017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E6389EE-598D-5533-FA5E-C87DE9B408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1678" y="1828483"/>
            <a:ext cx="3200400" cy="4195762"/>
          </a:xfrm>
        </p:spPr>
        <p:txBody>
          <a:bodyPr anchor="ctr" anchorCtr="0"/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8330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57200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02795696-EB95-4185-8B89-3CC0AED5CF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2752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0444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309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310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2944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342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9478720-7D3D-0409-255F-9E0853F32A1D}"/>
              </a:ext>
            </a:extLst>
          </p:cNvPr>
          <p:cNvGrpSpPr/>
          <p:nvPr userDrawn="1"/>
        </p:nvGrpSpPr>
        <p:grpSpPr>
          <a:xfrm>
            <a:off x="5098163" y="-455836"/>
            <a:ext cx="8421905" cy="7945936"/>
            <a:chOff x="5098163" y="-455836"/>
            <a:chExt cx="8421905" cy="7945936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017382F-D235-D7F1-1BA2-23C087D15910}"/>
                </a:ext>
              </a:extLst>
            </p:cNvPr>
            <p:cNvSpPr/>
            <p:nvPr userDrawn="1"/>
          </p:nvSpPr>
          <p:spPr>
            <a:xfrm rot="13821780">
              <a:off x="5239135" y="-596808"/>
              <a:ext cx="5190684" cy="5472628"/>
            </a:xfrm>
            <a:custGeom>
              <a:avLst/>
              <a:gdLst>
                <a:gd name="connsiteX0" fmla="*/ 5190684 w 5190684"/>
                <a:gd name="connsiteY0" fmla="*/ 2965814 h 5472628"/>
                <a:gd name="connsiteX1" fmla="*/ 3114139 w 5190684"/>
                <a:gd name="connsiteY1" fmla="*/ 5472628 h 5472628"/>
                <a:gd name="connsiteX2" fmla="*/ 0 w 5190684"/>
                <a:gd name="connsiteY2" fmla="*/ 0 h 5472628"/>
                <a:gd name="connsiteX3" fmla="*/ 3133747 w 5190684"/>
                <a:gd name="connsiteY3" fmla="*/ 0 h 5472628"/>
                <a:gd name="connsiteX4" fmla="*/ 3518511 w 5190684"/>
                <a:gd name="connsiteY4" fmla="*/ 169 h 5472628"/>
                <a:gd name="connsiteX5" fmla="*/ 5190684 w 5190684"/>
                <a:gd name="connsiteY5" fmla="*/ 2965814 h 54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0684" h="5472628">
                  <a:moveTo>
                    <a:pt x="5190684" y="2965814"/>
                  </a:moveTo>
                  <a:lnTo>
                    <a:pt x="3114139" y="5472628"/>
                  </a:lnTo>
                  <a:lnTo>
                    <a:pt x="0" y="0"/>
                  </a:lnTo>
                  <a:lnTo>
                    <a:pt x="3133747" y="0"/>
                  </a:lnTo>
                  <a:lnTo>
                    <a:pt x="3518511" y="169"/>
                  </a:lnTo>
                  <a:lnTo>
                    <a:pt x="5190684" y="2965814"/>
                  </a:lnTo>
                  <a:close/>
                </a:path>
              </a:pathLst>
            </a:custGeom>
            <a:solidFill>
              <a:schemeClr val="tx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2967094-2C91-949A-F4D5-52E403609A0C}"/>
                </a:ext>
              </a:extLst>
            </p:cNvPr>
            <p:cNvSpPr/>
            <p:nvPr userDrawn="1"/>
          </p:nvSpPr>
          <p:spPr>
            <a:xfrm rot="13821780">
              <a:off x="8007792" y="1977824"/>
              <a:ext cx="5029645" cy="5994907"/>
            </a:xfrm>
            <a:custGeom>
              <a:avLst/>
              <a:gdLst>
                <a:gd name="connsiteX0" fmla="*/ 3516449 w 5029645"/>
                <a:gd name="connsiteY0" fmla="*/ 5994907 h 5994907"/>
                <a:gd name="connsiteX1" fmla="*/ 1394416 w 5029645"/>
                <a:gd name="connsiteY1" fmla="*/ 4237097 h 5994907"/>
                <a:gd name="connsiteX2" fmla="*/ 1677138 w 5029645"/>
                <a:gd name="connsiteY2" fmla="*/ 3756672 h 5994907"/>
                <a:gd name="connsiteX3" fmla="*/ 1317698 w 5029645"/>
                <a:gd name="connsiteY3" fmla="*/ 3124534 h 5994907"/>
                <a:gd name="connsiteX4" fmla="*/ 920847 w 5029645"/>
                <a:gd name="connsiteY4" fmla="*/ 3844814 h 5994907"/>
                <a:gd name="connsiteX5" fmla="*/ 280815 w 5029645"/>
                <a:gd name="connsiteY5" fmla="*/ 3314638 h 5994907"/>
                <a:gd name="connsiteX6" fmla="*/ 280817 w 5029645"/>
                <a:gd name="connsiteY6" fmla="*/ 3314636 h 5994907"/>
                <a:gd name="connsiteX7" fmla="*/ 0 w 5029645"/>
                <a:gd name="connsiteY7" fmla="*/ 3082019 h 5994907"/>
                <a:gd name="connsiteX8" fmla="*/ 2553021 w 5029645"/>
                <a:gd name="connsiteY8" fmla="*/ 0 h 5994907"/>
                <a:gd name="connsiteX9" fmla="*/ 3082168 w 5029645"/>
                <a:gd name="connsiteY9" fmla="*/ 0 h 5994907"/>
                <a:gd name="connsiteX10" fmla="*/ 3870352 w 5029645"/>
                <a:gd name="connsiteY10" fmla="*/ 1377053 h 5994907"/>
                <a:gd name="connsiteX11" fmla="*/ 5029645 w 5029645"/>
                <a:gd name="connsiteY11" fmla="*/ 3437574 h 5994907"/>
                <a:gd name="connsiteX12" fmla="*/ 3516449 w 5029645"/>
                <a:gd name="connsiteY12" fmla="*/ 5994907 h 599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9645" h="5994907">
                  <a:moveTo>
                    <a:pt x="3516449" y="5994907"/>
                  </a:moveTo>
                  <a:lnTo>
                    <a:pt x="1394416" y="4237097"/>
                  </a:lnTo>
                  <a:lnTo>
                    <a:pt x="1677138" y="3756672"/>
                  </a:lnTo>
                  <a:lnTo>
                    <a:pt x="1317698" y="3124534"/>
                  </a:lnTo>
                  <a:lnTo>
                    <a:pt x="920847" y="3844814"/>
                  </a:lnTo>
                  <a:lnTo>
                    <a:pt x="280815" y="3314638"/>
                  </a:lnTo>
                  <a:lnTo>
                    <a:pt x="280817" y="3314636"/>
                  </a:lnTo>
                  <a:lnTo>
                    <a:pt x="0" y="3082019"/>
                  </a:lnTo>
                  <a:lnTo>
                    <a:pt x="2553021" y="0"/>
                  </a:lnTo>
                  <a:lnTo>
                    <a:pt x="3082168" y="0"/>
                  </a:lnTo>
                  <a:lnTo>
                    <a:pt x="3870352" y="1377053"/>
                  </a:lnTo>
                  <a:lnTo>
                    <a:pt x="5029645" y="3437574"/>
                  </a:lnTo>
                  <a:lnTo>
                    <a:pt x="3516449" y="5994907"/>
                  </a:lnTo>
                  <a:close/>
                </a:path>
              </a:pathLst>
            </a:cu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44F5692-D65B-8D88-1FAB-15C86A9D621F}"/>
                </a:ext>
              </a:extLst>
            </p:cNvPr>
            <p:cNvSpPr/>
            <p:nvPr userDrawn="1"/>
          </p:nvSpPr>
          <p:spPr>
            <a:xfrm>
              <a:off x="9497710" y="0"/>
              <a:ext cx="2694290" cy="2106092"/>
            </a:xfrm>
            <a:custGeom>
              <a:avLst/>
              <a:gdLst>
                <a:gd name="connsiteX0" fmla="*/ 802401 w 2694290"/>
                <a:gd name="connsiteY0" fmla="*/ 0 h 2106092"/>
                <a:gd name="connsiteX1" fmla="*/ 2694290 w 2694290"/>
                <a:gd name="connsiteY1" fmla="*/ 0 h 2106092"/>
                <a:gd name="connsiteX2" fmla="*/ 2694290 w 2694290"/>
                <a:gd name="connsiteY2" fmla="*/ 1678210 h 2106092"/>
                <a:gd name="connsiteX3" fmla="*/ 0 w 2694290"/>
                <a:gd name="connsiteY3" fmla="*/ 2106092 h 2106092"/>
                <a:gd name="connsiteX4" fmla="*/ 802401 w 2694290"/>
                <a:gd name="connsiteY4" fmla="*/ 0 h 2106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4290" h="2106092">
                  <a:moveTo>
                    <a:pt x="802401" y="0"/>
                  </a:moveTo>
                  <a:lnTo>
                    <a:pt x="2694290" y="0"/>
                  </a:lnTo>
                  <a:lnTo>
                    <a:pt x="2694290" y="1678210"/>
                  </a:lnTo>
                  <a:lnTo>
                    <a:pt x="0" y="2106092"/>
                  </a:lnTo>
                  <a:lnTo>
                    <a:pt x="80240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BD242E68-DB69-0BDE-8CFA-EE8E56F3857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3103" y="442968"/>
            <a:ext cx="1898903" cy="72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58F95B26-E9C8-461F-A9CE-9322F34A89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E8DB86CA-D14E-4B53-BA61-EA587191FB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Picture Placeholder 2">
            <a:extLst>
              <a:ext uri="{FF2B5EF4-FFF2-40B4-BE49-F238E27FC236}">
                <a16:creationId xmlns:a16="http://schemas.microsoft.com/office/drawing/2014/main" id="{F230A0F3-DF2C-EA24-61B5-0FD5D898B35D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75135" y="1705390"/>
            <a:ext cx="3429000" cy="3738009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48252" h="3738009">
                <a:moveTo>
                  <a:pt x="0" y="7257"/>
                </a:moveTo>
                <a:lnTo>
                  <a:pt x="2791922" y="0"/>
                </a:lnTo>
                <a:lnTo>
                  <a:pt x="3439288" y="400234"/>
                </a:lnTo>
                <a:lnTo>
                  <a:pt x="3448252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7820" y="2632401"/>
            <a:ext cx="4389120" cy="387798"/>
          </a:xfrm>
        </p:spPr>
        <p:txBody>
          <a:bodyPr anchor="b" anchorCtr="0">
            <a:spAutoFit/>
          </a:bodyPr>
          <a:lstStyle>
            <a:lvl1pPr marL="0" indent="0" algn="l">
              <a:spcBef>
                <a:spcPts val="600"/>
              </a:spcBef>
              <a:buFontTx/>
              <a:buNone/>
              <a:defRPr sz="28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0C0782D-07C9-6C9A-899C-240F6B16CA2D}"/>
              </a:ext>
            </a:extLst>
          </p:cNvPr>
          <p:cNvSpPr/>
          <p:nvPr userDrawn="1"/>
        </p:nvSpPr>
        <p:spPr>
          <a:xfrm>
            <a:off x="0" y="1614433"/>
            <a:ext cx="511478" cy="41607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612536C-BA3B-C635-0F6C-8C0D1F872979}"/>
              </a:ext>
            </a:extLst>
          </p:cNvPr>
          <p:cNvGrpSpPr/>
          <p:nvPr userDrawn="1"/>
        </p:nvGrpSpPr>
        <p:grpSpPr>
          <a:xfrm>
            <a:off x="1849678" y="6154703"/>
            <a:ext cx="1507346" cy="86513"/>
            <a:chOff x="1348801" y="4612172"/>
            <a:chExt cx="1507346" cy="86513"/>
          </a:xfrm>
        </p:grpSpPr>
        <p:sp>
          <p:nvSpPr>
            <p:cNvPr id="59" name="Graphic 15">
              <a:extLst>
                <a:ext uri="{FF2B5EF4-FFF2-40B4-BE49-F238E27FC236}">
                  <a16:creationId xmlns:a16="http://schemas.microsoft.com/office/drawing/2014/main" id="{24877D6C-2462-3EAF-AC11-F1957F33DE0D}"/>
                </a:ext>
              </a:extLst>
            </p:cNvPr>
            <p:cNvSpPr/>
            <p:nvPr userDrawn="1"/>
          </p:nvSpPr>
          <p:spPr>
            <a:xfrm>
              <a:off x="1348801" y="4612172"/>
              <a:ext cx="65603" cy="47636"/>
            </a:xfrm>
            <a:custGeom>
              <a:avLst/>
              <a:gdLst>
                <a:gd name="connsiteX0" fmla="*/ 78777 w 78776"/>
                <a:gd name="connsiteY0" fmla="*/ 57202 h 57201"/>
                <a:gd name="connsiteX1" fmla="*/ 0 w 78776"/>
                <a:gd name="connsiteY1" fmla="*/ 57202 h 57201"/>
                <a:gd name="connsiteX2" fmla="*/ 0 w 78776"/>
                <a:gd name="connsiteY2" fmla="*/ 0 h 57201"/>
                <a:gd name="connsiteX3" fmla="*/ 3839 w 78776"/>
                <a:gd name="connsiteY3" fmla="*/ 0 h 57201"/>
                <a:gd name="connsiteX4" fmla="*/ 3839 w 78776"/>
                <a:gd name="connsiteY4" fmla="*/ 53363 h 57201"/>
                <a:gd name="connsiteX5" fmla="*/ 78777 w 78776"/>
                <a:gd name="connsiteY5" fmla="*/ 53363 h 57201"/>
                <a:gd name="connsiteX6" fmla="*/ 78777 w 78776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76" h="57201">
                  <a:moveTo>
                    <a:pt x="78777" y="57202"/>
                  </a:moveTo>
                  <a:lnTo>
                    <a:pt x="0" y="57202"/>
                  </a:lnTo>
                  <a:lnTo>
                    <a:pt x="0" y="0"/>
                  </a:lnTo>
                  <a:lnTo>
                    <a:pt x="3839" y="0"/>
                  </a:lnTo>
                  <a:lnTo>
                    <a:pt x="3839" y="53363"/>
                  </a:lnTo>
                  <a:lnTo>
                    <a:pt x="78777" y="53363"/>
                  </a:lnTo>
                  <a:lnTo>
                    <a:pt x="78777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Graphic 15">
              <a:extLst>
                <a:ext uri="{FF2B5EF4-FFF2-40B4-BE49-F238E27FC236}">
                  <a16:creationId xmlns:a16="http://schemas.microsoft.com/office/drawing/2014/main" id="{FA9A5B35-00A3-44B9-95B7-5D28DFB73DAE}"/>
                </a:ext>
              </a:extLst>
            </p:cNvPr>
            <p:cNvSpPr/>
            <p:nvPr userDrawn="1"/>
          </p:nvSpPr>
          <p:spPr>
            <a:xfrm>
              <a:off x="1539474" y="4656676"/>
              <a:ext cx="1126321" cy="3197"/>
            </a:xfrm>
            <a:custGeom>
              <a:avLst/>
              <a:gdLst>
                <a:gd name="connsiteX0" fmla="*/ 1352013 w 1352491"/>
                <a:gd name="connsiteY0" fmla="*/ 2514 h 3839"/>
                <a:gd name="connsiteX1" fmla="*/ 1201369 w 1352491"/>
                <a:gd name="connsiteY1" fmla="*/ 2514 h 3839"/>
                <a:gd name="connsiteX2" fmla="*/ 1201369 w 1352491"/>
                <a:gd name="connsiteY2" fmla="*/ -1325 h 3839"/>
                <a:gd name="connsiteX3" fmla="*/ 1352013 w 1352491"/>
                <a:gd name="connsiteY3" fmla="*/ -1325 h 3839"/>
                <a:gd name="connsiteX4" fmla="*/ 1051570 w 1352491"/>
                <a:gd name="connsiteY4" fmla="*/ 2514 h 3839"/>
                <a:gd name="connsiteX5" fmla="*/ 900926 w 1352491"/>
                <a:gd name="connsiteY5" fmla="*/ 2514 h 3839"/>
                <a:gd name="connsiteX6" fmla="*/ 900926 w 1352491"/>
                <a:gd name="connsiteY6" fmla="*/ -1325 h 3839"/>
                <a:gd name="connsiteX7" fmla="*/ 1051186 w 1352491"/>
                <a:gd name="connsiteY7" fmla="*/ -1325 h 3839"/>
                <a:gd name="connsiteX8" fmla="*/ 751050 w 1352491"/>
                <a:gd name="connsiteY8" fmla="*/ 2514 h 3839"/>
                <a:gd name="connsiteX9" fmla="*/ 600484 w 1352491"/>
                <a:gd name="connsiteY9" fmla="*/ 2514 h 3839"/>
                <a:gd name="connsiteX10" fmla="*/ 600484 w 1352491"/>
                <a:gd name="connsiteY10" fmla="*/ -1325 h 3839"/>
                <a:gd name="connsiteX11" fmla="*/ 750666 w 1352491"/>
                <a:gd name="connsiteY11" fmla="*/ -1325 h 3839"/>
                <a:gd name="connsiteX12" fmla="*/ 450608 w 1352491"/>
                <a:gd name="connsiteY12" fmla="*/ 2514 h 3839"/>
                <a:gd name="connsiteX13" fmla="*/ 300118 w 1352491"/>
                <a:gd name="connsiteY13" fmla="*/ 2514 h 3839"/>
                <a:gd name="connsiteX14" fmla="*/ 300118 w 1352491"/>
                <a:gd name="connsiteY14" fmla="*/ -1325 h 3839"/>
                <a:gd name="connsiteX15" fmla="*/ 450377 w 1352491"/>
                <a:gd name="connsiteY15" fmla="*/ -1325 h 3839"/>
                <a:gd name="connsiteX16" fmla="*/ 150165 w 1352491"/>
                <a:gd name="connsiteY16" fmla="*/ 2514 h 3839"/>
                <a:gd name="connsiteX17" fmla="*/ -479 w 1352491"/>
                <a:gd name="connsiteY17" fmla="*/ 2514 h 3839"/>
                <a:gd name="connsiteX18" fmla="*/ -479 w 1352491"/>
                <a:gd name="connsiteY18" fmla="*/ -1325 h 3839"/>
                <a:gd name="connsiteX19" fmla="*/ 149781 w 1352491"/>
                <a:gd name="connsiteY19" fmla="*/ -1325 h 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52491" h="3839">
                  <a:moveTo>
                    <a:pt x="1352013" y="2514"/>
                  </a:moveTo>
                  <a:lnTo>
                    <a:pt x="1201369" y="2514"/>
                  </a:lnTo>
                  <a:lnTo>
                    <a:pt x="1201369" y="-1325"/>
                  </a:lnTo>
                  <a:lnTo>
                    <a:pt x="1352013" y="-1325"/>
                  </a:lnTo>
                  <a:close/>
                  <a:moveTo>
                    <a:pt x="1051570" y="2514"/>
                  </a:moveTo>
                  <a:lnTo>
                    <a:pt x="900926" y="2514"/>
                  </a:lnTo>
                  <a:lnTo>
                    <a:pt x="900926" y="-1325"/>
                  </a:lnTo>
                  <a:lnTo>
                    <a:pt x="1051186" y="-1325"/>
                  </a:lnTo>
                  <a:close/>
                  <a:moveTo>
                    <a:pt x="751050" y="2514"/>
                  </a:moveTo>
                  <a:lnTo>
                    <a:pt x="600484" y="2514"/>
                  </a:lnTo>
                  <a:lnTo>
                    <a:pt x="600484" y="-1325"/>
                  </a:lnTo>
                  <a:lnTo>
                    <a:pt x="750666" y="-1325"/>
                  </a:lnTo>
                  <a:close/>
                  <a:moveTo>
                    <a:pt x="450608" y="2514"/>
                  </a:moveTo>
                  <a:lnTo>
                    <a:pt x="300118" y="2514"/>
                  </a:lnTo>
                  <a:lnTo>
                    <a:pt x="300118" y="-1325"/>
                  </a:lnTo>
                  <a:lnTo>
                    <a:pt x="450377" y="-1325"/>
                  </a:lnTo>
                  <a:close/>
                  <a:moveTo>
                    <a:pt x="150165" y="2514"/>
                  </a:moveTo>
                  <a:lnTo>
                    <a:pt x="-479" y="2514"/>
                  </a:lnTo>
                  <a:lnTo>
                    <a:pt x="-479" y="-1325"/>
                  </a:lnTo>
                  <a:lnTo>
                    <a:pt x="149781" y="-1325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Graphic 15">
              <a:extLst>
                <a:ext uri="{FF2B5EF4-FFF2-40B4-BE49-F238E27FC236}">
                  <a16:creationId xmlns:a16="http://schemas.microsoft.com/office/drawing/2014/main" id="{840AF6FC-483D-1B30-59DA-54E6EA98F361}"/>
                </a:ext>
              </a:extLst>
            </p:cNvPr>
            <p:cNvSpPr/>
            <p:nvPr userDrawn="1"/>
          </p:nvSpPr>
          <p:spPr>
            <a:xfrm>
              <a:off x="2790608" y="4612172"/>
              <a:ext cx="65539" cy="47636"/>
            </a:xfrm>
            <a:custGeom>
              <a:avLst/>
              <a:gdLst>
                <a:gd name="connsiteX0" fmla="*/ 78700 w 78700"/>
                <a:gd name="connsiteY0" fmla="*/ 57202 h 57201"/>
                <a:gd name="connsiteX1" fmla="*/ 0 w 78700"/>
                <a:gd name="connsiteY1" fmla="*/ 57202 h 57201"/>
                <a:gd name="connsiteX2" fmla="*/ 0 w 78700"/>
                <a:gd name="connsiteY2" fmla="*/ 53363 h 57201"/>
                <a:gd name="connsiteX3" fmla="*/ 74861 w 78700"/>
                <a:gd name="connsiteY3" fmla="*/ 53363 h 57201"/>
                <a:gd name="connsiteX4" fmla="*/ 74861 w 78700"/>
                <a:gd name="connsiteY4" fmla="*/ 0 h 57201"/>
                <a:gd name="connsiteX5" fmla="*/ 78700 w 78700"/>
                <a:gd name="connsiteY5" fmla="*/ 0 h 57201"/>
                <a:gd name="connsiteX6" fmla="*/ 78700 w 78700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00" h="57201">
                  <a:moveTo>
                    <a:pt x="78700" y="57202"/>
                  </a:moveTo>
                  <a:lnTo>
                    <a:pt x="0" y="57202"/>
                  </a:lnTo>
                  <a:lnTo>
                    <a:pt x="0" y="53363"/>
                  </a:lnTo>
                  <a:lnTo>
                    <a:pt x="74861" y="53363"/>
                  </a:lnTo>
                  <a:lnTo>
                    <a:pt x="74861" y="0"/>
                  </a:lnTo>
                  <a:lnTo>
                    <a:pt x="78700" y="0"/>
                  </a:lnTo>
                  <a:lnTo>
                    <a:pt x="78700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Graphic 15">
              <a:extLst>
                <a:ext uri="{FF2B5EF4-FFF2-40B4-BE49-F238E27FC236}">
                  <a16:creationId xmlns:a16="http://schemas.microsoft.com/office/drawing/2014/main" id="{B5845DBE-5B99-15AB-F3C1-5F22A4CEFB97}"/>
                </a:ext>
              </a:extLst>
            </p:cNvPr>
            <p:cNvSpPr/>
            <p:nvPr userDrawn="1"/>
          </p:nvSpPr>
          <p:spPr>
            <a:xfrm>
              <a:off x="2851352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Graphic 15">
              <a:extLst>
                <a:ext uri="{FF2B5EF4-FFF2-40B4-BE49-F238E27FC236}">
                  <a16:creationId xmlns:a16="http://schemas.microsoft.com/office/drawing/2014/main" id="{EA9C17C2-DD67-516A-9959-1247CF8F03E1}"/>
                </a:ext>
              </a:extLst>
            </p:cNvPr>
            <p:cNvSpPr/>
            <p:nvPr userDrawn="1"/>
          </p:nvSpPr>
          <p:spPr>
            <a:xfrm>
              <a:off x="2212134" y="4692291"/>
              <a:ext cx="583206" cy="6394"/>
            </a:xfrm>
            <a:custGeom>
              <a:avLst/>
              <a:gdLst>
                <a:gd name="connsiteX0" fmla="*/ 699838 w 700316"/>
                <a:gd name="connsiteY0" fmla="*/ 6353 h 7678"/>
                <a:gd name="connsiteX1" fmla="*/ 694233 w 700316"/>
                <a:gd name="connsiteY1" fmla="*/ 6353 h 7678"/>
                <a:gd name="connsiteX2" fmla="*/ 694233 w 700316"/>
                <a:gd name="connsiteY2" fmla="*/ -1325 h 7678"/>
                <a:gd name="connsiteX3" fmla="*/ 699838 w 700316"/>
                <a:gd name="connsiteY3" fmla="*/ -1325 h 7678"/>
                <a:gd name="connsiteX4" fmla="*/ 5126 w 700316"/>
                <a:gd name="connsiteY4" fmla="*/ 6353 h 7678"/>
                <a:gd name="connsiteX5" fmla="*/ -479 w 700316"/>
                <a:gd name="connsiteY5" fmla="*/ 6353 h 7678"/>
                <a:gd name="connsiteX6" fmla="*/ -479 w 700316"/>
                <a:gd name="connsiteY6" fmla="*/ -1325 h 7678"/>
                <a:gd name="connsiteX7" fmla="*/ 5126 w 700316"/>
                <a:gd name="connsiteY7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0316" h="7678">
                  <a:moveTo>
                    <a:pt x="699838" y="6353"/>
                  </a:moveTo>
                  <a:lnTo>
                    <a:pt x="694233" y="6353"/>
                  </a:lnTo>
                  <a:lnTo>
                    <a:pt x="694233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Graphic 15">
              <a:extLst>
                <a:ext uri="{FF2B5EF4-FFF2-40B4-BE49-F238E27FC236}">
                  <a16:creationId xmlns:a16="http://schemas.microsoft.com/office/drawing/2014/main" id="{8AA53179-1C06-3510-2639-008728DA58C1}"/>
                </a:ext>
              </a:extLst>
            </p:cNvPr>
            <p:cNvSpPr/>
            <p:nvPr userDrawn="1"/>
          </p:nvSpPr>
          <p:spPr>
            <a:xfrm>
              <a:off x="1460955" y="4692291"/>
              <a:ext cx="643822" cy="6394"/>
            </a:xfrm>
            <a:custGeom>
              <a:avLst/>
              <a:gdLst>
                <a:gd name="connsiteX0" fmla="*/ 772626 w 773104"/>
                <a:gd name="connsiteY0" fmla="*/ 6353 h 7678"/>
                <a:gd name="connsiteX1" fmla="*/ 767097 w 773104"/>
                <a:gd name="connsiteY1" fmla="*/ 6353 h 7678"/>
                <a:gd name="connsiteX2" fmla="*/ 767097 w 773104"/>
                <a:gd name="connsiteY2" fmla="*/ -1325 h 7678"/>
                <a:gd name="connsiteX3" fmla="*/ 772626 w 773104"/>
                <a:gd name="connsiteY3" fmla="*/ -1325 h 7678"/>
                <a:gd name="connsiteX4" fmla="*/ 699838 w 773104"/>
                <a:gd name="connsiteY4" fmla="*/ 6353 h 7678"/>
                <a:gd name="connsiteX5" fmla="*/ 694232 w 773104"/>
                <a:gd name="connsiteY5" fmla="*/ 6353 h 7678"/>
                <a:gd name="connsiteX6" fmla="*/ 694232 w 773104"/>
                <a:gd name="connsiteY6" fmla="*/ -1325 h 7678"/>
                <a:gd name="connsiteX7" fmla="*/ 699838 w 773104"/>
                <a:gd name="connsiteY7" fmla="*/ -1325 h 7678"/>
                <a:gd name="connsiteX8" fmla="*/ 5126 w 773104"/>
                <a:gd name="connsiteY8" fmla="*/ 6353 h 7678"/>
                <a:gd name="connsiteX9" fmla="*/ -479 w 773104"/>
                <a:gd name="connsiteY9" fmla="*/ 6353 h 7678"/>
                <a:gd name="connsiteX10" fmla="*/ -479 w 773104"/>
                <a:gd name="connsiteY10" fmla="*/ -1325 h 7678"/>
                <a:gd name="connsiteX11" fmla="*/ 5126 w 773104"/>
                <a:gd name="connsiteY11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3104" h="7678">
                  <a:moveTo>
                    <a:pt x="772626" y="6353"/>
                  </a:moveTo>
                  <a:lnTo>
                    <a:pt x="767097" y="6353"/>
                  </a:lnTo>
                  <a:lnTo>
                    <a:pt x="767097" y="-1325"/>
                  </a:lnTo>
                  <a:lnTo>
                    <a:pt x="772626" y="-1325"/>
                  </a:lnTo>
                  <a:close/>
                  <a:moveTo>
                    <a:pt x="699838" y="6353"/>
                  </a:moveTo>
                  <a:lnTo>
                    <a:pt x="694232" y="6353"/>
                  </a:lnTo>
                  <a:lnTo>
                    <a:pt x="694232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Graphic 15">
              <a:extLst>
                <a:ext uri="{FF2B5EF4-FFF2-40B4-BE49-F238E27FC236}">
                  <a16:creationId xmlns:a16="http://schemas.microsoft.com/office/drawing/2014/main" id="{4DC4DFD4-0970-BBAB-3062-7282895C9B3B}"/>
                </a:ext>
              </a:extLst>
            </p:cNvPr>
            <p:cNvSpPr/>
            <p:nvPr userDrawn="1"/>
          </p:nvSpPr>
          <p:spPr>
            <a:xfrm>
              <a:off x="1350464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66" name="Graphic 65">
            <a:extLst>
              <a:ext uri="{FF2B5EF4-FFF2-40B4-BE49-F238E27FC236}">
                <a16:creationId xmlns:a16="http://schemas.microsoft.com/office/drawing/2014/main" id="{C46B473C-8C9F-93BA-E3E1-2B54A7FA8E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63025" y="2879774"/>
            <a:ext cx="3228975" cy="2971800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C781CAE9-246A-D5F3-2230-C3789E54D8FB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715225" y="6267123"/>
            <a:ext cx="2476774" cy="290423"/>
            <a:chOff x="-8365" y="6414219"/>
            <a:chExt cx="3024563" cy="354656"/>
          </a:xfrm>
          <a:gradFill>
            <a:gsLst>
              <a:gs pos="100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532100C-0D80-F191-9F98-2D5FF811A97F}"/>
                </a:ext>
              </a:extLst>
            </p:cNvPr>
            <p:cNvSpPr/>
            <p:nvPr/>
          </p:nvSpPr>
          <p:spPr>
            <a:xfrm>
              <a:off x="1254664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44A9CC0-3E51-FC78-278A-5B906F2005AE}"/>
                </a:ext>
              </a:extLst>
            </p:cNvPr>
            <p:cNvSpPr/>
            <p:nvPr/>
          </p:nvSpPr>
          <p:spPr>
            <a:xfrm>
              <a:off x="1037409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1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1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066D8AE-DC07-7BF3-E891-5B89628BA9C9}"/>
                </a:ext>
              </a:extLst>
            </p:cNvPr>
            <p:cNvSpPr/>
            <p:nvPr/>
          </p:nvSpPr>
          <p:spPr>
            <a:xfrm>
              <a:off x="820005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88A277B-5E74-EB8B-8881-3986B9272CC3}"/>
                </a:ext>
              </a:extLst>
            </p:cNvPr>
            <p:cNvSpPr/>
            <p:nvPr/>
          </p:nvSpPr>
          <p:spPr>
            <a:xfrm>
              <a:off x="602602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B3518B4-B832-4478-7E53-D177D7C37B30}"/>
                </a:ext>
              </a:extLst>
            </p:cNvPr>
            <p:cNvSpPr/>
            <p:nvPr/>
          </p:nvSpPr>
          <p:spPr>
            <a:xfrm>
              <a:off x="167943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242CC0B-0D04-4FA5-62F4-AC00C965B2E8}"/>
                </a:ext>
              </a:extLst>
            </p:cNvPr>
            <p:cNvSpPr/>
            <p:nvPr/>
          </p:nvSpPr>
          <p:spPr>
            <a:xfrm>
              <a:off x="385347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1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1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017FD557-D688-1519-F0F8-AE3A1101F5CB}"/>
                </a:ext>
              </a:extLst>
            </p:cNvPr>
            <p:cNvSpPr/>
            <p:nvPr/>
          </p:nvSpPr>
          <p:spPr>
            <a:xfrm>
              <a:off x="2566670" y="6414219"/>
              <a:ext cx="434658" cy="339786"/>
            </a:xfrm>
            <a:custGeom>
              <a:avLst/>
              <a:gdLst>
                <a:gd name="connsiteX0" fmla="*/ 434658 w 434658"/>
                <a:gd name="connsiteY0" fmla="*/ 0 h 339786"/>
                <a:gd name="connsiteX1" fmla="*/ 350939 w 434658"/>
                <a:gd name="connsiteY1" fmla="*/ 0 h 339786"/>
                <a:gd name="connsiteX2" fmla="*/ 0 w 434658"/>
                <a:gd name="connsiteY2" fmla="*/ 339786 h 339786"/>
                <a:gd name="connsiteX3" fmla="*/ 105281 w 434658"/>
                <a:gd name="connsiteY3" fmla="*/ 339786 h 339786"/>
                <a:gd name="connsiteX4" fmla="*/ 434658 w 434658"/>
                <a:gd name="connsiteY4" fmla="*/ 20967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658" h="339786">
                  <a:moveTo>
                    <a:pt x="434658" y="0"/>
                  </a:moveTo>
                  <a:lnTo>
                    <a:pt x="350939" y="0"/>
                  </a:lnTo>
                  <a:lnTo>
                    <a:pt x="0" y="339786"/>
                  </a:lnTo>
                  <a:lnTo>
                    <a:pt x="105281" y="339786"/>
                  </a:lnTo>
                  <a:lnTo>
                    <a:pt x="434658" y="20967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5C878B5-4C14-BF1C-8300-270CBC50C5A0}"/>
                </a:ext>
              </a:extLst>
            </p:cNvPr>
            <p:cNvSpPr/>
            <p:nvPr/>
          </p:nvSpPr>
          <p:spPr>
            <a:xfrm>
              <a:off x="1472068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F3F73933-A44F-0423-BA7C-EEF42F9895A7}"/>
                </a:ext>
              </a:extLst>
            </p:cNvPr>
            <p:cNvSpPr/>
            <p:nvPr/>
          </p:nvSpPr>
          <p:spPr>
            <a:xfrm>
              <a:off x="2349266" y="6414219"/>
              <a:ext cx="456368" cy="339786"/>
            </a:xfrm>
            <a:custGeom>
              <a:avLst/>
              <a:gdLst>
                <a:gd name="connsiteX0" fmla="*/ 350939 w 456368"/>
                <a:gd name="connsiteY0" fmla="*/ 0 h 339786"/>
                <a:gd name="connsiteX1" fmla="*/ 0 w 456368"/>
                <a:gd name="connsiteY1" fmla="*/ 339786 h 339786"/>
                <a:gd name="connsiteX2" fmla="*/ 105430 w 456368"/>
                <a:gd name="connsiteY2" fmla="*/ 339786 h 339786"/>
                <a:gd name="connsiteX3" fmla="*/ 456369 w 456368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8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669C3DC-4FDD-B99A-34FF-F8C59CCFE6B5}"/>
                </a:ext>
              </a:extLst>
            </p:cNvPr>
            <p:cNvSpPr/>
            <p:nvPr/>
          </p:nvSpPr>
          <p:spPr>
            <a:xfrm>
              <a:off x="3001328" y="6754005"/>
              <a:ext cx="14870" cy="14870"/>
            </a:xfrm>
            <a:custGeom>
              <a:avLst/>
              <a:gdLst>
                <a:gd name="connsiteX0" fmla="*/ 0 w 14870"/>
                <a:gd name="connsiteY0" fmla="*/ 0 h 14870"/>
                <a:gd name="connsiteX1" fmla="*/ 0 w 14870"/>
                <a:gd name="connsiteY1" fmla="*/ 0 h 14870"/>
                <a:gd name="connsiteX2" fmla="*/ 0 w 14870"/>
                <a:gd name="connsiteY2" fmla="*/ 0 h 1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70" h="1487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D12A713-86A1-E10F-4CCE-1BFC3A1791CD}"/>
                </a:ext>
              </a:extLst>
            </p:cNvPr>
            <p:cNvSpPr/>
            <p:nvPr/>
          </p:nvSpPr>
          <p:spPr>
            <a:xfrm>
              <a:off x="2783925" y="6543590"/>
              <a:ext cx="217403" cy="210414"/>
            </a:xfrm>
            <a:custGeom>
              <a:avLst/>
              <a:gdLst>
                <a:gd name="connsiteX0" fmla="*/ 217404 w 217403"/>
                <a:gd name="connsiteY0" fmla="*/ 0 h 210414"/>
                <a:gd name="connsiteX1" fmla="*/ 0 w 217403"/>
                <a:gd name="connsiteY1" fmla="*/ 210415 h 210414"/>
                <a:gd name="connsiteX2" fmla="*/ 105430 w 217403"/>
                <a:gd name="connsiteY2" fmla="*/ 210415 h 210414"/>
                <a:gd name="connsiteX3" fmla="*/ 217404 w 217403"/>
                <a:gd name="connsiteY3" fmla="*/ 102010 h 210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403" h="210414">
                  <a:moveTo>
                    <a:pt x="217404" y="0"/>
                  </a:moveTo>
                  <a:lnTo>
                    <a:pt x="0" y="210415"/>
                  </a:lnTo>
                  <a:lnTo>
                    <a:pt x="105430" y="210415"/>
                  </a:lnTo>
                  <a:lnTo>
                    <a:pt x="217404" y="10201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BD21ABB-76FB-F938-E849-305D6DE8EA44}"/>
                </a:ext>
              </a:extLst>
            </p:cNvPr>
            <p:cNvSpPr/>
            <p:nvPr/>
          </p:nvSpPr>
          <p:spPr>
            <a:xfrm>
              <a:off x="1689471" y="6414219"/>
              <a:ext cx="464101" cy="339786"/>
            </a:xfrm>
            <a:custGeom>
              <a:avLst/>
              <a:gdLst>
                <a:gd name="connsiteX0" fmla="*/ 350939 w 464101"/>
                <a:gd name="connsiteY0" fmla="*/ 0 h 339786"/>
                <a:gd name="connsiteX1" fmla="*/ 0 w 464101"/>
                <a:gd name="connsiteY1" fmla="*/ 339786 h 339786"/>
                <a:gd name="connsiteX2" fmla="*/ 113163 w 464101"/>
                <a:gd name="connsiteY2" fmla="*/ 339786 h 339786"/>
                <a:gd name="connsiteX3" fmla="*/ 464102 w 464101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101" h="339786">
                  <a:moveTo>
                    <a:pt x="350939" y="0"/>
                  </a:moveTo>
                  <a:lnTo>
                    <a:pt x="0" y="339786"/>
                  </a:lnTo>
                  <a:lnTo>
                    <a:pt x="113163" y="339786"/>
                  </a:lnTo>
                  <a:lnTo>
                    <a:pt x="464102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1ABE2CD-D4A5-4632-98C8-8BF8ACCBE5E8}"/>
                </a:ext>
              </a:extLst>
            </p:cNvPr>
            <p:cNvSpPr/>
            <p:nvPr/>
          </p:nvSpPr>
          <p:spPr>
            <a:xfrm>
              <a:off x="2131863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D63E44C-F0B1-312E-583F-8A1042C53A13}"/>
                </a:ext>
              </a:extLst>
            </p:cNvPr>
            <p:cNvSpPr/>
            <p:nvPr/>
          </p:nvSpPr>
          <p:spPr>
            <a:xfrm>
              <a:off x="1914608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66886F-2246-3954-6D03-CF7C7B65C7F7}"/>
                </a:ext>
              </a:extLst>
            </p:cNvPr>
            <p:cNvSpPr/>
            <p:nvPr/>
          </p:nvSpPr>
          <p:spPr>
            <a:xfrm>
              <a:off x="-8365" y="6414220"/>
              <a:ext cx="197871" cy="191583"/>
            </a:xfrm>
            <a:custGeom>
              <a:avLst/>
              <a:gdLst>
                <a:gd name="connsiteX0" fmla="*/ 92589 w 197871"/>
                <a:gd name="connsiteY0" fmla="*/ 0 h 191583"/>
                <a:gd name="connsiteX1" fmla="*/ 197871 w 197871"/>
                <a:gd name="connsiteY1" fmla="*/ 0 h 191583"/>
                <a:gd name="connsiteX2" fmla="*/ 0 w 197871"/>
                <a:gd name="connsiteY2" fmla="*/ 191583 h 191583"/>
                <a:gd name="connsiteX3" fmla="*/ 0 w 197871"/>
                <a:gd name="connsiteY3" fmla="*/ 89647 h 191583"/>
                <a:gd name="connsiteX4" fmla="*/ 92589 w 197871"/>
                <a:gd name="connsiteY4" fmla="*/ 0 h 19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871" h="191583">
                  <a:moveTo>
                    <a:pt x="92589" y="0"/>
                  </a:moveTo>
                  <a:lnTo>
                    <a:pt x="197871" y="0"/>
                  </a:lnTo>
                  <a:lnTo>
                    <a:pt x="0" y="191583"/>
                  </a:lnTo>
                  <a:lnTo>
                    <a:pt x="0" y="89647"/>
                  </a:lnTo>
                  <a:lnTo>
                    <a:pt x="92589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2C39396C-5371-C1ED-5F2B-1989DBA0F65D}"/>
                </a:ext>
              </a:extLst>
            </p:cNvPr>
            <p:cNvSpPr/>
            <p:nvPr/>
          </p:nvSpPr>
          <p:spPr>
            <a:xfrm>
              <a:off x="-8365" y="6414219"/>
              <a:ext cx="415274" cy="339786"/>
            </a:xfrm>
            <a:custGeom>
              <a:avLst/>
              <a:gdLst>
                <a:gd name="connsiteX0" fmla="*/ 309844 w 415274"/>
                <a:gd name="connsiteY0" fmla="*/ 0 h 339786"/>
                <a:gd name="connsiteX1" fmla="*/ 415274 w 415274"/>
                <a:gd name="connsiteY1" fmla="*/ 0 h 339786"/>
                <a:gd name="connsiteX2" fmla="*/ 64335 w 415274"/>
                <a:gd name="connsiteY2" fmla="*/ 339786 h 339786"/>
                <a:gd name="connsiteX3" fmla="*/ 0 w 415274"/>
                <a:gd name="connsiteY3" fmla="*/ 339786 h 339786"/>
                <a:gd name="connsiteX4" fmla="*/ 0 w 415274"/>
                <a:gd name="connsiteY4" fmla="*/ 299997 h 339786"/>
                <a:gd name="connsiteX5" fmla="*/ 309844 w 415274"/>
                <a:gd name="connsiteY5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274" h="339786">
                  <a:moveTo>
                    <a:pt x="309844" y="0"/>
                  </a:moveTo>
                  <a:lnTo>
                    <a:pt x="415274" y="0"/>
                  </a:lnTo>
                  <a:lnTo>
                    <a:pt x="64335" y="339786"/>
                  </a:lnTo>
                  <a:lnTo>
                    <a:pt x="0" y="339786"/>
                  </a:lnTo>
                  <a:lnTo>
                    <a:pt x="0" y="299997"/>
                  </a:lnTo>
                  <a:lnTo>
                    <a:pt x="3098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8C7A0B03-377F-AD7B-841B-049EBAA374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7820" y="3108960"/>
            <a:ext cx="4389120" cy="365760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Tx/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 dirty="0"/>
              <a:t>Title</a:t>
            </a:r>
          </a:p>
        </p:txBody>
      </p:sp>
      <p:sp>
        <p:nvSpPr>
          <p:cNvPr id="88" name="Freeform 13">
            <a:extLst>
              <a:ext uri="{FF2B5EF4-FFF2-40B4-BE49-F238E27FC236}">
                <a16:creationId xmlns:a16="http://schemas.microsoft.com/office/drawing/2014/main" id="{640282A2-BB16-8BC3-4A46-D7175374FF4F}"/>
              </a:ext>
            </a:extLst>
          </p:cNvPr>
          <p:cNvSpPr/>
          <p:nvPr/>
        </p:nvSpPr>
        <p:spPr>
          <a:xfrm>
            <a:off x="862242" y="1606712"/>
            <a:ext cx="3578771" cy="4158351"/>
          </a:xfrm>
          <a:custGeom>
            <a:avLst/>
            <a:gdLst>
              <a:gd name="connsiteX0" fmla="*/ 0 w 2317531"/>
              <a:gd name="connsiteY0" fmla="*/ 0 h 4193627"/>
              <a:gd name="connsiteX1" fmla="*/ 1923393 w 2317531"/>
              <a:gd name="connsiteY1" fmla="*/ 0 h 4193627"/>
              <a:gd name="connsiteX2" fmla="*/ 2317531 w 2317531"/>
              <a:gd name="connsiteY2" fmla="*/ 394138 h 4193627"/>
              <a:gd name="connsiteX3" fmla="*/ 2317531 w 2317531"/>
              <a:gd name="connsiteY3" fmla="*/ 4193627 h 4193627"/>
              <a:gd name="connsiteX4" fmla="*/ 2104696 w 2317531"/>
              <a:gd name="connsiteY4" fmla="*/ 4193627 h 4193627"/>
              <a:gd name="connsiteX5" fmla="*/ 23648 w 2317531"/>
              <a:gd name="connsiteY5" fmla="*/ 4193627 h 4193627"/>
              <a:gd name="connsiteX0" fmla="*/ 0 w 2302286"/>
              <a:gd name="connsiteY0" fmla="*/ 0 h 4193627"/>
              <a:gd name="connsiteX1" fmla="*/ 1908148 w 2302286"/>
              <a:gd name="connsiteY1" fmla="*/ 0 h 4193627"/>
              <a:gd name="connsiteX2" fmla="*/ 2302286 w 2302286"/>
              <a:gd name="connsiteY2" fmla="*/ 394138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08148 w 2302286"/>
              <a:gd name="connsiteY1" fmla="*/ 0 h 4193627"/>
              <a:gd name="connsiteX2" fmla="*/ 2287871 w 2302286"/>
              <a:gd name="connsiteY2" fmla="*/ 352451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08148 w 2302286"/>
              <a:gd name="connsiteY1" fmla="*/ 0 h 4193627"/>
              <a:gd name="connsiteX2" fmla="*/ 2287872 w 2302286"/>
              <a:gd name="connsiteY2" fmla="*/ 366347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08148 w 2302286"/>
              <a:gd name="connsiteY1" fmla="*/ 0 h 4193627"/>
              <a:gd name="connsiteX2" fmla="*/ 2280605 w 2302286"/>
              <a:gd name="connsiteY2" fmla="*/ 352452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08148 w 2302286"/>
              <a:gd name="connsiteY1" fmla="*/ 0 h 4193627"/>
              <a:gd name="connsiteX2" fmla="*/ 2280606 w 2302286"/>
              <a:gd name="connsiteY2" fmla="*/ 359400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898743 w 2302286"/>
              <a:gd name="connsiteY1" fmla="*/ 2259 h 4193627"/>
              <a:gd name="connsiteX2" fmla="*/ 2280606 w 2302286"/>
              <a:gd name="connsiteY2" fmla="*/ 359400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898743 w 2302286"/>
              <a:gd name="connsiteY1" fmla="*/ 2259 h 4193627"/>
              <a:gd name="connsiteX2" fmla="*/ 2271202 w 2302286"/>
              <a:gd name="connsiteY2" fmla="*/ 366178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71202 w 2302286"/>
              <a:gd name="connsiteY2" fmla="*/ 366178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64230 w 2302286"/>
              <a:gd name="connsiteY2" fmla="*/ 498136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64230 w 2302286"/>
              <a:gd name="connsiteY2" fmla="*/ 498136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64230 w 2302286"/>
              <a:gd name="connsiteY2" fmla="*/ 498136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64230 w 2302286"/>
              <a:gd name="connsiteY2" fmla="*/ 498136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64230 w 2302286"/>
              <a:gd name="connsiteY2" fmla="*/ 498136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74687 w 2302286"/>
              <a:gd name="connsiteY2" fmla="*/ 503634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291829"/>
              <a:gd name="connsiteY0" fmla="*/ 0 h 4193627"/>
              <a:gd name="connsiteX1" fmla="*/ 1954513 w 2291829"/>
              <a:gd name="connsiteY1" fmla="*/ 7757 h 4193627"/>
              <a:gd name="connsiteX2" fmla="*/ 2274687 w 2291829"/>
              <a:gd name="connsiteY2" fmla="*/ 503634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954513 w 2291829"/>
              <a:gd name="connsiteY1" fmla="*/ 7757 h 4193627"/>
              <a:gd name="connsiteX2" fmla="*/ 2274687 w 2291829"/>
              <a:gd name="connsiteY2" fmla="*/ 503634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2003311 w 2291829"/>
              <a:gd name="connsiteY1" fmla="*/ 7757 h 4193627"/>
              <a:gd name="connsiteX2" fmla="*/ 2274687 w 2291829"/>
              <a:gd name="connsiteY2" fmla="*/ 503634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2003311 w 2291829"/>
              <a:gd name="connsiteY1" fmla="*/ 7757 h 4193627"/>
              <a:gd name="connsiteX2" fmla="*/ 2271201 w 2291829"/>
              <a:gd name="connsiteY2" fmla="*/ 410164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2003311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9997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9997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9997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9997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8888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8888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8888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68239 w 2291829"/>
              <a:gd name="connsiteY1" fmla="*/ 4796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38210 w 2291829"/>
              <a:gd name="connsiteY1" fmla="*/ 4796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38210 w 2291829"/>
              <a:gd name="connsiteY1" fmla="*/ 4796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38210 w 2291829"/>
              <a:gd name="connsiteY1" fmla="*/ 4796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49471 w 2291829"/>
              <a:gd name="connsiteY1" fmla="*/ 4796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7046 h 4200673"/>
              <a:gd name="connsiteX1" fmla="*/ 1856979 w 2291829"/>
              <a:gd name="connsiteY1" fmla="*/ 0 h 4200673"/>
              <a:gd name="connsiteX2" fmla="*/ 2271201 w 2291829"/>
              <a:gd name="connsiteY2" fmla="*/ 433705 h 4200673"/>
              <a:gd name="connsiteX3" fmla="*/ 2291829 w 2291829"/>
              <a:gd name="connsiteY3" fmla="*/ 4200673 h 4200673"/>
              <a:gd name="connsiteX4" fmla="*/ 2089451 w 2291829"/>
              <a:gd name="connsiteY4" fmla="*/ 4200673 h 4200673"/>
              <a:gd name="connsiteX5" fmla="*/ 8403 w 2291829"/>
              <a:gd name="connsiteY5" fmla="*/ 4200673 h 4200673"/>
              <a:gd name="connsiteX0" fmla="*/ 0 w 2291829"/>
              <a:gd name="connsiteY0" fmla="*/ 7046 h 4200673"/>
              <a:gd name="connsiteX1" fmla="*/ 1817330 w 2291829"/>
              <a:gd name="connsiteY1" fmla="*/ 0 h 4200673"/>
              <a:gd name="connsiteX2" fmla="*/ 2271201 w 2291829"/>
              <a:gd name="connsiteY2" fmla="*/ 433705 h 4200673"/>
              <a:gd name="connsiteX3" fmla="*/ 2291829 w 2291829"/>
              <a:gd name="connsiteY3" fmla="*/ 4200673 h 4200673"/>
              <a:gd name="connsiteX4" fmla="*/ 2089451 w 2291829"/>
              <a:gd name="connsiteY4" fmla="*/ 4200673 h 4200673"/>
              <a:gd name="connsiteX5" fmla="*/ 8403 w 2291829"/>
              <a:gd name="connsiteY5" fmla="*/ 4200673 h 4200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1829" h="4200673">
                <a:moveTo>
                  <a:pt x="0" y="7046"/>
                </a:moveTo>
                <a:lnTo>
                  <a:pt x="1817330" y="0"/>
                </a:lnTo>
                <a:cubicBezTo>
                  <a:pt x="2029353" y="204281"/>
                  <a:pt x="2134986" y="307481"/>
                  <a:pt x="2271201" y="433705"/>
                </a:cubicBezTo>
                <a:cubicBezTo>
                  <a:pt x="2272520" y="1747953"/>
                  <a:pt x="2287024" y="2924913"/>
                  <a:pt x="2291829" y="4200673"/>
                </a:cubicBezTo>
                <a:lnTo>
                  <a:pt x="2089451" y="4200673"/>
                </a:lnTo>
                <a:lnTo>
                  <a:pt x="8403" y="4200673"/>
                </a:lnTo>
              </a:path>
            </a:pathLst>
          </a:custGeom>
          <a:noFill/>
          <a:ln w="9525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en-US" dirty="0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F2B6AC2-3B92-DF16-433F-1EEF3C363AF9}"/>
              </a:ext>
            </a:extLst>
          </p:cNvPr>
          <p:cNvCxnSpPr>
            <a:cxnSpLocks/>
          </p:cNvCxnSpPr>
          <p:nvPr/>
        </p:nvCxnSpPr>
        <p:spPr>
          <a:xfrm>
            <a:off x="871134" y="5583073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B4ED5163-3D05-6B26-B0B1-BFAAF0856053}"/>
              </a:ext>
            </a:extLst>
          </p:cNvPr>
          <p:cNvGrpSpPr/>
          <p:nvPr userDrawn="1"/>
        </p:nvGrpSpPr>
        <p:grpSpPr>
          <a:xfrm>
            <a:off x="4484586" y="2072422"/>
            <a:ext cx="53143" cy="1085389"/>
            <a:chOff x="2780760" y="2009831"/>
            <a:chExt cx="53143" cy="1085389"/>
          </a:xfrm>
        </p:grpSpPr>
        <p:grpSp>
          <p:nvGrpSpPr>
            <p:cNvPr id="91" name="Graphic 42">
              <a:extLst>
                <a:ext uri="{FF2B5EF4-FFF2-40B4-BE49-F238E27FC236}">
                  <a16:creationId xmlns:a16="http://schemas.microsoft.com/office/drawing/2014/main" id="{D17532A5-3206-47D3-F3E4-FCF4FE6CF9C8}"/>
                </a:ext>
              </a:extLst>
            </p:cNvPr>
            <p:cNvGrpSpPr/>
            <p:nvPr userDrawn="1"/>
          </p:nvGrpSpPr>
          <p:grpSpPr>
            <a:xfrm rot="16200000" flipH="1" flipV="1">
              <a:off x="2482218" y="2310772"/>
              <a:ext cx="650227" cy="48346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100" name="Freeform: Shape 33">
                <a:extLst>
                  <a:ext uri="{FF2B5EF4-FFF2-40B4-BE49-F238E27FC236}">
                    <a16:creationId xmlns:a16="http://schemas.microsoft.com/office/drawing/2014/main" id="{B0B85386-4CF9-82B2-9421-B4ECD1D812A6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34">
                <a:extLst>
                  <a:ext uri="{FF2B5EF4-FFF2-40B4-BE49-F238E27FC236}">
                    <a16:creationId xmlns:a16="http://schemas.microsoft.com/office/drawing/2014/main" id="{47DE61EA-AF8E-D986-9608-48F4EF274738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35">
                <a:extLst>
                  <a:ext uri="{FF2B5EF4-FFF2-40B4-BE49-F238E27FC236}">
                    <a16:creationId xmlns:a16="http://schemas.microsoft.com/office/drawing/2014/main" id="{CC3A6614-99BD-E99A-F065-D1F519ACCF5F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36">
                <a:extLst>
                  <a:ext uri="{FF2B5EF4-FFF2-40B4-BE49-F238E27FC236}">
                    <a16:creationId xmlns:a16="http://schemas.microsoft.com/office/drawing/2014/main" id="{36815056-DF52-2214-262F-9997EF8BFDC6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37">
                <a:extLst>
                  <a:ext uri="{FF2B5EF4-FFF2-40B4-BE49-F238E27FC236}">
                    <a16:creationId xmlns:a16="http://schemas.microsoft.com/office/drawing/2014/main" id="{E340630B-643E-E52C-DA27-7C37C99BFE01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38">
                <a:extLst>
                  <a:ext uri="{FF2B5EF4-FFF2-40B4-BE49-F238E27FC236}">
                    <a16:creationId xmlns:a16="http://schemas.microsoft.com/office/drawing/2014/main" id="{31516868-6FB9-4FCC-085C-B90575C9472B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39">
                <a:extLst>
                  <a:ext uri="{FF2B5EF4-FFF2-40B4-BE49-F238E27FC236}">
                    <a16:creationId xmlns:a16="http://schemas.microsoft.com/office/drawing/2014/main" id="{696AEC6A-DC4D-0F8B-13ED-A93D801BB9D0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40">
                <a:extLst>
                  <a:ext uri="{FF2B5EF4-FFF2-40B4-BE49-F238E27FC236}">
                    <a16:creationId xmlns:a16="http://schemas.microsoft.com/office/drawing/2014/main" id="{9BCA8187-E2FE-5617-C695-F68D711F37B2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41">
                <a:extLst>
                  <a:ext uri="{FF2B5EF4-FFF2-40B4-BE49-F238E27FC236}">
                    <a16:creationId xmlns:a16="http://schemas.microsoft.com/office/drawing/2014/main" id="{F987C515-545D-29C9-E15C-7CEDC1795B3C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42">
                <a:extLst>
                  <a:ext uri="{FF2B5EF4-FFF2-40B4-BE49-F238E27FC236}">
                    <a16:creationId xmlns:a16="http://schemas.microsoft.com/office/drawing/2014/main" id="{ED76B489-991C-6F0A-6EF8-9B45BCC8B1F5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43">
                <a:extLst>
                  <a:ext uri="{FF2B5EF4-FFF2-40B4-BE49-F238E27FC236}">
                    <a16:creationId xmlns:a16="http://schemas.microsoft.com/office/drawing/2014/main" id="{1ECA4D2F-008E-4D75-F9DA-B9D9FADD1473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44">
                <a:extLst>
                  <a:ext uri="{FF2B5EF4-FFF2-40B4-BE49-F238E27FC236}">
                    <a16:creationId xmlns:a16="http://schemas.microsoft.com/office/drawing/2014/main" id="{1C54F8AD-3182-BEB9-1A10-BA165455ECFB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45">
                <a:extLst>
                  <a:ext uri="{FF2B5EF4-FFF2-40B4-BE49-F238E27FC236}">
                    <a16:creationId xmlns:a16="http://schemas.microsoft.com/office/drawing/2014/main" id="{7C60A748-189B-8F97-186F-77476230680D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46">
                <a:extLst>
                  <a:ext uri="{FF2B5EF4-FFF2-40B4-BE49-F238E27FC236}">
                    <a16:creationId xmlns:a16="http://schemas.microsoft.com/office/drawing/2014/main" id="{68348E86-AC87-7595-DB22-C091D2FD770C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47">
                <a:extLst>
                  <a:ext uri="{FF2B5EF4-FFF2-40B4-BE49-F238E27FC236}">
                    <a16:creationId xmlns:a16="http://schemas.microsoft.com/office/drawing/2014/main" id="{416A922F-B9E5-C09E-B82A-B805C7E71FBF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48">
                <a:extLst>
                  <a:ext uri="{FF2B5EF4-FFF2-40B4-BE49-F238E27FC236}">
                    <a16:creationId xmlns:a16="http://schemas.microsoft.com/office/drawing/2014/main" id="{913F67F1-B852-876C-1CFF-F76E708854DC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49">
                <a:extLst>
                  <a:ext uri="{FF2B5EF4-FFF2-40B4-BE49-F238E27FC236}">
                    <a16:creationId xmlns:a16="http://schemas.microsoft.com/office/drawing/2014/main" id="{3AB700D0-0B55-F1AA-E1C0-9C1672F0D420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7" name="Freeform: Shape 50">
                <a:extLst>
                  <a:ext uri="{FF2B5EF4-FFF2-40B4-BE49-F238E27FC236}">
                    <a16:creationId xmlns:a16="http://schemas.microsoft.com/office/drawing/2014/main" id="{C9F9DFC0-95C6-27F8-6318-F774E100866A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51">
                <a:extLst>
                  <a:ext uri="{FF2B5EF4-FFF2-40B4-BE49-F238E27FC236}">
                    <a16:creationId xmlns:a16="http://schemas.microsoft.com/office/drawing/2014/main" id="{A0B56C42-D96F-2D47-CFC1-B2C17714E28E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52">
                <a:extLst>
                  <a:ext uri="{FF2B5EF4-FFF2-40B4-BE49-F238E27FC236}">
                    <a16:creationId xmlns:a16="http://schemas.microsoft.com/office/drawing/2014/main" id="{F7CCBCCF-623F-517B-F607-9717BDFD9DE9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EE3DAEA9-4693-0240-9FFF-D6F1ACDE7A0E}"/>
                </a:ext>
              </a:extLst>
            </p:cNvPr>
            <p:cNvGrpSpPr/>
            <p:nvPr userDrawn="1"/>
          </p:nvGrpSpPr>
          <p:grpSpPr>
            <a:xfrm rot="10800000" flipV="1">
              <a:off x="2780760" y="2715971"/>
              <a:ext cx="53143" cy="379249"/>
              <a:chOff x="5390750" y="3681616"/>
              <a:chExt cx="73151" cy="522033"/>
            </a:xfrm>
          </p:grpSpPr>
          <p:sp>
            <p:nvSpPr>
              <p:cNvPr id="93" name="Freeform: Shape 26">
                <a:extLst>
                  <a:ext uri="{FF2B5EF4-FFF2-40B4-BE49-F238E27FC236}">
                    <a16:creationId xmlns:a16="http://schemas.microsoft.com/office/drawing/2014/main" id="{506AF8F5-9F8A-DDF2-7B0A-84AF69622978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27">
                <a:extLst>
                  <a:ext uri="{FF2B5EF4-FFF2-40B4-BE49-F238E27FC236}">
                    <a16:creationId xmlns:a16="http://schemas.microsoft.com/office/drawing/2014/main" id="{EA01BE0D-17F2-028B-1700-8766ED9B57A5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28">
                <a:extLst>
                  <a:ext uri="{FF2B5EF4-FFF2-40B4-BE49-F238E27FC236}">
                    <a16:creationId xmlns:a16="http://schemas.microsoft.com/office/drawing/2014/main" id="{CAF6ECA0-9F28-1EDC-4DC1-4D446AD661A2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29">
                <a:extLst>
                  <a:ext uri="{FF2B5EF4-FFF2-40B4-BE49-F238E27FC236}">
                    <a16:creationId xmlns:a16="http://schemas.microsoft.com/office/drawing/2014/main" id="{90CB1D3C-C184-5CDB-8938-9FA8A06BE57C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30">
                <a:extLst>
                  <a:ext uri="{FF2B5EF4-FFF2-40B4-BE49-F238E27FC236}">
                    <a16:creationId xmlns:a16="http://schemas.microsoft.com/office/drawing/2014/main" id="{56F9B5A9-7375-D5BA-5B92-F10065906C15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31">
                <a:extLst>
                  <a:ext uri="{FF2B5EF4-FFF2-40B4-BE49-F238E27FC236}">
                    <a16:creationId xmlns:a16="http://schemas.microsoft.com/office/drawing/2014/main" id="{4D85B59C-5D3F-D11B-24B6-C43908B4E0AE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32">
                <a:extLst>
                  <a:ext uri="{FF2B5EF4-FFF2-40B4-BE49-F238E27FC236}">
                    <a16:creationId xmlns:a16="http://schemas.microsoft.com/office/drawing/2014/main" id="{349E8265-C436-3C38-E109-AAD3D191AFF5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FFC28437-D28C-789A-C3FC-A6FE761726C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907820" y="4206240"/>
            <a:ext cx="3578770" cy="274320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Tx/>
              <a:buNone/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Company Name /  logo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5FE5F529-B26E-A435-3B04-0D95BA357B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21537" y="1629322"/>
            <a:ext cx="864114" cy="69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6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roup 157">
            <a:extLst>
              <a:ext uri="{FF2B5EF4-FFF2-40B4-BE49-F238E27FC236}">
                <a16:creationId xmlns:a16="http://schemas.microsoft.com/office/drawing/2014/main" id="{3C597A72-FD48-08AC-B78F-89A1EBA1D40D}"/>
              </a:ext>
            </a:extLst>
          </p:cNvPr>
          <p:cNvGrpSpPr/>
          <p:nvPr userDrawn="1"/>
        </p:nvGrpSpPr>
        <p:grpSpPr>
          <a:xfrm>
            <a:off x="9268630" y="2151971"/>
            <a:ext cx="53143" cy="1085389"/>
            <a:chOff x="2780760" y="2009831"/>
            <a:chExt cx="53143" cy="1085389"/>
          </a:xfrm>
        </p:grpSpPr>
        <p:grpSp>
          <p:nvGrpSpPr>
            <p:cNvPr id="159" name="Graphic 42">
              <a:extLst>
                <a:ext uri="{FF2B5EF4-FFF2-40B4-BE49-F238E27FC236}">
                  <a16:creationId xmlns:a16="http://schemas.microsoft.com/office/drawing/2014/main" id="{85376E6D-6B2F-CED2-1ABF-B78F265E9734}"/>
                </a:ext>
              </a:extLst>
            </p:cNvPr>
            <p:cNvGrpSpPr/>
            <p:nvPr userDrawn="1"/>
          </p:nvGrpSpPr>
          <p:grpSpPr>
            <a:xfrm rot="16200000" flipH="1" flipV="1">
              <a:off x="2482218" y="2310772"/>
              <a:ext cx="650227" cy="48346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168" name="Freeform: Shape 33">
                <a:extLst>
                  <a:ext uri="{FF2B5EF4-FFF2-40B4-BE49-F238E27FC236}">
                    <a16:creationId xmlns:a16="http://schemas.microsoft.com/office/drawing/2014/main" id="{895D99E3-192A-2C6A-6E60-2257DFFC1AA7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4">
                <a:extLst>
                  <a:ext uri="{FF2B5EF4-FFF2-40B4-BE49-F238E27FC236}">
                    <a16:creationId xmlns:a16="http://schemas.microsoft.com/office/drawing/2014/main" id="{64660769-1FDE-46A5-EAC2-61F3ECDE4BDE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5">
                <a:extLst>
                  <a:ext uri="{FF2B5EF4-FFF2-40B4-BE49-F238E27FC236}">
                    <a16:creationId xmlns:a16="http://schemas.microsoft.com/office/drawing/2014/main" id="{5086FB59-7AB9-2004-32B9-D198D2453417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36">
                <a:extLst>
                  <a:ext uri="{FF2B5EF4-FFF2-40B4-BE49-F238E27FC236}">
                    <a16:creationId xmlns:a16="http://schemas.microsoft.com/office/drawing/2014/main" id="{5992051C-D273-E645-6C1A-BD44D1E159EF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37">
                <a:extLst>
                  <a:ext uri="{FF2B5EF4-FFF2-40B4-BE49-F238E27FC236}">
                    <a16:creationId xmlns:a16="http://schemas.microsoft.com/office/drawing/2014/main" id="{19560546-3494-2D2C-16B6-521343A7A587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38">
                <a:extLst>
                  <a:ext uri="{FF2B5EF4-FFF2-40B4-BE49-F238E27FC236}">
                    <a16:creationId xmlns:a16="http://schemas.microsoft.com/office/drawing/2014/main" id="{456DF8BF-34F7-A50D-79FD-4006FCA133DB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39">
                <a:extLst>
                  <a:ext uri="{FF2B5EF4-FFF2-40B4-BE49-F238E27FC236}">
                    <a16:creationId xmlns:a16="http://schemas.microsoft.com/office/drawing/2014/main" id="{E0AFAD36-9985-C723-9931-10D17819D44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0">
                <a:extLst>
                  <a:ext uri="{FF2B5EF4-FFF2-40B4-BE49-F238E27FC236}">
                    <a16:creationId xmlns:a16="http://schemas.microsoft.com/office/drawing/2014/main" id="{B0BAA28A-08D2-3863-4EA3-A5550B95FDB2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1">
                <a:extLst>
                  <a:ext uri="{FF2B5EF4-FFF2-40B4-BE49-F238E27FC236}">
                    <a16:creationId xmlns:a16="http://schemas.microsoft.com/office/drawing/2014/main" id="{336621E2-A09F-777F-68DD-421CEB38406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2">
                <a:extLst>
                  <a:ext uri="{FF2B5EF4-FFF2-40B4-BE49-F238E27FC236}">
                    <a16:creationId xmlns:a16="http://schemas.microsoft.com/office/drawing/2014/main" id="{EA130766-8061-BAB8-AE82-233216AE5A52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3">
                <a:extLst>
                  <a:ext uri="{FF2B5EF4-FFF2-40B4-BE49-F238E27FC236}">
                    <a16:creationId xmlns:a16="http://schemas.microsoft.com/office/drawing/2014/main" id="{8DC5AEE3-83C6-B814-BDB3-701707A65973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4">
                <a:extLst>
                  <a:ext uri="{FF2B5EF4-FFF2-40B4-BE49-F238E27FC236}">
                    <a16:creationId xmlns:a16="http://schemas.microsoft.com/office/drawing/2014/main" id="{68492AEF-DA3C-D927-52EA-F708733C06C3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5">
                <a:extLst>
                  <a:ext uri="{FF2B5EF4-FFF2-40B4-BE49-F238E27FC236}">
                    <a16:creationId xmlns:a16="http://schemas.microsoft.com/office/drawing/2014/main" id="{C769ECFE-AA2E-D69F-36AC-90469967E124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46">
                <a:extLst>
                  <a:ext uri="{FF2B5EF4-FFF2-40B4-BE49-F238E27FC236}">
                    <a16:creationId xmlns:a16="http://schemas.microsoft.com/office/drawing/2014/main" id="{EE1FC910-6EF9-394E-746A-A5273E158D77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47">
                <a:extLst>
                  <a:ext uri="{FF2B5EF4-FFF2-40B4-BE49-F238E27FC236}">
                    <a16:creationId xmlns:a16="http://schemas.microsoft.com/office/drawing/2014/main" id="{ACF580BF-F716-0F80-0A44-0B93FA980FEB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48">
                <a:extLst>
                  <a:ext uri="{FF2B5EF4-FFF2-40B4-BE49-F238E27FC236}">
                    <a16:creationId xmlns:a16="http://schemas.microsoft.com/office/drawing/2014/main" id="{1EFE3163-5037-35FA-68F5-546096ED2A1E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49">
                <a:extLst>
                  <a:ext uri="{FF2B5EF4-FFF2-40B4-BE49-F238E27FC236}">
                    <a16:creationId xmlns:a16="http://schemas.microsoft.com/office/drawing/2014/main" id="{4574BA0F-9929-EAD5-4E03-F54803DAE7B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0">
                <a:extLst>
                  <a:ext uri="{FF2B5EF4-FFF2-40B4-BE49-F238E27FC236}">
                    <a16:creationId xmlns:a16="http://schemas.microsoft.com/office/drawing/2014/main" id="{588C1B01-59C0-951F-D27E-2D2788A54F57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1">
                <a:extLst>
                  <a:ext uri="{FF2B5EF4-FFF2-40B4-BE49-F238E27FC236}">
                    <a16:creationId xmlns:a16="http://schemas.microsoft.com/office/drawing/2014/main" id="{DCF3EC5A-866A-1323-F9BB-AE48285FAA39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2">
                <a:extLst>
                  <a:ext uri="{FF2B5EF4-FFF2-40B4-BE49-F238E27FC236}">
                    <a16:creationId xmlns:a16="http://schemas.microsoft.com/office/drawing/2014/main" id="{670246AD-8541-ACC1-2818-82650DCE3FA3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9364DEBF-23F4-B40F-BEF2-D8B5F6DBD28D}"/>
                </a:ext>
              </a:extLst>
            </p:cNvPr>
            <p:cNvGrpSpPr/>
            <p:nvPr userDrawn="1"/>
          </p:nvGrpSpPr>
          <p:grpSpPr>
            <a:xfrm rot="10800000" flipV="1">
              <a:off x="2780760" y="2715971"/>
              <a:ext cx="53143" cy="379249"/>
              <a:chOff x="5390750" y="3681616"/>
              <a:chExt cx="73151" cy="522033"/>
            </a:xfrm>
          </p:grpSpPr>
          <p:sp>
            <p:nvSpPr>
              <p:cNvPr id="161" name="Freeform: Shape 26">
                <a:extLst>
                  <a:ext uri="{FF2B5EF4-FFF2-40B4-BE49-F238E27FC236}">
                    <a16:creationId xmlns:a16="http://schemas.microsoft.com/office/drawing/2014/main" id="{B2F94241-5A17-29FC-962E-4679ECA0AD98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27">
                <a:extLst>
                  <a:ext uri="{FF2B5EF4-FFF2-40B4-BE49-F238E27FC236}">
                    <a16:creationId xmlns:a16="http://schemas.microsoft.com/office/drawing/2014/main" id="{A7C235C2-64EB-8F59-B58C-C8F8E7A1E533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28">
                <a:extLst>
                  <a:ext uri="{FF2B5EF4-FFF2-40B4-BE49-F238E27FC236}">
                    <a16:creationId xmlns:a16="http://schemas.microsoft.com/office/drawing/2014/main" id="{3D65E08A-6521-024A-E79F-00D688581217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29">
                <a:extLst>
                  <a:ext uri="{FF2B5EF4-FFF2-40B4-BE49-F238E27FC236}">
                    <a16:creationId xmlns:a16="http://schemas.microsoft.com/office/drawing/2014/main" id="{D833442D-6F4D-A1D3-F23D-01944896650E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0">
                <a:extLst>
                  <a:ext uri="{FF2B5EF4-FFF2-40B4-BE49-F238E27FC236}">
                    <a16:creationId xmlns:a16="http://schemas.microsoft.com/office/drawing/2014/main" id="{045DC58A-67F2-032D-8CE3-A0309A21F116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1">
                <a:extLst>
                  <a:ext uri="{FF2B5EF4-FFF2-40B4-BE49-F238E27FC236}">
                    <a16:creationId xmlns:a16="http://schemas.microsoft.com/office/drawing/2014/main" id="{C30B0795-359B-5B58-B7AA-C9CFAB39C69E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2">
                <a:extLst>
                  <a:ext uri="{FF2B5EF4-FFF2-40B4-BE49-F238E27FC236}">
                    <a16:creationId xmlns:a16="http://schemas.microsoft.com/office/drawing/2014/main" id="{6ADFBAE1-3BE2-D790-22EA-E013E06A9091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D36EE2AF-5EB0-48DB-9B53-50A007F7B378}"/>
              </a:ext>
            </a:extLst>
          </p:cNvPr>
          <p:cNvGrpSpPr/>
          <p:nvPr userDrawn="1"/>
        </p:nvGrpSpPr>
        <p:grpSpPr>
          <a:xfrm>
            <a:off x="6529064" y="1604554"/>
            <a:ext cx="2686939" cy="4158351"/>
            <a:chOff x="870155" y="1616872"/>
            <a:chExt cx="2686939" cy="4158351"/>
          </a:xfrm>
        </p:grpSpPr>
        <p:sp>
          <p:nvSpPr>
            <p:cNvPr id="190" name="Freeform 13">
              <a:extLst>
                <a:ext uri="{FF2B5EF4-FFF2-40B4-BE49-F238E27FC236}">
                  <a16:creationId xmlns:a16="http://schemas.microsoft.com/office/drawing/2014/main" id="{20095301-7279-2F1C-0649-128C729F70E4}"/>
                </a:ext>
              </a:extLst>
            </p:cNvPr>
            <p:cNvSpPr/>
            <p:nvPr userDrawn="1"/>
          </p:nvSpPr>
          <p:spPr>
            <a:xfrm>
              <a:off x="870155" y="1616872"/>
              <a:ext cx="2686939" cy="4158351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0704" h="4200673">
                  <a:moveTo>
                    <a:pt x="8816" y="8817"/>
                  </a:moveTo>
                  <a:lnTo>
                    <a:pt x="1246205" y="0"/>
                  </a:lnTo>
                  <a:cubicBezTo>
                    <a:pt x="1458228" y="204281"/>
                    <a:pt x="1563861" y="307481"/>
                    <a:pt x="1700076" y="433705"/>
                  </a:cubicBezTo>
                  <a:cubicBezTo>
                    <a:pt x="1701395" y="1747953"/>
                    <a:pt x="1715899" y="2924913"/>
                    <a:pt x="1720704" y="4200673"/>
                  </a:cubicBezTo>
                  <a:lnTo>
                    <a:pt x="1518326" y="4200673"/>
                  </a:lnTo>
                  <a:lnTo>
                    <a:pt x="0" y="4199431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473F8A69-41FD-9DCD-70DF-B1C8C8A2BE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1134" y="5585531"/>
              <a:ext cx="0" cy="181971"/>
            </a:xfrm>
            <a:prstGeom prst="line">
              <a:avLst/>
            </a:prstGeom>
            <a:ln w="9525" cap="sq">
              <a:solidFill>
                <a:schemeClr val="bg2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68014"/>
            <a:ext cx="10789920" cy="369332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90371" y="2819523"/>
            <a:ext cx="2560320" cy="276999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600"/>
              </a:spcBef>
              <a:buFontTx/>
              <a:buNone/>
              <a:defRPr sz="20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0C0782D-07C9-6C9A-899C-240F6B16CA2D}"/>
              </a:ext>
            </a:extLst>
          </p:cNvPr>
          <p:cNvSpPr/>
          <p:nvPr userDrawn="1"/>
        </p:nvSpPr>
        <p:spPr>
          <a:xfrm>
            <a:off x="0" y="1614433"/>
            <a:ext cx="511478" cy="41607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800"/>
              </a:spcBef>
              <a:buFontTx/>
              <a:buNone/>
            </a:pPr>
            <a:endParaRPr lang="es-PE" dirty="0">
              <a:solidFill>
                <a:schemeClr val="bg1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C781CAE9-246A-D5F3-2230-C3789E54D8FB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715225" y="6267123"/>
            <a:ext cx="2476774" cy="290423"/>
            <a:chOff x="-8365" y="6414219"/>
            <a:chExt cx="3024563" cy="354656"/>
          </a:xfrm>
          <a:gradFill>
            <a:gsLst>
              <a:gs pos="100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532100C-0D80-F191-9F98-2D5FF811A97F}"/>
                </a:ext>
              </a:extLst>
            </p:cNvPr>
            <p:cNvSpPr/>
            <p:nvPr/>
          </p:nvSpPr>
          <p:spPr>
            <a:xfrm>
              <a:off x="1254664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44A9CC0-3E51-FC78-278A-5B906F2005AE}"/>
                </a:ext>
              </a:extLst>
            </p:cNvPr>
            <p:cNvSpPr/>
            <p:nvPr/>
          </p:nvSpPr>
          <p:spPr>
            <a:xfrm>
              <a:off x="1037409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1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1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066D8AE-DC07-7BF3-E891-5B89628BA9C9}"/>
                </a:ext>
              </a:extLst>
            </p:cNvPr>
            <p:cNvSpPr/>
            <p:nvPr/>
          </p:nvSpPr>
          <p:spPr>
            <a:xfrm>
              <a:off x="820005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88A277B-5E74-EB8B-8881-3986B9272CC3}"/>
                </a:ext>
              </a:extLst>
            </p:cNvPr>
            <p:cNvSpPr/>
            <p:nvPr/>
          </p:nvSpPr>
          <p:spPr>
            <a:xfrm>
              <a:off x="602602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B3518B4-B832-4478-7E53-D177D7C37B30}"/>
                </a:ext>
              </a:extLst>
            </p:cNvPr>
            <p:cNvSpPr/>
            <p:nvPr/>
          </p:nvSpPr>
          <p:spPr>
            <a:xfrm>
              <a:off x="167943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242CC0B-0D04-4FA5-62F4-AC00C965B2E8}"/>
                </a:ext>
              </a:extLst>
            </p:cNvPr>
            <p:cNvSpPr/>
            <p:nvPr/>
          </p:nvSpPr>
          <p:spPr>
            <a:xfrm>
              <a:off x="385347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1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1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017FD557-D688-1519-F0F8-AE3A1101F5CB}"/>
                </a:ext>
              </a:extLst>
            </p:cNvPr>
            <p:cNvSpPr/>
            <p:nvPr/>
          </p:nvSpPr>
          <p:spPr>
            <a:xfrm>
              <a:off x="2566670" y="6414219"/>
              <a:ext cx="434658" cy="339786"/>
            </a:xfrm>
            <a:custGeom>
              <a:avLst/>
              <a:gdLst>
                <a:gd name="connsiteX0" fmla="*/ 434658 w 434658"/>
                <a:gd name="connsiteY0" fmla="*/ 0 h 339786"/>
                <a:gd name="connsiteX1" fmla="*/ 350939 w 434658"/>
                <a:gd name="connsiteY1" fmla="*/ 0 h 339786"/>
                <a:gd name="connsiteX2" fmla="*/ 0 w 434658"/>
                <a:gd name="connsiteY2" fmla="*/ 339786 h 339786"/>
                <a:gd name="connsiteX3" fmla="*/ 105281 w 434658"/>
                <a:gd name="connsiteY3" fmla="*/ 339786 h 339786"/>
                <a:gd name="connsiteX4" fmla="*/ 434658 w 434658"/>
                <a:gd name="connsiteY4" fmla="*/ 20967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658" h="339786">
                  <a:moveTo>
                    <a:pt x="434658" y="0"/>
                  </a:moveTo>
                  <a:lnTo>
                    <a:pt x="350939" y="0"/>
                  </a:lnTo>
                  <a:lnTo>
                    <a:pt x="0" y="339786"/>
                  </a:lnTo>
                  <a:lnTo>
                    <a:pt x="105281" y="339786"/>
                  </a:lnTo>
                  <a:lnTo>
                    <a:pt x="434658" y="20967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5C878B5-4C14-BF1C-8300-270CBC50C5A0}"/>
                </a:ext>
              </a:extLst>
            </p:cNvPr>
            <p:cNvSpPr/>
            <p:nvPr/>
          </p:nvSpPr>
          <p:spPr>
            <a:xfrm>
              <a:off x="1472068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F3F73933-A44F-0423-BA7C-EEF42F9895A7}"/>
                </a:ext>
              </a:extLst>
            </p:cNvPr>
            <p:cNvSpPr/>
            <p:nvPr/>
          </p:nvSpPr>
          <p:spPr>
            <a:xfrm>
              <a:off x="2349266" y="6414219"/>
              <a:ext cx="456368" cy="339786"/>
            </a:xfrm>
            <a:custGeom>
              <a:avLst/>
              <a:gdLst>
                <a:gd name="connsiteX0" fmla="*/ 350939 w 456368"/>
                <a:gd name="connsiteY0" fmla="*/ 0 h 339786"/>
                <a:gd name="connsiteX1" fmla="*/ 0 w 456368"/>
                <a:gd name="connsiteY1" fmla="*/ 339786 h 339786"/>
                <a:gd name="connsiteX2" fmla="*/ 105430 w 456368"/>
                <a:gd name="connsiteY2" fmla="*/ 339786 h 339786"/>
                <a:gd name="connsiteX3" fmla="*/ 456369 w 456368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8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669C3DC-4FDD-B99A-34FF-F8C59CCFE6B5}"/>
                </a:ext>
              </a:extLst>
            </p:cNvPr>
            <p:cNvSpPr/>
            <p:nvPr/>
          </p:nvSpPr>
          <p:spPr>
            <a:xfrm>
              <a:off x="3001328" y="6754005"/>
              <a:ext cx="14870" cy="14870"/>
            </a:xfrm>
            <a:custGeom>
              <a:avLst/>
              <a:gdLst>
                <a:gd name="connsiteX0" fmla="*/ 0 w 14870"/>
                <a:gd name="connsiteY0" fmla="*/ 0 h 14870"/>
                <a:gd name="connsiteX1" fmla="*/ 0 w 14870"/>
                <a:gd name="connsiteY1" fmla="*/ 0 h 14870"/>
                <a:gd name="connsiteX2" fmla="*/ 0 w 14870"/>
                <a:gd name="connsiteY2" fmla="*/ 0 h 1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70" h="1487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D12A713-86A1-E10F-4CCE-1BFC3A1791CD}"/>
                </a:ext>
              </a:extLst>
            </p:cNvPr>
            <p:cNvSpPr/>
            <p:nvPr/>
          </p:nvSpPr>
          <p:spPr>
            <a:xfrm>
              <a:off x="2783925" y="6543590"/>
              <a:ext cx="217403" cy="210414"/>
            </a:xfrm>
            <a:custGeom>
              <a:avLst/>
              <a:gdLst>
                <a:gd name="connsiteX0" fmla="*/ 217404 w 217403"/>
                <a:gd name="connsiteY0" fmla="*/ 0 h 210414"/>
                <a:gd name="connsiteX1" fmla="*/ 0 w 217403"/>
                <a:gd name="connsiteY1" fmla="*/ 210415 h 210414"/>
                <a:gd name="connsiteX2" fmla="*/ 105430 w 217403"/>
                <a:gd name="connsiteY2" fmla="*/ 210415 h 210414"/>
                <a:gd name="connsiteX3" fmla="*/ 217404 w 217403"/>
                <a:gd name="connsiteY3" fmla="*/ 102010 h 210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403" h="210414">
                  <a:moveTo>
                    <a:pt x="217404" y="0"/>
                  </a:moveTo>
                  <a:lnTo>
                    <a:pt x="0" y="210415"/>
                  </a:lnTo>
                  <a:lnTo>
                    <a:pt x="105430" y="210415"/>
                  </a:lnTo>
                  <a:lnTo>
                    <a:pt x="217404" y="10201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BD21ABB-76FB-F938-E849-305D6DE8EA44}"/>
                </a:ext>
              </a:extLst>
            </p:cNvPr>
            <p:cNvSpPr/>
            <p:nvPr/>
          </p:nvSpPr>
          <p:spPr>
            <a:xfrm>
              <a:off x="1689471" y="6414219"/>
              <a:ext cx="464101" cy="339786"/>
            </a:xfrm>
            <a:custGeom>
              <a:avLst/>
              <a:gdLst>
                <a:gd name="connsiteX0" fmla="*/ 350939 w 464101"/>
                <a:gd name="connsiteY0" fmla="*/ 0 h 339786"/>
                <a:gd name="connsiteX1" fmla="*/ 0 w 464101"/>
                <a:gd name="connsiteY1" fmla="*/ 339786 h 339786"/>
                <a:gd name="connsiteX2" fmla="*/ 113163 w 464101"/>
                <a:gd name="connsiteY2" fmla="*/ 339786 h 339786"/>
                <a:gd name="connsiteX3" fmla="*/ 464102 w 464101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101" h="339786">
                  <a:moveTo>
                    <a:pt x="350939" y="0"/>
                  </a:moveTo>
                  <a:lnTo>
                    <a:pt x="0" y="339786"/>
                  </a:lnTo>
                  <a:lnTo>
                    <a:pt x="113163" y="339786"/>
                  </a:lnTo>
                  <a:lnTo>
                    <a:pt x="464102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1ABE2CD-D4A5-4632-98C8-8BF8ACCBE5E8}"/>
                </a:ext>
              </a:extLst>
            </p:cNvPr>
            <p:cNvSpPr/>
            <p:nvPr/>
          </p:nvSpPr>
          <p:spPr>
            <a:xfrm>
              <a:off x="2131863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D63E44C-F0B1-312E-583F-8A1042C53A13}"/>
                </a:ext>
              </a:extLst>
            </p:cNvPr>
            <p:cNvSpPr/>
            <p:nvPr/>
          </p:nvSpPr>
          <p:spPr>
            <a:xfrm>
              <a:off x="1914608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66886F-2246-3954-6D03-CF7C7B65C7F7}"/>
                </a:ext>
              </a:extLst>
            </p:cNvPr>
            <p:cNvSpPr/>
            <p:nvPr/>
          </p:nvSpPr>
          <p:spPr>
            <a:xfrm>
              <a:off x="-8365" y="6414220"/>
              <a:ext cx="197871" cy="191583"/>
            </a:xfrm>
            <a:custGeom>
              <a:avLst/>
              <a:gdLst>
                <a:gd name="connsiteX0" fmla="*/ 92589 w 197871"/>
                <a:gd name="connsiteY0" fmla="*/ 0 h 191583"/>
                <a:gd name="connsiteX1" fmla="*/ 197871 w 197871"/>
                <a:gd name="connsiteY1" fmla="*/ 0 h 191583"/>
                <a:gd name="connsiteX2" fmla="*/ 0 w 197871"/>
                <a:gd name="connsiteY2" fmla="*/ 191583 h 191583"/>
                <a:gd name="connsiteX3" fmla="*/ 0 w 197871"/>
                <a:gd name="connsiteY3" fmla="*/ 89647 h 191583"/>
                <a:gd name="connsiteX4" fmla="*/ 92589 w 197871"/>
                <a:gd name="connsiteY4" fmla="*/ 0 h 19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871" h="191583">
                  <a:moveTo>
                    <a:pt x="92589" y="0"/>
                  </a:moveTo>
                  <a:lnTo>
                    <a:pt x="197871" y="0"/>
                  </a:lnTo>
                  <a:lnTo>
                    <a:pt x="0" y="191583"/>
                  </a:lnTo>
                  <a:lnTo>
                    <a:pt x="0" y="89647"/>
                  </a:lnTo>
                  <a:lnTo>
                    <a:pt x="92589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2C39396C-5371-C1ED-5F2B-1989DBA0F65D}"/>
                </a:ext>
              </a:extLst>
            </p:cNvPr>
            <p:cNvSpPr/>
            <p:nvPr/>
          </p:nvSpPr>
          <p:spPr>
            <a:xfrm>
              <a:off x="-8365" y="6414219"/>
              <a:ext cx="415274" cy="339786"/>
            </a:xfrm>
            <a:custGeom>
              <a:avLst/>
              <a:gdLst>
                <a:gd name="connsiteX0" fmla="*/ 309844 w 415274"/>
                <a:gd name="connsiteY0" fmla="*/ 0 h 339786"/>
                <a:gd name="connsiteX1" fmla="*/ 415274 w 415274"/>
                <a:gd name="connsiteY1" fmla="*/ 0 h 339786"/>
                <a:gd name="connsiteX2" fmla="*/ 64335 w 415274"/>
                <a:gd name="connsiteY2" fmla="*/ 339786 h 339786"/>
                <a:gd name="connsiteX3" fmla="*/ 0 w 415274"/>
                <a:gd name="connsiteY3" fmla="*/ 339786 h 339786"/>
                <a:gd name="connsiteX4" fmla="*/ 0 w 415274"/>
                <a:gd name="connsiteY4" fmla="*/ 299997 h 339786"/>
                <a:gd name="connsiteX5" fmla="*/ 309844 w 415274"/>
                <a:gd name="connsiteY5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274" h="339786">
                  <a:moveTo>
                    <a:pt x="309844" y="0"/>
                  </a:moveTo>
                  <a:lnTo>
                    <a:pt x="415274" y="0"/>
                  </a:lnTo>
                  <a:lnTo>
                    <a:pt x="64335" y="339786"/>
                  </a:lnTo>
                  <a:lnTo>
                    <a:pt x="0" y="339786"/>
                  </a:lnTo>
                  <a:lnTo>
                    <a:pt x="0" y="299997"/>
                  </a:lnTo>
                  <a:lnTo>
                    <a:pt x="3098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FFC28437-D28C-789A-C3FC-A6FE761726C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790371" y="4282562"/>
            <a:ext cx="2560320" cy="274320"/>
          </a:xfrm>
        </p:spPr>
        <p:txBody>
          <a:bodyPr vert="horz" lIns="0" tIns="0" rIns="0" bIns="0" rtlCol="0">
            <a:noAutofit/>
          </a:bodyPr>
          <a:lstStyle>
            <a:lvl1pPr marL="342900" indent="-342900" algn="l">
              <a:buFontTx/>
              <a:buNone/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Company Name / log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17EB6B-AEC5-886D-77C5-7F250FACE5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73124" y="2819523"/>
            <a:ext cx="2560320" cy="276999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600"/>
              </a:spcBef>
              <a:buFontTx/>
              <a:buNone/>
              <a:defRPr sz="20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7" name="Text Placeholder 85">
            <a:extLst>
              <a:ext uri="{FF2B5EF4-FFF2-40B4-BE49-F238E27FC236}">
                <a16:creationId xmlns:a16="http://schemas.microsoft.com/office/drawing/2014/main" id="{8D5B8CB7-AE78-FC23-54E6-71198BA7C4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73124" y="3233233"/>
            <a:ext cx="2560320" cy="457200"/>
          </a:xfrm>
        </p:spPr>
        <p:txBody>
          <a:bodyPr vert="horz" lIns="0" tIns="0" rIns="0" bIns="0" rtlCol="0">
            <a:noAutofit/>
          </a:bodyPr>
          <a:lstStyle>
            <a:lvl1pPr marL="342900" indent="-342900" algn="l">
              <a:buFontTx/>
              <a:buNone/>
              <a:defRPr lang="en-US" sz="1800" dirty="0"/>
            </a:lvl1pPr>
          </a:lstStyle>
          <a:p>
            <a:pPr marL="0" lvl="0" indent="0">
              <a:buNone/>
            </a:pPr>
            <a:r>
              <a:rPr lang="en-US" dirty="0"/>
              <a:t>Title</a:t>
            </a:r>
          </a:p>
        </p:txBody>
      </p:sp>
      <p:sp>
        <p:nvSpPr>
          <p:cNvPr id="42" name="Text Placeholder 121">
            <a:extLst>
              <a:ext uri="{FF2B5EF4-FFF2-40B4-BE49-F238E27FC236}">
                <a16:creationId xmlns:a16="http://schemas.microsoft.com/office/drawing/2014/main" id="{982DEC5A-87F3-D183-1BC9-D87A783B99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3124" y="4282562"/>
            <a:ext cx="2560320" cy="274320"/>
          </a:xfrm>
        </p:spPr>
        <p:txBody>
          <a:bodyPr vert="horz" lIns="0" tIns="0" rIns="0" bIns="0" rtlCol="0">
            <a:noAutofit/>
          </a:bodyPr>
          <a:lstStyle>
            <a:lvl1pPr marL="342900" indent="-342900" algn="l">
              <a:buFontTx/>
              <a:buNone/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Company Name / logo</a:t>
            </a:r>
          </a:p>
        </p:txBody>
      </p:sp>
      <p:sp>
        <p:nvSpPr>
          <p:cNvPr id="134" name="Text Placeholder 133">
            <a:extLst>
              <a:ext uri="{FF2B5EF4-FFF2-40B4-BE49-F238E27FC236}">
                <a16:creationId xmlns:a16="http://schemas.microsoft.com/office/drawing/2014/main" id="{26BC94F3-AB96-959E-378F-8050EABF35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90371" y="3233233"/>
            <a:ext cx="2560320" cy="457200"/>
          </a:xfrm>
        </p:spPr>
        <p:txBody>
          <a:bodyPr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en-US" dirty="0"/>
              <a:t>Title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1E0A0573-DDC9-BA18-43EC-2DC4D041D31D}"/>
              </a:ext>
            </a:extLst>
          </p:cNvPr>
          <p:cNvGrpSpPr/>
          <p:nvPr userDrawn="1"/>
        </p:nvGrpSpPr>
        <p:grpSpPr>
          <a:xfrm>
            <a:off x="3609721" y="2151971"/>
            <a:ext cx="53143" cy="1085389"/>
            <a:chOff x="2780760" y="2009831"/>
            <a:chExt cx="53143" cy="1085389"/>
          </a:xfrm>
        </p:grpSpPr>
        <p:grpSp>
          <p:nvGrpSpPr>
            <p:cNvPr id="89" name="Graphic 42">
              <a:extLst>
                <a:ext uri="{FF2B5EF4-FFF2-40B4-BE49-F238E27FC236}">
                  <a16:creationId xmlns:a16="http://schemas.microsoft.com/office/drawing/2014/main" id="{0814C561-B980-5321-F8B1-DC959A00C8AB}"/>
                </a:ext>
              </a:extLst>
            </p:cNvPr>
            <p:cNvGrpSpPr/>
            <p:nvPr userDrawn="1"/>
          </p:nvGrpSpPr>
          <p:grpSpPr>
            <a:xfrm rot="16200000" flipH="1" flipV="1">
              <a:off x="2482218" y="2310772"/>
              <a:ext cx="650227" cy="48346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98" name="Freeform: Shape 33">
                <a:extLst>
                  <a:ext uri="{FF2B5EF4-FFF2-40B4-BE49-F238E27FC236}">
                    <a16:creationId xmlns:a16="http://schemas.microsoft.com/office/drawing/2014/main" id="{897CB401-CA5C-A404-6CFC-8DE3CD2534C6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34">
                <a:extLst>
                  <a:ext uri="{FF2B5EF4-FFF2-40B4-BE49-F238E27FC236}">
                    <a16:creationId xmlns:a16="http://schemas.microsoft.com/office/drawing/2014/main" id="{BCDA2D36-711C-9385-3A59-92C4AE00169C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35">
                <a:extLst>
                  <a:ext uri="{FF2B5EF4-FFF2-40B4-BE49-F238E27FC236}">
                    <a16:creationId xmlns:a16="http://schemas.microsoft.com/office/drawing/2014/main" id="{4614E3A4-184F-9610-7E82-430C924C7F05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36">
                <a:extLst>
                  <a:ext uri="{FF2B5EF4-FFF2-40B4-BE49-F238E27FC236}">
                    <a16:creationId xmlns:a16="http://schemas.microsoft.com/office/drawing/2014/main" id="{DDCD6A0F-743E-7A35-926C-EBD088887FA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37">
                <a:extLst>
                  <a:ext uri="{FF2B5EF4-FFF2-40B4-BE49-F238E27FC236}">
                    <a16:creationId xmlns:a16="http://schemas.microsoft.com/office/drawing/2014/main" id="{34EDA46B-D44B-0170-E7CC-E938CC9F14E7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38">
                <a:extLst>
                  <a:ext uri="{FF2B5EF4-FFF2-40B4-BE49-F238E27FC236}">
                    <a16:creationId xmlns:a16="http://schemas.microsoft.com/office/drawing/2014/main" id="{DCBC6FBB-2BF3-AD01-3F8E-4CDD362E7C1A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39">
                <a:extLst>
                  <a:ext uri="{FF2B5EF4-FFF2-40B4-BE49-F238E27FC236}">
                    <a16:creationId xmlns:a16="http://schemas.microsoft.com/office/drawing/2014/main" id="{9DBB5DD7-42E1-EF6F-A91B-2D1DAE87E66D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40">
                <a:extLst>
                  <a:ext uri="{FF2B5EF4-FFF2-40B4-BE49-F238E27FC236}">
                    <a16:creationId xmlns:a16="http://schemas.microsoft.com/office/drawing/2014/main" id="{D5908E12-FBA6-CF71-1B36-F499BDB1EF08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41">
                <a:extLst>
                  <a:ext uri="{FF2B5EF4-FFF2-40B4-BE49-F238E27FC236}">
                    <a16:creationId xmlns:a16="http://schemas.microsoft.com/office/drawing/2014/main" id="{5D82BE92-AD17-2389-3C22-B9F914203700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42">
                <a:extLst>
                  <a:ext uri="{FF2B5EF4-FFF2-40B4-BE49-F238E27FC236}">
                    <a16:creationId xmlns:a16="http://schemas.microsoft.com/office/drawing/2014/main" id="{8D967CB5-011F-67E0-4F35-E5020D57B221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43">
                <a:extLst>
                  <a:ext uri="{FF2B5EF4-FFF2-40B4-BE49-F238E27FC236}">
                    <a16:creationId xmlns:a16="http://schemas.microsoft.com/office/drawing/2014/main" id="{FD2C53EF-EC3D-6711-9822-71EFA3432D0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44">
                <a:extLst>
                  <a:ext uri="{FF2B5EF4-FFF2-40B4-BE49-F238E27FC236}">
                    <a16:creationId xmlns:a16="http://schemas.microsoft.com/office/drawing/2014/main" id="{2A477F67-E84E-4E70-3644-0F761CF76167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45">
                <a:extLst>
                  <a:ext uri="{FF2B5EF4-FFF2-40B4-BE49-F238E27FC236}">
                    <a16:creationId xmlns:a16="http://schemas.microsoft.com/office/drawing/2014/main" id="{1E4D49D8-A120-46DE-6B91-0E6E1BE5843F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46">
                <a:extLst>
                  <a:ext uri="{FF2B5EF4-FFF2-40B4-BE49-F238E27FC236}">
                    <a16:creationId xmlns:a16="http://schemas.microsoft.com/office/drawing/2014/main" id="{954A8D96-4640-0600-35DD-811CD60B8F56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47">
                <a:extLst>
                  <a:ext uri="{FF2B5EF4-FFF2-40B4-BE49-F238E27FC236}">
                    <a16:creationId xmlns:a16="http://schemas.microsoft.com/office/drawing/2014/main" id="{B3B35627-31CE-E23E-B15C-7AFB0A02DDAA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48">
                <a:extLst>
                  <a:ext uri="{FF2B5EF4-FFF2-40B4-BE49-F238E27FC236}">
                    <a16:creationId xmlns:a16="http://schemas.microsoft.com/office/drawing/2014/main" id="{05FD8159-B48F-9206-B611-EE71C973ED96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49">
                <a:extLst>
                  <a:ext uri="{FF2B5EF4-FFF2-40B4-BE49-F238E27FC236}">
                    <a16:creationId xmlns:a16="http://schemas.microsoft.com/office/drawing/2014/main" id="{AB81FA09-5A52-F5ED-CF17-664838636596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50">
                <a:extLst>
                  <a:ext uri="{FF2B5EF4-FFF2-40B4-BE49-F238E27FC236}">
                    <a16:creationId xmlns:a16="http://schemas.microsoft.com/office/drawing/2014/main" id="{4CC626D7-C1E2-66FB-1FF4-E42671B24E12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51">
                <a:extLst>
                  <a:ext uri="{FF2B5EF4-FFF2-40B4-BE49-F238E27FC236}">
                    <a16:creationId xmlns:a16="http://schemas.microsoft.com/office/drawing/2014/main" id="{F6AFD732-FEA2-4177-0BB0-049C520BA52A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7" name="Freeform: Shape 52">
                <a:extLst>
                  <a:ext uri="{FF2B5EF4-FFF2-40B4-BE49-F238E27FC236}">
                    <a16:creationId xmlns:a16="http://schemas.microsoft.com/office/drawing/2014/main" id="{05A241EF-181E-031F-76A3-0C46C9211482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5F699AF9-5ED2-DE56-0D8E-1DB32516086C}"/>
                </a:ext>
              </a:extLst>
            </p:cNvPr>
            <p:cNvGrpSpPr/>
            <p:nvPr userDrawn="1"/>
          </p:nvGrpSpPr>
          <p:grpSpPr>
            <a:xfrm rot="10800000" flipV="1">
              <a:off x="2780760" y="2715971"/>
              <a:ext cx="53143" cy="379249"/>
              <a:chOff x="5390750" y="3681616"/>
              <a:chExt cx="73151" cy="522033"/>
            </a:xfrm>
          </p:grpSpPr>
          <p:sp>
            <p:nvSpPr>
              <p:cNvPr id="91" name="Freeform: Shape 26">
                <a:extLst>
                  <a:ext uri="{FF2B5EF4-FFF2-40B4-BE49-F238E27FC236}">
                    <a16:creationId xmlns:a16="http://schemas.microsoft.com/office/drawing/2014/main" id="{500B83B9-7108-22CC-FF73-3885AFF2500F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27">
                <a:extLst>
                  <a:ext uri="{FF2B5EF4-FFF2-40B4-BE49-F238E27FC236}">
                    <a16:creationId xmlns:a16="http://schemas.microsoft.com/office/drawing/2014/main" id="{9AE02ABE-3512-DCFE-A4C8-D1FC7E53AA71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28">
                <a:extLst>
                  <a:ext uri="{FF2B5EF4-FFF2-40B4-BE49-F238E27FC236}">
                    <a16:creationId xmlns:a16="http://schemas.microsoft.com/office/drawing/2014/main" id="{ABBFB1B3-6D53-E948-ED01-1B7ADA372109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29">
                <a:extLst>
                  <a:ext uri="{FF2B5EF4-FFF2-40B4-BE49-F238E27FC236}">
                    <a16:creationId xmlns:a16="http://schemas.microsoft.com/office/drawing/2014/main" id="{8819CF10-D940-01DE-5E09-06224D6675DF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30">
                <a:extLst>
                  <a:ext uri="{FF2B5EF4-FFF2-40B4-BE49-F238E27FC236}">
                    <a16:creationId xmlns:a16="http://schemas.microsoft.com/office/drawing/2014/main" id="{2AB11BE5-7791-61F5-2D95-C7E99CDDF943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31">
                <a:extLst>
                  <a:ext uri="{FF2B5EF4-FFF2-40B4-BE49-F238E27FC236}">
                    <a16:creationId xmlns:a16="http://schemas.microsoft.com/office/drawing/2014/main" id="{BFC17C7D-CAEA-CC88-5930-B2D426DBAF3F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32">
                <a:extLst>
                  <a:ext uri="{FF2B5EF4-FFF2-40B4-BE49-F238E27FC236}">
                    <a16:creationId xmlns:a16="http://schemas.microsoft.com/office/drawing/2014/main" id="{F72AF9E5-5F6A-75D7-2FCC-8B846948BDA8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55" name="Graphic 54">
            <a:extLst>
              <a:ext uri="{FF2B5EF4-FFF2-40B4-BE49-F238E27FC236}">
                <a16:creationId xmlns:a16="http://schemas.microsoft.com/office/drawing/2014/main" id="{5352FA80-1A02-A3E3-4419-D785AEE01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72" y="1623848"/>
            <a:ext cx="457096" cy="369333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32D0A4E1-0ADB-0218-7820-7BDD6D6C0C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48334" y="1623848"/>
            <a:ext cx="457096" cy="369333"/>
          </a:xfrm>
          <a:prstGeom prst="rect">
            <a:avLst/>
          </a:prstGeom>
        </p:spPr>
      </p:pic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B6768A96-3683-5AC4-8556-B0483323A935}"/>
              </a:ext>
            </a:extLst>
          </p:cNvPr>
          <p:cNvSpPr>
            <a:spLocks noGrp="1"/>
          </p:cNvSpPr>
          <p:nvPr>
            <p:ph type="pic" idx="25" hasCustomPrompt="1"/>
          </p:nvPr>
        </p:nvSpPr>
        <p:spPr>
          <a:xfrm>
            <a:off x="875135" y="1705391"/>
            <a:ext cx="2528028" cy="2925472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92731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512203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38305 w 2559369"/>
              <a:gd name="connsiteY2" fmla="*/ 522452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40212"/>
              <a:gd name="connsiteY0" fmla="*/ 7257 h 3738009"/>
              <a:gd name="connsiteX1" fmla="*/ 1903039 w 2540212"/>
              <a:gd name="connsiteY1" fmla="*/ 0 h 3738009"/>
              <a:gd name="connsiteX2" fmla="*/ 2538305 w 2540212"/>
              <a:gd name="connsiteY2" fmla="*/ 522452 h 3738009"/>
              <a:gd name="connsiteX3" fmla="*/ 2540212 w 2540212"/>
              <a:gd name="connsiteY3" fmla="*/ 3738009 h 3738009"/>
              <a:gd name="connsiteX4" fmla="*/ 0 w 2540212"/>
              <a:gd name="connsiteY4" fmla="*/ 3738009 h 3738009"/>
              <a:gd name="connsiteX5" fmla="*/ 0 w 2540212"/>
              <a:gd name="connsiteY5" fmla="*/ 7257 h 3738009"/>
              <a:gd name="connsiteX0" fmla="*/ 0 w 2542221"/>
              <a:gd name="connsiteY0" fmla="*/ 7257 h 3738009"/>
              <a:gd name="connsiteX1" fmla="*/ 1903039 w 2542221"/>
              <a:gd name="connsiteY1" fmla="*/ 0 h 3738009"/>
              <a:gd name="connsiteX2" fmla="*/ 2542137 w 2542221"/>
              <a:gd name="connsiteY2" fmla="*/ 507848 h 3738009"/>
              <a:gd name="connsiteX3" fmla="*/ 2540212 w 2542221"/>
              <a:gd name="connsiteY3" fmla="*/ 3738009 h 3738009"/>
              <a:gd name="connsiteX4" fmla="*/ 0 w 2542221"/>
              <a:gd name="connsiteY4" fmla="*/ 3738009 h 3738009"/>
              <a:gd name="connsiteX5" fmla="*/ 0 w 2542221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2221" h="3738009">
                <a:moveTo>
                  <a:pt x="0" y="7257"/>
                </a:moveTo>
                <a:lnTo>
                  <a:pt x="1903039" y="0"/>
                </a:lnTo>
                <a:lnTo>
                  <a:pt x="2542137" y="507848"/>
                </a:lnTo>
                <a:cubicBezTo>
                  <a:pt x="2542773" y="1579700"/>
                  <a:pt x="2539576" y="2666157"/>
                  <a:pt x="2540212" y="3738009"/>
                </a:cubicBez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561912C4-C037-30AE-B710-B859E6E2005E}"/>
              </a:ext>
            </a:extLst>
          </p:cNvPr>
          <p:cNvGrpSpPr/>
          <p:nvPr userDrawn="1"/>
        </p:nvGrpSpPr>
        <p:grpSpPr>
          <a:xfrm>
            <a:off x="863228" y="1604554"/>
            <a:ext cx="2686939" cy="4160509"/>
            <a:chOff x="870155" y="1614714"/>
            <a:chExt cx="2686939" cy="4160509"/>
          </a:xfrm>
        </p:grpSpPr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B7D856F9-1ADC-C610-D95E-F4EC5FC6F65B}"/>
                </a:ext>
              </a:extLst>
            </p:cNvPr>
            <p:cNvSpPr/>
            <p:nvPr userDrawn="1"/>
          </p:nvSpPr>
          <p:spPr>
            <a:xfrm>
              <a:off x="870155" y="1614714"/>
              <a:ext cx="2686939" cy="4160509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0704" h="4202853">
                  <a:moveTo>
                    <a:pt x="102" y="0"/>
                  </a:moveTo>
                  <a:lnTo>
                    <a:pt x="1246205" y="2180"/>
                  </a:lnTo>
                  <a:cubicBezTo>
                    <a:pt x="1458228" y="206461"/>
                    <a:pt x="1563861" y="309661"/>
                    <a:pt x="1700076" y="435885"/>
                  </a:cubicBezTo>
                  <a:cubicBezTo>
                    <a:pt x="1701395" y="1750133"/>
                    <a:pt x="1715899" y="2927093"/>
                    <a:pt x="1720704" y="4202853"/>
                  </a:cubicBezTo>
                  <a:lnTo>
                    <a:pt x="1518326" y="4202853"/>
                  </a:lnTo>
                  <a:lnTo>
                    <a:pt x="0" y="4201611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95227C6D-6903-B7BA-CB62-33BF2A1908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1134" y="5585531"/>
              <a:ext cx="0" cy="181971"/>
            </a:xfrm>
            <a:prstGeom prst="line">
              <a:avLst/>
            </a:prstGeom>
            <a:ln w="9525" cap="sq">
              <a:solidFill>
                <a:schemeClr val="bg2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AA6D5D17-1369-D41A-E231-6A328644A8E7}"/>
              </a:ext>
            </a:extLst>
          </p:cNvPr>
          <p:cNvSpPr>
            <a:spLocks noGrp="1"/>
          </p:cNvSpPr>
          <p:nvPr>
            <p:ph type="pic" idx="29" hasCustomPrompt="1"/>
          </p:nvPr>
        </p:nvSpPr>
        <p:spPr>
          <a:xfrm>
            <a:off x="6554058" y="1705391"/>
            <a:ext cx="2528028" cy="2925472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92731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512203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38305 w 2559369"/>
              <a:gd name="connsiteY2" fmla="*/ 522452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40212"/>
              <a:gd name="connsiteY0" fmla="*/ 7257 h 3738009"/>
              <a:gd name="connsiteX1" fmla="*/ 1903039 w 2540212"/>
              <a:gd name="connsiteY1" fmla="*/ 0 h 3738009"/>
              <a:gd name="connsiteX2" fmla="*/ 2538305 w 2540212"/>
              <a:gd name="connsiteY2" fmla="*/ 522452 h 3738009"/>
              <a:gd name="connsiteX3" fmla="*/ 2540212 w 2540212"/>
              <a:gd name="connsiteY3" fmla="*/ 3738009 h 3738009"/>
              <a:gd name="connsiteX4" fmla="*/ 0 w 2540212"/>
              <a:gd name="connsiteY4" fmla="*/ 3738009 h 3738009"/>
              <a:gd name="connsiteX5" fmla="*/ 0 w 2540212"/>
              <a:gd name="connsiteY5" fmla="*/ 7257 h 3738009"/>
              <a:gd name="connsiteX0" fmla="*/ 0 w 2542221"/>
              <a:gd name="connsiteY0" fmla="*/ 7257 h 3738009"/>
              <a:gd name="connsiteX1" fmla="*/ 1903039 w 2542221"/>
              <a:gd name="connsiteY1" fmla="*/ 0 h 3738009"/>
              <a:gd name="connsiteX2" fmla="*/ 2542137 w 2542221"/>
              <a:gd name="connsiteY2" fmla="*/ 507848 h 3738009"/>
              <a:gd name="connsiteX3" fmla="*/ 2540212 w 2542221"/>
              <a:gd name="connsiteY3" fmla="*/ 3738009 h 3738009"/>
              <a:gd name="connsiteX4" fmla="*/ 0 w 2542221"/>
              <a:gd name="connsiteY4" fmla="*/ 3738009 h 3738009"/>
              <a:gd name="connsiteX5" fmla="*/ 0 w 2542221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2221" h="3738009">
                <a:moveTo>
                  <a:pt x="0" y="7257"/>
                </a:moveTo>
                <a:lnTo>
                  <a:pt x="1903039" y="0"/>
                </a:lnTo>
                <a:lnTo>
                  <a:pt x="2542137" y="507848"/>
                </a:lnTo>
                <a:cubicBezTo>
                  <a:pt x="2542773" y="1579700"/>
                  <a:pt x="2539576" y="2666157"/>
                  <a:pt x="2540212" y="3738009"/>
                </a:cubicBez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788E78F-391A-2872-A824-09470CB9F5C7}"/>
              </a:ext>
            </a:extLst>
          </p:cNvPr>
          <p:cNvGrpSpPr/>
          <p:nvPr userDrawn="1"/>
        </p:nvGrpSpPr>
        <p:grpSpPr>
          <a:xfrm>
            <a:off x="1453024" y="5168747"/>
            <a:ext cx="1507346" cy="86513"/>
            <a:chOff x="1348801" y="4612172"/>
            <a:chExt cx="1507346" cy="86513"/>
          </a:xfrm>
        </p:grpSpPr>
        <p:sp>
          <p:nvSpPr>
            <p:cNvPr id="5" name="Graphic 15">
              <a:extLst>
                <a:ext uri="{FF2B5EF4-FFF2-40B4-BE49-F238E27FC236}">
                  <a16:creationId xmlns:a16="http://schemas.microsoft.com/office/drawing/2014/main" id="{6AC9CE43-ECA7-4539-595E-11ACC949D1D5}"/>
                </a:ext>
              </a:extLst>
            </p:cNvPr>
            <p:cNvSpPr/>
            <p:nvPr userDrawn="1"/>
          </p:nvSpPr>
          <p:spPr>
            <a:xfrm>
              <a:off x="1348801" y="4612172"/>
              <a:ext cx="65603" cy="47636"/>
            </a:xfrm>
            <a:custGeom>
              <a:avLst/>
              <a:gdLst>
                <a:gd name="connsiteX0" fmla="*/ 78777 w 78776"/>
                <a:gd name="connsiteY0" fmla="*/ 57202 h 57201"/>
                <a:gd name="connsiteX1" fmla="*/ 0 w 78776"/>
                <a:gd name="connsiteY1" fmla="*/ 57202 h 57201"/>
                <a:gd name="connsiteX2" fmla="*/ 0 w 78776"/>
                <a:gd name="connsiteY2" fmla="*/ 0 h 57201"/>
                <a:gd name="connsiteX3" fmla="*/ 3839 w 78776"/>
                <a:gd name="connsiteY3" fmla="*/ 0 h 57201"/>
                <a:gd name="connsiteX4" fmla="*/ 3839 w 78776"/>
                <a:gd name="connsiteY4" fmla="*/ 53363 h 57201"/>
                <a:gd name="connsiteX5" fmla="*/ 78777 w 78776"/>
                <a:gd name="connsiteY5" fmla="*/ 53363 h 57201"/>
                <a:gd name="connsiteX6" fmla="*/ 78777 w 78776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76" h="57201">
                  <a:moveTo>
                    <a:pt x="78777" y="57202"/>
                  </a:moveTo>
                  <a:lnTo>
                    <a:pt x="0" y="57202"/>
                  </a:lnTo>
                  <a:lnTo>
                    <a:pt x="0" y="0"/>
                  </a:lnTo>
                  <a:lnTo>
                    <a:pt x="3839" y="0"/>
                  </a:lnTo>
                  <a:lnTo>
                    <a:pt x="3839" y="53363"/>
                  </a:lnTo>
                  <a:lnTo>
                    <a:pt x="78777" y="53363"/>
                  </a:lnTo>
                  <a:lnTo>
                    <a:pt x="78777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Graphic 15">
              <a:extLst>
                <a:ext uri="{FF2B5EF4-FFF2-40B4-BE49-F238E27FC236}">
                  <a16:creationId xmlns:a16="http://schemas.microsoft.com/office/drawing/2014/main" id="{6B91E0B8-6D48-BC63-C15C-F6F36F9C986F}"/>
                </a:ext>
              </a:extLst>
            </p:cNvPr>
            <p:cNvSpPr/>
            <p:nvPr userDrawn="1"/>
          </p:nvSpPr>
          <p:spPr>
            <a:xfrm>
              <a:off x="1539474" y="4656676"/>
              <a:ext cx="1126321" cy="3197"/>
            </a:xfrm>
            <a:custGeom>
              <a:avLst/>
              <a:gdLst>
                <a:gd name="connsiteX0" fmla="*/ 1352013 w 1352491"/>
                <a:gd name="connsiteY0" fmla="*/ 2514 h 3839"/>
                <a:gd name="connsiteX1" fmla="*/ 1201369 w 1352491"/>
                <a:gd name="connsiteY1" fmla="*/ 2514 h 3839"/>
                <a:gd name="connsiteX2" fmla="*/ 1201369 w 1352491"/>
                <a:gd name="connsiteY2" fmla="*/ -1325 h 3839"/>
                <a:gd name="connsiteX3" fmla="*/ 1352013 w 1352491"/>
                <a:gd name="connsiteY3" fmla="*/ -1325 h 3839"/>
                <a:gd name="connsiteX4" fmla="*/ 1051570 w 1352491"/>
                <a:gd name="connsiteY4" fmla="*/ 2514 h 3839"/>
                <a:gd name="connsiteX5" fmla="*/ 900926 w 1352491"/>
                <a:gd name="connsiteY5" fmla="*/ 2514 h 3839"/>
                <a:gd name="connsiteX6" fmla="*/ 900926 w 1352491"/>
                <a:gd name="connsiteY6" fmla="*/ -1325 h 3839"/>
                <a:gd name="connsiteX7" fmla="*/ 1051186 w 1352491"/>
                <a:gd name="connsiteY7" fmla="*/ -1325 h 3839"/>
                <a:gd name="connsiteX8" fmla="*/ 751050 w 1352491"/>
                <a:gd name="connsiteY8" fmla="*/ 2514 h 3839"/>
                <a:gd name="connsiteX9" fmla="*/ 600484 w 1352491"/>
                <a:gd name="connsiteY9" fmla="*/ 2514 h 3839"/>
                <a:gd name="connsiteX10" fmla="*/ 600484 w 1352491"/>
                <a:gd name="connsiteY10" fmla="*/ -1325 h 3839"/>
                <a:gd name="connsiteX11" fmla="*/ 750666 w 1352491"/>
                <a:gd name="connsiteY11" fmla="*/ -1325 h 3839"/>
                <a:gd name="connsiteX12" fmla="*/ 450608 w 1352491"/>
                <a:gd name="connsiteY12" fmla="*/ 2514 h 3839"/>
                <a:gd name="connsiteX13" fmla="*/ 300118 w 1352491"/>
                <a:gd name="connsiteY13" fmla="*/ 2514 h 3839"/>
                <a:gd name="connsiteX14" fmla="*/ 300118 w 1352491"/>
                <a:gd name="connsiteY14" fmla="*/ -1325 h 3839"/>
                <a:gd name="connsiteX15" fmla="*/ 450377 w 1352491"/>
                <a:gd name="connsiteY15" fmla="*/ -1325 h 3839"/>
                <a:gd name="connsiteX16" fmla="*/ 150165 w 1352491"/>
                <a:gd name="connsiteY16" fmla="*/ 2514 h 3839"/>
                <a:gd name="connsiteX17" fmla="*/ -479 w 1352491"/>
                <a:gd name="connsiteY17" fmla="*/ 2514 h 3839"/>
                <a:gd name="connsiteX18" fmla="*/ -479 w 1352491"/>
                <a:gd name="connsiteY18" fmla="*/ -1325 h 3839"/>
                <a:gd name="connsiteX19" fmla="*/ 149781 w 1352491"/>
                <a:gd name="connsiteY19" fmla="*/ -1325 h 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52491" h="3839">
                  <a:moveTo>
                    <a:pt x="1352013" y="2514"/>
                  </a:moveTo>
                  <a:lnTo>
                    <a:pt x="1201369" y="2514"/>
                  </a:lnTo>
                  <a:lnTo>
                    <a:pt x="1201369" y="-1325"/>
                  </a:lnTo>
                  <a:lnTo>
                    <a:pt x="1352013" y="-1325"/>
                  </a:lnTo>
                  <a:close/>
                  <a:moveTo>
                    <a:pt x="1051570" y="2514"/>
                  </a:moveTo>
                  <a:lnTo>
                    <a:pt x="900926" y="2514"/>
                  </a:lnTo>
                  <a:lnTo>
                    <a:pt x="900926" y="-1325"/>
                  </a:lnTo>
                  <a:lnTo>
                    <a:pt x="1051186" y="-1325"/>
                  </a:lnTo>
                  <a:close/>
                  <a:moveTo>
                    <a:pt x="751050" y="2514"/>
                  </a:moveTo>
                  <a:lnTo>
                    <a:pt x="600484" y="2514"/>
                  </a:lnTo>
                  <a:lnTo>
                    <a:pt x="600484" y="-1325"/>
                  </a:lnTo>
                  <a:lnTo>
                    <a:pt x="750666" y="-1325"/>
                  </a:lnTo>
                  <a:close/>
                  <a:moveTo>
                    <a:pt x="450608" y="2514"/>
                  </a:moveTo>
                  <a:lnTo>
                    <a:pt x="300118" y="2514"/>
                  </a:lnTo>
                  <a:lnTo>
                    <a:pt x="300118" y="-1325"/>
                  </a:lnTo>
                  <a:lnTo>
                    <a:pt x="450377" y="-1325"/>
                  </a:lnTo>
                  <a:close/>
                  <a:moveTo>
                    <a:pt x="150165" y="2514"/>
                  </a:moveTo>
                  <a:lnTo>
                    <a:pt x="-479" y="2514"/>
                  </a:lnTo>
                  <a:lnTo>
                    <a:pt x="-479" y="-1325"/>
                  </a:lnTo>
                  <a:lnTo>
                    <a:pt x="149781" y="-1325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Graphic 15">
              <a:extLst>
                <a:ext uri="{FF2B5EF4-FFF2-40B4-BE49-F238E27FC236}">
                  <a16:creationId xmlns:a16="http://schemas.microsoft.com/office/drawing/2014/main" id="{469A8622-56D4-BC38-D33A-42D35922BA36}"/>
                </a:ext>
              </a:extLst>
            </p:cNvPr>
            <p:cNvSpPr/>
            <p:nvPr userDrawn="1"/>
          </p:nvSpPr>
          <p:spPr>
            <a:xfrm>
              <a:off x="2790608" y="4612172"/>
              <a:ext cx="65539" cy="47636"/>
            </a:xfrm>
            <a:custGeom>
              <a:avLst/>
              <a:gdLst>
                <a:gd name="connsiteX0" fmla="*/ 78700 w 78700"/>
                <a:gd name="connsiteY0" fmla="*/ 57202 h 57201"/>
                <a:gd name="connsiteX1" fmla="*/ 0 w 78700"/>
                <a:gd name="connsiteY1" fmla="*/ 57202 h 57201"/>
                <a:gd name="connsiteX2" fmla="*/ 0 w 78700"/>
                <a:gd name="connsiteY2" fmla="*/ 53363 h 57201"/>
                <a:gd name="connsiteX3" fmla="*/ 74861 w 78700"/>
                <a:gd name="connsiteY3" fmla="*/ 53363 h 57201"/>
                <a:gd name="connsiteX4" fmla="*/ 74861 w 78700"/>
                <a:gd name="connsiteY4" fmla="*/ 0 h 57201"/>
                <a:gd name="connsiteX5" fmla="*/ 78700 w 78700"/>
                <a:gd name="connsiteY5" fmla="*/ 0 h 57201"/>
                <a:gd name="connsiteX6" fmla="*/ 78700 w 78700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00" h="57201">
                  <a:moveTo>
                    <a:pt x="78700" y="57202"/>
                  </a:moveTo>
                  <a:lnTo>
                    <a:pt x="0" y="57202"/>
                  </a:lnTo>
                  <a:lnTo>
                    <a:pt x="0" y="53363"/>
                  </a:lnTo>
                  <a:lnTo>
                    <a:pt x="74861" y="53363"/>
                  </a:lnTo>
                  <a:lnTo>
                    <a:pt x="74861" y="0"/>
                  </a:lnTo>
                  <a:lnTo>
                    <a:pt x="78700" y="0"/>
                  </a:lnTo>
                  <a:lnTo>
                    <a:pt x="78700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Graphic 15">
              <a:extLst>
                <a:ext uri="{FF2B5EF4-FFF2-40B4-BE49-F238E27FC236}">
                  <a16:creationId xmlns:a16="http://schemas.microsoft.com/office/drawing/2014/main" id="{2ED0C889-8E96-EC7C-0F13-9C2CC9087C1B}"/>
                </a:ext>
              </a:extLst>
            </p:cNvPr>
            <p:cNvSpPr/>
            <p:nvPr userDrawn="1"/>
          </p:nvSpPr>
          <p:spPr>
            <a:xfrm>
              <a:off x="2851352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Graphic 15">
              <a:extLst>
                <a:ext uri="{FF2B5EF4-FFF2-40B4-BE49-F238E27FC236}">
                  <a16:creationId xmlns:a16="http://schemas.microsoft.com/office/drawing/2014/main" id="{614E1A0E-E499-65F0-7E97-A1484C041055}"/>
                </a:ext>
              </a:extLst>
            </p:cNvPr>
            <p:cNvSpPr/>
            <p:nvPr userDrawn="1"/>
          </p:nvSpPr>
          <p:spPr>
            <a:xfrm>
              <a:off x="2212134" y="4692291"/>
              <a:ext cx="583206" cy="6394"/>
            </a:xfrm>
            <a:custGeom>
              <a:avLst/>
              <a:gdLst>
                <a:gd name="connsiteX0" fmla="*/ 699838 w 700316"/>
                <a:gd name="connsiteY0" fmla="*/ 6353 h 7678"/>
                <a:gd name="connsiteX1" fmla="*/ 694233 w 700316"/>
                <a:gd name="connsiteY1" fmla="*/ 6353 h 7678"/>
                <a:gd name="connsiteX2" fmla="*/ 694233 w 700316"/>
                <a:gd name="connsiteY2" fmla="*/ -1325 h 7678"/>
                <a:gd name="connsiteX3" fmla="*/ 699838 w 700316"/>
                <a:gd name="connsiteY3" fmla="*/ -1325 h 7678"/>
                <a:gd name="connsiteX4" fmla="*/ 5126 w 700316"/>
                <a:gd name="connsiteY4" fmla="*/ 6353 h 7678"/>
                <a:gd name="connsiteX5" fmla="*/ -479 w 700316"/>
                <a:gd name="connsiteY5" fmla="*/ 6353 h 7678"/>
                <a:gd name="connsiteX6" fmla="*/ -479 w 700316"/>
                <a:gd name="connsiteY6" fmla="*/ -1325 h 7678"/>
                <a:gd name="connsiteX7" fmla="*/ 5126 w 700316"/>
                <a:gd name="connsiteY7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0316" h="7678">
                  <a:moveTo>
                    <a:pt x="699838" y="6353"/>
                  </a:moveTo>
                  <a:lnTo>
                    <a:pt x="694233" y="6353"/>
                  </a:lnTo>
                  <a:lnTo>
                    <a:pt x="694233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Graphic 15">
              <a:extLst>
                <a:ext uri="{FF2B5EF4-FFF2-40B4-BE49-F238E27FC236}">
                  <a16:creationId xmlns:a16="http://schemas.microsoft.com/office/drawing/2014/main" id="{D67203A2-DFB3-8712-E966-2D756F24453F}"/>
                </a:ext>
              </a:extLst>
            </p:cNvPr>
            <p:cNvSpPr/>
            <p:nvPr userDrawn="1"/>
          </p:nvSpPr>
          <p:spPr>
            <a:xfrm>
              <a:off x="1460955" y="4692291"/>
              <a:ext cx="643822" cy="6394"/>
            </a:xfrm>
            <a:custGeom>
              <a:avLst/>
              <a:gdLst>
                <a:gd name="connsiteX0" fmla="*/ 772626 w 773104"/>
                <a:gd name="connsiteY0" fmla="*/ 6353 h 7678"/>
                <a:gd name="connsiteX1" fmla="*/ 767097 w 773104"/>
                <a:gd name="connsiteY1" fmla="*/ 6353 h 7678"/>
                <a:gd name="connsiteX2" fmla="*/ 767097 w 773104"/>
                <a:gd name="connsiteY2" fmla="*/ -1325 h 7678"/>
                <a:gd name="connsiteX3" fmla="*/ 772626 w 773104"/>
                <a:gd name="connsiteY3" fmla="*/ -1325 h 7678"/>
                <a:gd name="connsiteX4" fmla="*/ 699838 w 773104"/>
                <a:gd name="connsiteY4" fmla="*/ 6353 h 7678"/>
                <a:gd name="connsiteX5" fmla="*/ 694232 w 773104"/>
                <a:gd name="connsiteY5" fmla="*/ 6353 h 7678"/>
                <a:gd name="connsiteX6" fmla="*/ 694232 w 773104"/>
                <a:gd name="connsiteY6" fmla="*/ -1325 h 7678"/>
                <a:gd name="connsiteX7" fmla="*/ 699838 w 773104"/>
                <a:gd name="connsiteY7" fmla="*/ -1325 h 7678"/>
                <a:gd name="connsiteX8" fmla="*/ 5126 w 773104"/>
                <a:gd name="connsiteY8" fmla="*/ 6353 h 7678"/>
                <a:gd name="connsiteX9" fmla="*/ -479 w 773104"/>
                <a:gd name="connsiteY9" fmla="*/ 6353 h 7678"/>
                <a:gd name="connsiteX10" fmla="*/ -479 w 773104"/>
                <a:gd name="connsiteY10" fmla="*/ -1325 h 7678"/>
                <a:gd name="connsiteX11" fmla="*/ 5126 w 773104"/>
                <a:gd name="connsiteY11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3104" h="7678">
                  <a:moveTo>
                    <a:pt x="772626" y="6353"/>
                  </a:moveTo>
                  <a:lnTo>
                    <a:pt x="767097" y="6353"/>
                  </a:lnTo>
                  <a:lnTo>
                    <a:pt x="767097" y="-1325"/>
                  </a:lnTo>
                  <a:lnTo>
                    <a:pt x="772626" y="-1325"/>
                  </a:lnTo>
                  <a:close/>
                  <a:moveTo>
                    <a:pt x="699838" y="6353"/>
                  </a:moveTo>
                  <a:lnTo>
                    <a:pt x="694232" y="6353"/>
                  </a:lnTo>
                  <a:lnTo>
                    <a:pt x="694232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Graphic 15">
              <a:extLst>
                <a:ext uri="{FF2B5EF4-FFF2-40B4-BE49-F238E27FC236}">
                  <a16:creationId xmlns:a16="http://schemas.microsoft.com/office/drawing/2014/main" id="{0FE216A7-9E3D-3949-F43A-C1E248CEB363}"/>
                </a:ext>
              </a:extLst>
            </p:cNvPr>
            <p:cNvSpPr/>
            <p:nvPr userDrawn="1"/>
          </p:nvSpPr>
          <p:spPr>
            <a:xfrm>
              <a:off x="1350464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C5B6DDC-E17C-CBB2-EC7B-FA6CC1C4932C}"/>
              </a:ext>
            </a:extLst>
          </p:cNvPr>
          <p:cNvGrpSpPr/>
          <p:nvPr userDrawn="1"/>
        </p:nvGrpSpPr>
        <p:grpSpPr>
          <a:xfrm>
            <a:off x="7118860" y="5168747"/>
            <a:ext cx="1507346" cy="86513"/>
            <a:chOff x="1348801" y="4612172"/>
            <a:chExt cx="1507346" cy="86513"/>
          </a:xfrm>
        </p:grpSpPr>
        <p:sp>
          <p:nvSpPr>
            <p:cNvPr id="14" name="Graphic 15">
              <a:extLst>
                <a:ext uri="{FF2B5EF4-FFF2-40B4-BE49-F238E27FC236}">
                  <a16:creationId xmlns:a16="http://schemas.microsoft.com/office/drawing/2014/main" id="{0483CF11-261F-1F83-7A02-9CE3DB74FB30}"/>
                </a:ext>
              </a:extLst>
            </p:cNvPr>
            <p:cNvSpPr/>
            <p:nvPr userDrawn="1"/>
          </p:nvSpPr>
          <p:spPr>
            <a:xfrm>
              <a:off x="1348801" y="4612172"/>
              <a:ext cx="65603" cy="47636"/>
            </a:xfrm>
            <a:custGeom>
              <a:avLst/>
              <a:gdLst>
                <a:gd name="connsiteX0" fmla="*/ 78777 w 78776"/>
                <a:gd name="connsiteY0" fmla="*/ 57202 h 57201"/>
                <a:gd name="connsiteX1" fmla="*/ 0 w 78776"/>
                <a:gd name="connsiteY1" fmla="*/ 57202 h 57201"/>
                <a:gd name="connsiteX2" fmla="*/ 0 w 78776"/>
                <a:gd name="connsiteY2" fmla="*/ 0 h 57201"/>
                <a:gd name="connsiteX3" fmla="*/ 3839 w 78776"/>
                <a:gd name="connsiteY3" fmla="*/ 0 h 57201"/>
                <a:gd name="connsiteX4" fmla="*/ 3839 w 78776"/>
                <a:gd name="connsiteY4" fmla="*/ 53363 h 57201"/>
                <a:gd name="connsiteX5" fmla="*/ 78777 w 78776"/>
                <a:gd name="connsiteY5" fmla="*/ 53363 h 57201"/>
                <a:gd name="connsiteX6" fmla="*/ 78777 w 78776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76" h="57201">
                  <a:moveTo>
                    <a:pt x="78777" y="57202"/>
                  </a:moveTo>
                  <a:lnTo>
                    <a:pt x="0" y="57202"/>
                  </a:lnTo>
                  <a:lnTo>
                    <a:pt x="0" y="0"/>
                  </a:lnTo>
                  <a:lnTo>
                    <a:pt x="3839" y="0"/>
                  </a:lnTo>
                  <a:lnTo>
                    <a:pt x="3839" y="53363"/>
                  </a:lnTo>
                  <a:lnTo>
                    <a:pt x="78777" y="53363"/>
                  </a:lnTo>
                  <a:lnTo>
                    <a:pt x="78777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Graphic 15">
              <a:extLst>
                <a:ext uri="{FF2B5EF4-FFF2-40B4-BE49-F238E27FC236}">
                  <a16:creationId xmlns:a16="http://schemas.microsoft.com/office/drawing/2014/main" id="{BED0FF39-2442-A513-C8FD-9BB9623B6D28}"/>
                </a:ext>
              </a:extLst>
            </p:cNvPr>
            <p:cNvSpPr/>
            <p:nvPr userDrawn="1"/>
          </p:nvSpPr>
          <p:spPr>
            <a:xfrm>
              <a:off x="1539474" y="4656676"/>
              <a:ext cx="1126321" cy="3197"/>
            </a:xfrm>
            <a:custGeom>
              <a:avLst/>
              <a:gdLst>
                <a:gd name="connsiteX0" fmla="*/ 1352013 w 1352491"/>
                <a:gd name="connsiteY0" fmla="*/ 2514 h 3839"/>
                <a:gd name="connsiteX1" fmla="*/ 1201369 w 1352491"/>
                <a:gd name="connsiteY1" fmla="*/ 2514 h 3839"/>
                <a:gd name="connsiteX2" fmla="*/ 1201369 w 1352491"/>
                <a:gd name="connsiteY2" fmla="*/ -1325 h 3839"/>
                <a:gd name="connsiteX3" fmla="*/ 1352013 w 1352491"/>
                <a:gd name="connsiteY3" fmla="*/ -1325 h 3839"/>
                <a:gd name="connsiteX4" fmla="*/ 1051570 w 1352491"/>
                <a:gd name="connsiteY4" fmla="*/ 2514 h 3839"/>
                <a:gd name="connsiteX5" fmla="*/ 900926 w 1352491"/>
                <a:gd name="connsiteY5" fmla="*/ 2514 h 3839"/>
                <a:gd name="connsiteX6" fmla="*/ 900926 w 1352491"/>
                <a:gd name="connsiteY6" fmla="*/ -1325 h 3839"/>
                <a:gd name="connsiteX7" fmla="*/ 1051186 w 1352491"/>
                <a:gd name="connsiteY7" fmla="*/ -1325 h 3839"/>
                <a:gd name="connsiteX8" fmla="*/ 751050 w 1352491"/>
                <a:gd name="connsiteY8" fmla="*/ 2514 h 3839"/>
                <a:gd name="connsiteX9" fmla="*/ 600484 w 1352491"/>
                <a:gd name="connsiteY9" fmla="*/ 2514 h 3839"/>
                <a:gd name="connsiteX10" fmla="*/ 600484 w 1352491"/>
                <a:gd name="connsiteY10" fmla="*/ -1325 h 3839"/>
                <a:gd name="connsiteX11" fmla="*/ 750666 w 1352491"/>
                <a:gd name="connsiteY11" fmla="*/ -1325 h 3839"/>
                <a:gd name="connsiteX12" fmla="*/ 450608 w 1352491"/>
                <a:gd name="connsiteY12" fmla="*/ 2514 h 3839"/>
                <a:gd name="connsiteX13" fmla="*/ 300118 w 1352491"/>
                <a:gd name="connsiteY13" fmla="*/ 2514 h 3839"/>
                <a:gd name="connsiteX14" fmla="*/ 300118 w 1352491"/>
                <a:gd name="connsiteY14" fmla="*/ -1325 h 3839"/>
                <a:gd name="connsiteX15" fmla="*/ 450377 w 1352491"/>
                <a:gd name="connsiteY15" fmla="*/ -1325 h 3839"/>
                <a:gd name="connsiteX16" fmla="*/ 150165 w 1352491"/>
                <a:gd name="connsiteY16" fmla="*/ 2514 h 3839"/>
                <a:gd name="connsiteX17" fmla="*/ -479 w 1352491"/>
                <a:gd name="connsiteY17" fmla="*/ 2514 h 3839"/>
                <a:gd name="connsiteX18" fmla="*/ -479 w 1352491"/>
                <a:gd name="connsiteY18" fmla="*/ -1325 h 3839"/>
                <a:gd name="connsiteX19" fmla="*/ 149781 w 1352491"/>
                <a:gd name="connsiteY19" fmla="*/ -1325 h 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52491" h="3839">
                  <a:moveTo>
                    <a:pt x="1352013" y="2514"/>
                  </a:moveTo>
                  <a:lnTo>
                    <a:pt x="1201369" y="2514"/>
                  </a:lnTo>
                  <a:lnTo>
                    <a:pt x="1201369" y="-1325"/>
                  </a:lnTo>
                  <a:lnTo>
                    <a:pt x="1352013" y="-1325"/>
                  </a:lnTo>
                  <a:close/>
                  <a:moveTo>
                    <a:pt x="1051570" y="2514"/>
                  </a:moveTo>
                  <a:lnTo>
                    <a:pt x="900926" y="2514"/>
                  </a:lnTo>
                  <a:lnTo>
                    <a:pt x="900926" y="-1325"/>
                  </a:lnTo>
                  <a:lnTo>
                    <a:pt x="1051186" y="-1325"/>
                  </a:lnTo>
                  <a:close/>
                  <a:moveTo>
                    <a:pt x="751050" y="2514"/>
                  </a:moveTo>
                  <a:lnTo>
                    <a:pt x="600484" y="2514"/>
                  </a:lnTo>
                  <a:lnTo>
                    <a:pt x="600484" y="-1325"/>
                  </a:lnTo>
                  <a:lnTo>
                    <a:pt x="750666" y="-1325"/>
                  </a:lnTo>
                  <a:close/>
                  <a:moveTo>
                    <a:pt x="450608" y="2514"/>
                  </a:moveTo>
                  <a:lnTo>
                    <a:pt x="300118" y="2514"/>
                  </a:lnTo>
                  <a:lnTo>
                    <a:pt x="300118" y="-1325"/>
                  </a:lnTo>
                  <a:lnTo>
                    <a:pt x="450377" y="-1325"/>
                  </a:lnTo>
                  <a:close/>
                  <a:moveTo>
                    <a:pt x="150165" y="2514"/>
                  </a:moveTo>
                  <a:lnTo>
                    <a:pt x="-479" y="2514"/>
                  </a:lnTo>
                  <a:lnTo>
                    <a:pt x="-479" y="-1325"/>
                  </a:lnTo>
                  <a:lnTo>
                    <a:pt x="149781" y="-1325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Graphic 15">
              <a:extLst>
                <a:ext uri="{FF2B5EF4-FFF2-40B4-BE49-F238E27FC236}">
                  <a16:creationId xmlns:a16="http://schemas.microsoft.com/office/drawing/2014/main" id="{9CE8F5D8-56C5-28F4-1FAE-19BC7DDC843B}"/>
                </a:ext>
              </a:extLst>
            </p:cNvPr>
            <p:cNvSpPr/>
            <p:nvPr userDrawn="1"/>
          </p:nvSpPr>
          <p:spPr>
            <a:xfrm>
              <a:off x="2790608" y="4612172"/>
              <a:ext cx="65539" cy="47636"/>
            </a:xfrm>
            <a:custGeom>
              <a:avLst/>
              <a:gdLst>
                <a:gd name="connsiteX0" fmla="*/ 78700 w 78700"/>
                <a:gd name="connsiteY0" fmla="*/ 57202 h 57201"/>
                <a:gd name="connsiteX1" fmla="*/ 0 w 78700"/>
                <a:gd name="connsiteY1" fmla="*/ 57202 h 57201"/>
                <a:gd name="connsiteX2" fmla="*/ 0 w 78700"/>
                <a:gd name="connsiteY2" fmla="*/ 53363 h 57201"/>
                <a:gd name="connsiteX3" fmla="*/ 74861 w 78700"/>
                <a:gd name="connsiteY3" fmla="*/ 53363 h 57201"/>
                <a:gd name="connsiteX4" fmla="*/ 74861 w 78700"/>
                <a:gd name="connsiteY4" fmla="*/ 0 h 57201"/>
                <a:gd name="connsiteX5" fmla="*/ 78700 w 78700"/>
                <a:gd name="connsiteY5" fmla="*/ 0 h 57201"/>
                <a:gd name="connsiteX6" fmla="*/ 78700 w 78700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00" h="57201">
                  <a:moveTo>
                    <a:pt x="78700" y="57202"/>
                  </a:moveTo>
                  <a:lnTo>
                    <a:pt x="0" y="57202"/>
                  </a:lnTo>
                  <a:lnTo>
                    <a:pt x="0" y="53363"/>
                  </a:lnTo>
                  <a:lnTo>
                    <a:pt x="74861" y="53363"/>
                  </a:lnTo>
                  <a:lnTo>
                    <a:pt x="74861" y="0"/>
                  </a:lnTo>
                  <a:lnTo>
                    <a:pt x="78700" y="0"/>
                  </a:lnTo>
                  <a:lnTo>
                    <a:pt x="78700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Graphic 15">
              <a:extLst>
                <a:ext uri="{FF2B5EF4-FFF2-40B4-BE49-F238E27FC236}">
                  <a16:creationId xmlns:a16="http://schemas.microsoft.com/office/drawing/2014/main" id="{75B99CBF-7021-B4DA-1AEF-8D86F67CAB0D}"/>
                </a:ext>
              </a:extLst>
            </p:cNvPr>
            <p:cNvSpPr/>
            <p:nvPr userDrawn="1"/>
          </p:nvSpPr>
          <p:spPr>
            <a:xfrm>
              <a:off x="2851352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Graphic 15">
              <a:extLst>
                <a:ext uri="{FF2B5EF4-FFF2-40B4-BE49-F238E27FC236}">
                  <a16:creationId xmlns:a16="http://schemas.microsoft.com/office/drawing/2014/main" id="{9CD290D6-9322-7705-E983-DFC12147DD90}"/>
                </a:ext>
              </a:extLst>
            </p:cNvPr>
            <p:cNvSpPr/>
            <p:nvPr userDrawn="1"/>
          </p:nvSpPr>
          <p:spPr>
            <a:xfrm>
              <a:off x="2212134" y="4692291"/>
              <a:ext cx="583206" cy="6394"/>
            </a:xfrm>
            <a:custGeom>
              <a:avLst/>
              <a:gdLst>
                <a:gd name="connsiteX0" fmla="*/ 699838 w 700316"/>
                <a:gd name="connsiteY0" fmla="*/ 6353 h 7678"/>
                <a:gd name="connsiteX1" fmla="*/ 694233 w 700316"/>
                <a:gd name="connsiteY1" fmla="*/ 6353 h 7678"/>
                <a:gd name="connsiteX2" fmla="*/ 694233 w 700316"/>
                <a:gd name="connsiteY2" fmla="*/ -1325 h 7678"/>
                <a:gd name="connsiteX3" fmla="*/ 699838 w 700316"/>
                <a:gd name="connsiteY3" fmla="*/ -1325 h 7678"/>
                <a:gd name="connsiteX4" fmla="*/ 5126 w 700316"/>
                <a:gd name="connsiteY4" fmla="*/ 6353 h 7678"/>
                <a:gd name="connsiteX5" fmla="*/ -479 w 700316"/>
                <a:gd name="connsiteY5" fmla="*/ 6353 h 7678"/>
                <a:gd name="connsiteX6" fmla="*/ -479 w 700316"/>
                <a:gd name="connsiteY6" fmla="*/ -1325 h 7678"/>
                <a:gd name="connsiteX7" fmla="*/ 5126 w 700316"/>
                <a:gd name="connsiteY7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0316" h="7678">
                  <a:moveTo>
                    <a:pt x="699838" y="6353"/>
                  </a:moveTo>
                  <a:lnTo>
                    <a:pt x="694233" y="6353"/>
                  </a:lnTo>
                  <a:lnTo>
                    <a:pt x="694233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Graphic 15">
              <a:extLst>
                <a:ext uri="{FF2B5EF4-FFF2-40B4-BE49-F238E27FC236}">
                  <a16:creationId xmlns:a16="http://schemas.microsoft.com/office/drawing/2014/main" id="{FF24B634-9151-7ADE-7E1A-A5990EEC0D27}"/>
                </a:ext>
              </a:extLst>
            </p:cNvPr>
            <p:cNvSpPr/>
            <p:nvPr userDrawn="1"/>
          </p:nvSpPr>
          <p:spPr>
            <a:xfrm>
              <a:off x="1460955" y="4692291"/>
              <a:ext cx="643822" cy="6394"/>
            </a:xfrm>
            <a:custGeom>
              <a:avLst/>
              <a:gdLst>
                <a:gd name="connsiteX0" fmla="*/ 772626 w 773104"/>
                <a:gd name="connsiteY0" fmla="*/ 6353 h 7678"/>
                <a:gd name="connsiteX1" fmla="*/ 767097 w 773104"/>
                <a:gd name="connsiteY1" fmla="*/ 6353 h 7678"/>
                <a:gd name="connsiteX2" fmla="*/ 767097 w 773104"/>
                <a:gd name="connsiteY2" fmla="*/ -1325 h 7678"/>
                <a:gd name="connsiteX3" fmla="*/ 772626 w 773104"/>
                <a:gd name="connsiteY3" fmla="*/ -1325 h 7678"/>
                <a:gd name="connsiteX4" fmla="*/ 699838 w 773104"/>
                <a:gd name="connsiteY4" fmla="*/ 6353 h 7678"/>
                <a:gd name="connsiteX5" fmla="*/ 694232 w 773104"/>
                <a:gd name="connsiteY5" fmla="*/ 6353 h 7678"/>
                <a:gd name="connsiteX6" fmla="*/ 694232 w 773104"/>
                <a:gd name="connsiteY6" fmla="*/ -1325 h 7678"/>
                <a:gd name="connsiteX7" fmla="*/ 699838 w 773104"/>
                <a:gd name="connsiteY7" fmla="*/ -1325 h 7678"/>
                <a:gd name="connsiteX8" fmla="*/ 5126 w 773104"/>
                <a:gd name="connsiteY8" fmla="*/ 6353 h 7678"/>
                <a:gd name="connsiteX9" fmla="*/ -479 w 773104"/>
                <a:gd name="connsiteY9" fmla="*/ 6353 h 7678"/>
                <a:gd name="connsiteX10" fmla="*/ -479 w 773104"/>
                <a:gd name="connsiteY10" fmla="*/ -1325 h 7678"/>
                <a:gd name="connsiteX11" fmla="*/ 5126 w 773104"/>
                <a:gd name="connsiteY11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3104" h="7678">
                  <a:moveTo>
                    <a:pt x="772626" y="6353"/>
                  </a:moveTo>
                  <a:lnTo>
                    <a:pt x="767097" y="6353"/>
                  </a:lnTo>
                  <a:lnTo>
                    <a:pt x="767097" y="-1325"/>
                  </a:lnTo>
                  <a:lnTo>
                    <a:pt x="772626" y="-1325"/>
                  </a:lnTo>
                  <a:close/>
                  <a:moveTo>
                    <a:pt x="699838" y="6353"/>
                  </a:moveTo>
                  <a:lnTo>
                    <a:pt x="694232" y="6353"/>
                  </a:lnTo>
                  <a:lnTo>
                    <a:pt x="694232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Graphic 15">
              <a:extLst>
                <a:ext uri="{FF2B5EF4-FFF2-40B4-BE49-F238E27FC236}">
                  <a16:creationId xmlns:a16="http://schemas.microsoft.com/office/drawing/2014/main" id="{54ADA6CE-B46A-6453-4B0D-3985E17AD453}"/>
                </a:ext>
              </a:extLst>
            </p:cNvPr>
            <p:cNvSpPr/>
            <p:nvPr userDrawn="1"/>
          </p:nvSpPr>
          <p:spPr>
            <a:xfrm>
              <a:off x="1350464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1181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0C0782D-07C9-6C9A-899C-240F6B16CA2D}"/>
              </a:ext>
            </a:extLst>
          </p:cNvPr>
          <p:cNvSpPr/>
          <p:nvPr userDrawn="1"/>
        </p:nvSpPr>
        <p:spPr>
          <a:xfrm>
            <a:off x="0" y="1614433"/>
            <a:ext cx="511478" cy="41607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C781CAE9-246A-D5F3-2230-C3789E54D8FB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715225" y="6267123"/>
            <a:ext cx="2476774" cy="290423"/>
            <a:chOff x="-8365" y="6414219"/>
            <a:chExt cx="3024563" cy="354656"/>
          </a:xfrm>
          <a:gradFill>
            <a:gsLst>
              <a:gs pos="100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532100C-0D80-F191-9F98-2D5FF811A97F}"/>
                </a:ext>
              </a:extLst>
            </p:cNvPr>
            <p:cNvSpPr/>
            <p:nvPr/>
          </p:nvSpPr>
          <p:spPr>
            <a:xfrm>
              <a:off x="1254664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44A9CC0-3E51-FC78-278A-5B906F2005AE}"/>
                </a:ext>
              </a:extLst>
            </p:cNvPr>
            <p:cNvSpPr/>
            <p:nvPr/>
          </p:nvSpPr>
          <p:spPr>
            <a:xfrm>
              <a:off x="1037409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1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1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066D8AE-DC07-7BF3-E891-5B89628BA9C9}"/>
                </a:ext>
              </a:extLst>
            </p:cNvPr>
            <p:cNvSpPr/>
            <p:nvPr/>
          </p:nvSpPr>
          <p:spPr>
            <a:xfrm>
              <a:off x="820005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88A277B-5E74-EB8B-8881-3986B9272CC3}"/>
                </a:ext>
              </a:extLst>
            </p:cNvPr>
            <p:cNvSpPr/>
            <p:nvPr/>
          </p:nvSpPr>
          <p:spPr>
            <a:xfrm>
              <a:off x="602602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B3518B4-B832-4478-7E53-D177D7C37B30}"/>
                </a:ext>
              </a:extLst>
            </p:cNvPr>
            <p:cNvSpPr/>
            <p:nvPr/>
          </p:nvSpPr>
          <p:spPr>
            <a:xfrm>
              <a:off x="167943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242CC0B-0D04-4FA5-62F4-AC00C965B2E8}"/>
                </a:ext>
              </a:extLst>
            </p:cNvPr>
            <p:cNvSpPr/>
            <p:nvPr/>
          </p:nvSpPr>
          <p:spPr>
            <a:xfrm>
              <a:off x="385347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1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1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017FD557-D688-1519-F0F8-AE3A1101F5CB}"/>
                </a:ext>
              </a:extLst>
            </p:cNvPr>
            <p:cNvSpPr/>
            <p:nvPr/>
          </p:nvSpPr>
          <p:spPr>
            <a:xfrm>
              <a:off x="2566670" y="6414219"/>
              <a:ext cx="434658" cy="339786"/>
            </a:xfrm>
            <a:custGeom>
              <a:avLst/>
              <a:gdLst>
                <a:gd name="connsiteX0" fmla="*/ 434658 w 434658"/>
                <a:gd name="connsiteY0" fmla="*/ 0 h 339786"/>
                <a:gd name="connsiteX1" fmla="*/ 350939 w 434658"/>
                <a:gd name="connsiteY1" fmla="*/ 0 h 339786"/>
                <a:gd name="connsiteX2" fmla="*/ 0 w 434658"/>
                <a:gd name="connsiteY2" fmla="*/ 339786 h 339786"/>
                <a:gd name="connsiteX3" fmla="*/ 105281 w 434658"/>
                <a:gd name="connsiteY3" fmla="*/ 339786 h 339786"/>
                <a:gd name="connsiteX4" fmla="*/ 434658 w 434658"/>
                <a:gd name="connsiteY4" fmla="*/ 20967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658" h="339786">
                  <a:moveTo>
                    <a:pt x="434658" y="0"/>
                  </a:moveTo>
                  <a:lnTo>
                    <a:pt x="350939" y="0"/>
                  </a:lnTo>
                  <a:lnTo>
                    <a:pt x="0" y="339786"/>
                  </a:lnTo>
                  <a:lnTo>
                    <a:pt x="105281" y="339786"/>
                  </a:lnTo>
                  <a:lnTo>
                    <a:pt x="434658" y="20967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5C878B5-4C14-BF1C-8300-270CBC50C5A0}"/>
                </a:ext>
              </a:extLst>
            </p:cNvPr>
            <p:cNvSpPr/>
            <p:nvPr/>
          </p:nvSpPr>
          <p:spPr>
            <a:xfrm>
              <a:off x="1472068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F3F73933-A44F-0423-BA7C-EEF42F9895A7}"/>
                </a:ext>
              </a:extLst>
            </p:cNvPr>
            <p:cNvSpPr/>
            <p:nvPr/>
          </p:nvSpPr>
          <p:spPr>
            <a:xfrm>
              <a:off x="2349266" y="6414219"/>
              <a:ext cx="456368" cy="339786"/>
            </a:xfrm>
            <a:custGeom>
              <a:avLst/>
              <a:gdLst>
                <a:gd name="connsiteX0" fmla="*/ 350939 w 456368"/>
                <a:gd name="connsiteY0" fmla="*/ 0 h 339786"/>
                <a:gd name="connsiteX1" fmla="*/ 0 w 456368"/>
                <a:gd name="connsiteY1" fmla="*/ 339786 h 339786"/>
                <a:gd name="connsiteX2" fmla="*/ 105430 w 456368"/>
                <a:gd name="connsiteY2" fmla="*/ 339786 h 339786"/>
                <a:gd name="connsiteX3" fmla="*/ 456369 w 456368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8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669C3DC-4FDD-B99A-34FF-F8C59CCFE6B5}"/>
                </a:ext>
              </a:extLst>
            </p:cNvPr>
            <p:cNvSpPr/>
            <p:nvPr/>
          </p:nvSpPr>
          <p:spPr>
            <a:xfrm>
              <a:off x="3001328" y="6754005"/>
              <a:ext cx="14870" cy="14870"/>
            </a:xfrm>
            <a:custGeom>
              <a:avLst/>
              <a:gdLst>
                <a:gd name="connsiteX0" fmla="*/ 0 w 14870"/>
                <a:gd name="connsiteY0" fmla="*/ 0 h 14870"/>
                <a:gd name="connsiteX1" fmla="*/ 0 w 14870"/>
                <a:gd name="connsiteY1" fmla="*/ 0 h 14870"/>
                <a:gd name="connsiteX2" fmla="*/ 0 w 14870"/>
                <a:gd name="connsiteY2" fmla="*/ 0 h 1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70" h="1487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D12A713-86A1-E10F-4CCE-1BFC3A1791CD}"/>
                </a:ext>
              </a:extLst>
            </p:cNvPr>
            <p:cNvSpPr/>
            <p:nvPr/>
          </p:nvSpPr>
          <p:spPr>
            <a:xfrm>
              <a:off x="2783925" y="6543590"/>
              <a:ext cx="217403" cy="210414"/>
            </a:xfrm>
            <a:custGeom>
              <a:avLst/>
              <a:gdLst>
                <a:gd name="connsiteX0" fmla="*/ 217404 w 217403"/>
                <a:gd name="connsiteY0" fmla="*/ 0 h 210414"/>
                <a:gd name="connsiteX1" fmla="*/ 0 w 217403"/>
                <a:gd name="connsiteY1" fmla="*/ 210415 h 210414"/>
                <a:gd name="connsiteX2" fmla="*/ 105430 w 217403"/>
                <a:gd name="connsiteY2" fmla="*/ 210415 h 210414"/>
                <a:gd name="connsiteX3" fmla="*/ 217404 w 217403"/>
                <a:gd name="connsiteY3" fmla="*/ 102010 h 210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403" h="210414">
                  <a:moveTo>
                    <a:pt x="217404" y="0"/>
                  </a:moveTo>
                  <a:lnTo>
                    <a:pt x="0" y="210415"/>
                  </a:lnTo>
                  <a:lnTo>
                    <a:pt x="105430" y="210415"/>
                  </a:lnTo>
                  <a:lnTo>
                    <a:pt x="217404" y="10201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BD21ABB-76FB-F938-E849-305D6DE8EA44}"/>
                </a:ext>
              </a:extLst>
            </p:cNvPr>
            <p:cNvSpPr/>
            <p:nvPr/>
          </p:nvSpPr>
          <p:spPr>
            <a:xfrm>
              <a:off x="1689471" y="6414219"/>
              <a:ext cx="464101" cy="339786"/>
            </a:xfrm>
            <a:custGeom>
              <a:avLst/>
              <a:gdLst>
                <a:gd name="connsiteX0" fmla="*/ 350939 w 464101"/>
                <a:gd name="connsiteY0" fmla="*/ 0 h 339786"/>
                <a:gd name="connsiteX1" fmla="*/ 0 w 464101"/>
                <a:gd name="connsiteY1" fmla="*/ 339786 h 339786"/>
                <a:gd name="connsiteX2" fmla="*/ 113163 w 464101"/>
                <a:gd name="connsiteY2" fmla="*/ 339786 h 339786"/>
                <a:gd name="connsiteX3" fmla="*/ 464102 w 464101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101" h="339786">
                  <a:moveTo>
                    <a:pt x="350939" y="0"/>
                  </a:moveTo>
                  <a:lnTo>
                    <a:pt x="0" y="339786"/>
                  </a:lnTo>
                  <a:lnTo>
                    <a:pt x="113163" y="339786"/>
                  </a:lnTo>
                  <a:lnTo>
                    <a:pt x="464102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1ABE2CD-D4A5-4632-98C8-8BF8ACCBE5E8}"/>
                </a:ext>
              </a:extLst>
            </p:cNvPr>
            <p:cNvSpPr/>
            <p:nvPr/>
          </p:nvSpPr>
          <p:spPr>
            <a:xfrm>
              <a:off x="2131863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D63E44C-F0B1-312E-583F-8A1042C53A13}"/>
                </a:ext>
              </a:extLst>
            </p:cNvPr>
            <p:cNvSpPr/>
            <p:nvPr/>
          </p:nvSpPr>
          <p:spPr>
            <a:xfrm>
              <a:off x="1914608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66886F-2246-3954-6D03-CF7C7B65C7F7}"/>
                </a:ext>
              </a:extLst>
            </p:cNvPr>
            <p:cNvSpPr/>
            <p:nvPr/>
          </p:nvSpPr>
          <p:spPr>
            <a:xfrm>
              <a:off x="-8365" y="6414220"/>
              <a:ext cx="197871" cy="191583"/>
            </a:xfrm>
            <a:custGeom>
              <a:avLst/>
              <a:gdLst>
                <a:gd name="connsiteX0" fmla="*/ 92589 w 197871"/>
                <a:gd name="connsiteY0" fmla="*/ 0 h 191583"/>
                <a:gd name="connsiteX1" fmla="*/ 197871 w 197871"/>
                <a:gd name="connsiteY1" fmla="*/ 0 h 191583"/>
                <a:gd name="connsiteX2" fmla="*/ 0 w 197871"/>
                <a:gd name="connsiteY2" fmla="*/ 191583 h 191583"/>
                <a:gd name="connsiteX3" fmla="*/ 0 w 197871"/>
                <a:gd name="connsiteY3" fmla="*/ 89647 h 191583"/>
                <a:gd name="connsiteX4" fmla="*/ 92589 w 197871"/>
                <a:gd name="connsiteY4" fmla="*/ 0 h 19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871" h="191583">
                  <a:moveTo>
                    <a:pt x="92589" y="0"/>
                  </a:moveTo>
                  <a:lnTo>
                    <a:pt x="197871" y="0"/>
                  </a:lnTo>
                  <a:lnTo>
                    <a:pt x="0" y="191583"/>
                  </a:lnTo>
                  <a:lnTo>
                    <a:pt x="0" y="89647"/>
                  </a:lnTo>
                  <a:lnTo>
                    <a:pt x="92589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2C39396C-5371-C1ED-5F2B-1989DBA0F65D}"/>
                </a:ext>
              </a:extLst>
            </p:cNvPr>
            <p:cNvSpPr/>
            <p:nvPr/>
          </p:nvSpPr>
          <p:spPr>
            <a:xfrm>
              <a:off x="-8365" y="6414219"/>
              <a:ext cx="415274" cy="339786"/>
            </a:xfrm>
            <a:custGeom>
              <a:avLst/>
              <a:gdLst>
                <a:gd name="connsiteX0" fmla="*/ 309844 w 415274"/>
                <a:gd name="connsiteY0" fmla="*/ 0 h 339786"/>
                <a:gd name="connsiteX1" fmla="*/ 415274 w 415274"/>
                <a:gd name="connsiteY1" fmla="*/ 0 h 339786"/>
                <a:gd name="connsiteX2" fmla="*/ 64335 w 415274"/>
                <a:gd name="connsiteY2" fmla="*/ 339786 h 339786"/>
                <a:gd name="connsiteX3" fmla="*/ 0 w 415274"/>
                <a:gd name="connsiteY3" fmla="*/ 339786 h 339786"/>
                <a:gd name="connsiteX4" fmla="*/ 0 w 415274"/>
                <a:gd name="connsiteY4" fmla="*/ 299997 h 339786"/>
                <a:gd name="connsiteX5" fmla="*/ 309844 w 415274"/>
                <a:gd name="connsiteY5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274" h="339786">
                  <a:moveTo>
                    <a:pt x="309844" y="0"/>
                  </a:moveTo>
                  <a:lnTo>
                    <a:pt x="415274" y="0"/>
                  </a:lnTo>
                  <a:lnTo>
                    <a:pt x="64335" y="339786"/>
                  </a:lnTo>
                  <a:lnTo>
                    <a:pt x="0" y="339786"/>
                  </a:lnTo>
                  <a:lnTo>
                    <a:pt x="0" y="299997"/>
                  </a:lnTo>
                  <a:lnTo>
                    <a:pt x="3098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6" name="Text Placeholder 121">
            <a:extLst>
              <a:ext uri="{FF2B5EF4-FFF2-40B4-BE49-F238E27FC236}">
                <a16:creationId xmlns:a16="http://schemas.microsoft.com/office/drawing/2014/main" id="{F7028D01-CCC3-ED43-C8A7-0BFD5B8F70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45279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sp>
        <p:nvSpPr>
          <p:cNvPr id="148" name="Text Placeholder 3">
            <a:extLst>
              <a:ext uri="{FF2B5EF4-FFF2-40B4-BE49-F238E27FC236}">
                <a16:creationId xmlns:a16="http://schemas.microsoft.com/office/drawing/2014/main" id="{6D84BE05-E7C0-263D-048F-9BC8FC55A7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30835" y="4814264"/>
            <a:ext cx="2103120" cy="276999"/>
          </a:xfrm>
        </p:spPr>
        <p:txBody>
          <a:bodyPr vert="horz" lIns="0" tIns="0" rIns="0" bIns="0" rtlCol="0" anchor="ctr" anchorCtr="0">
            <a:normAutofit/>
          </a:bodyPr>
          <a:lstStyle>
            <a:lvl1pPr marL="342900" indent="-342900" algn="ctr">
              <a:spcBef>
                <a:spcPts val="0"/>
              </a:spcBef>
              <a:buFontTx/>
              <a:buNone/>
              <a:defRPr lang="en-US" sz="1900" b="1" cap="all" baseline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NAME</a:t>
            </a:r>
          </a:p>
        </p:txBody>
      </p:sp>
      <p:sp>
        <p:nvSpPr>
          <p:cNvPr id="149" name="Text Placeholder 85">
            <a:extLst>
              <a:ext uri="{FF2B5EF4-FFF2-40B4-BE49-F238E27FC236}">
                <a16:creationId xmlns:a16="http://schemas.microsoft.com/office/drawing/2014/main" id="{CC0E520E-5BE8-F74F-C41B-1DE41DEEBBA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80467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150" name="Text Placeholder 121">
            <a:extLst>
              <a:ext uri="{FF2B5EF4-FFF2-40B4-BE49-F238E27FC236}">
                <a16:creationId xmlns:a16="http://schemas.microsoft.com/office/drawing/2014/main" id="{72E4B713-7A71-902B-A145-ABFF20FEA53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907623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sp>
        <p:nvSpPr>
          <p:cNvPr id="152" name="Text Placeholder 3">
            <a:extLst>
              <a:ext uri="{FF2B5EF4-FFF2-40B4-BE49-F238E27FC236}">
                <a16:creationId xmlns:a16="http://schemas.microsoft.com/office/drawing/2014/main" id="{3E6ECE56-D527-B0B8-1893-C0C66160863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05145" y="4814264"/>
            <a:ext cx="2103120" cy="276999"/>
          </a:xfrm>
        </p:spPr>
        <p:txBody>
          <a:bodyPr vert="horz" lIns="0" tIns="0" rIns="0" bIns="0" rtlCol="0" anchor="ctr" anchorCtr="0">
            <a:normAutofit/>
          </a:bodyPr>
          <a:lstStyle>
            <a:lvl1pPr marL="342900" indent="-342900" algn="ctr">
              <a:spcBef>
                <a:spcPts val="0"/>
              </a:spcBef>
              <a:buFontTx/>
              <a:buNone/>
              <a:defRPr lang="en-US" sz="1900" b="1" cap="all" baseline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NAME</a:t>
            </a:r>
          </a:p>
        </p:txBody>
      </p:sp>
      <p:sp>
        <p:nvSpPr>
          <p:cNvPr id="153" name="Text Placeholder 85">
            <a:extLst>
              <a:ext uri="{FF2B5EF4-FFF2-40B4-BE49-F238E27FC236}">
                <a16:creationId xmlns:a16="http://schemas.microsoft.com/office/drawing/2014/main" id="{53CD850B-AF0B-6139-F77D-67299CA1602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54777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154" name="Text Placeholder 121">
            <a:extLst>
              <a:ext uri="{FF2B5EF4-FFF2-40B4-BE49-F238E27FC236}">
                <a16:creationId xmlns:a16="http://schemas.microsoft.com/office/drawing/2014/main" id="{A60F3F3C-B8D8-FDF8-8653-1A2B63A76EC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1933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3CC20B70-03C6-7E00-A37E-191CEE622708}"/>
              </a:ext>
            </a:extLst>
          </p:cNvPr>
          <p:cNvCxnSpPr>
            <a:cxnSpLocks/>
          </p:cNvCxnSpPr>
          <p:nvPr userDrawn="1"/>
        </p:nvCxnSpPr>
        <p:spPr>
          <a:xfrm>
            <a:off x="4546044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F1396E96-8BB9-B9DC-3D66-40F2D9362F22}"/>
              </a:ext>
            </a:extLst>
          </p:cNvPr>
          <p:cNvCxnSpPr>
            <a:cxnSpLocks/>
          </p:cNvCxnSpPr>
          <p:nvPr userDrawn="1"/>
        </p:nvCxnSpPr>
        <p:spPr>
          <a:xfrm>
            <a:off x="7427267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7" name="Graphic 226">
            <a:extLst>
              <a:ext uri="{FF2B5EF4-FFF2-40B4-BE49-F238E27FC236}">
                <a16:creationId xmlns:a16="http://schemas.microsoft.com/office/drawing/2014/main" id="{CDF8E2AC-3B94-E084-63BF-9A8E71AEE5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97105" y="1629322"/>
            <a:ext cx="864114" cy="698204"/>
          </a:xfrm>
          <a:prstGeom prst="rect">
            <a:avLst/>
          </a:prstGeom>
        </p:spPr>
      </p:pic>
      <p:pic>
        <p:nvPicPr>
          <p:cNvPr id="228" name="Picture 227">
            <a:extLst>
              <a:ext uri="{FF2B5EF4-FFF2-40B4-BE49-F238E27FC236}">
                <a16:creationId xmlns:a16="http://schemas.microsoft.com/office/drawing/2014/main" id="{D2E96604-C1D1-883F-56AA-F57B29FAD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5290"/>
          <a:stretch/>
        </p:blipFill>
        <p:spPr>
          <a:xfrm>
            <a:off x="9782766" y="2876468"/>
            <a:ext cx="2414016" cy="2975106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D067ECFB-D489-ECF1-F65E-EF4C5026658C}"/>
              </a:ext>
            </a:extLst>
          </p:cNvPr>
          <p:cNvSpPr>
            <a:spLocks noGrp="1"/>
          </p:cNvSpPr>
          <p:nvPr>
            <p:ph type="pic" idx="34" hasCustomPrompt="1"/>
          </p:nvPr>
        </p:nvSpPr>
        <p:spPr>
          <a:xfrm>
            <a:off x="875130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974686A-FF9B-ED41-7232-8A2EE3272EA2}"/>
              </a:ext>
            </a:extLst>
          </p:cNvPr>
          <p:cNvCxnSpPr>
            <a:cxnSpLocks/>
          </p:cNvCxnSpPr>
          <p:nvPr userDrawn="1"/>
        </p:nvCxnSpPr>
        <p:spPr>
          <a:xfrm>
            <a:off x="408680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900F2936-812A-E8B4-833E-E8BA1DF27BA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868491" y="4814264"/>
            <a:ext cx="2103120" cy="276999"/>
          </a:xfrm>
        </p:spPr>
        <p:txBody>
          <a:bodyPr vert="horz" lIns="0" tIns="0" rIns="0" bIns="0" rtlCol="0" anchor="ctr" anchorCtr="0">
            <a:normAutofit/>
          </a:bodyPr>
          <a:lstStyle>
            <a:lvl1pPr marL="342900" indent="-342900" algn="ctr">
              <a:spcBef>
                <a:spcPts val="0"/>
              </a:spcBef>
              <a:buFontTx/>
              <a:buNone/>
              <a:defRPr lang="en-US" sz="1900" b="1" cap="all" baseline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NAME</a:t>
            </a:r>
          </a:p>
        </p:txBody>
      </p:sp>
      <p:sp>
        <p:nvSpPr>
          <p:cNvPr id="145" name="Text Placeholder 85">
            <a:extLst>
              <a:ext uri="{FF2B5EF4-FFF2-40B4-BE49-F238E27FC236}">
                <a16:creationId xmlns:a16="http://schemas.microsoft.com/office/drawing/2014/main" id="{18A80C11-47DF-D917-1664-E12B5586EF29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818123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FB7D787D-C2A9-6FFB-7DB6-62DD2D2DB1C3}"/>
              </a:ext>
            </a:extLst>
          </p:cNvPr>
          <p:cNvCxnSpPr>
            <a:cxnSpLocks/>
          </p:cNvCxnSpPr>
          <p:nvPr userDrawn="1"/>
        </p:nvCxnSpPr>
        <p:spPr>
          <a:xfrm>
            <a:off x="1681817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5D52EC0-6CF5-C533-629A-0C523A0E0437}"/>
              </a:ext>
            </a:extLst>
          </p:cNvPr>
          <p:cNvGrpSpPr/>
          <p:nvPr userDrawn="1"/>
        </p:nvGrpSpPr>
        <p:grpSpPr>
          <a:xfrm>
            <a:off x="862265" y="1612232"/>
            <a:ext cx="2338382" cy="4162926"/>
            <a:chOff x="862265" y="1612232"/>
            <a:chExt cx="2338382" cy="4162926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624AE547-2440-CF54-D3B6-12ECA1070099}"/>
                </a:ext>
              </a:extLst>
            </p:cNvPr>
            <p:cNvGrpSpPr/>
            <p:nvPr userDrawn="1"/>
          </p:nvGrpSpPr>
          <p:grpSpPr>
            <a:xfrm>
              <a:off x="3147504" y="2061539"/>
              <a:ext cx="53143" cy="1085389"/>
              <a:chOff x="2780760" y="2009831"/>
              <a:chExt cx="53143" cy="1085389"/>
            </a:xfrm>
          </p:grpSpPr>
          <p:grpSp>
            <p:nvGrpSpPr>
              <p:cNvPr id="158" name="Graphic 42">
                <a:extLst>
                  <a:ext uri="{FF2B5EF4-FFF2-40B4-BE49-F238E27FC236}">
                    <a16:creationId xmlns:a16="http://schemas.microsoft.com/office/drawing/2014/main" id="{554D41A6-5A7A-E25D-DB98-9128F19213E8}"/>
                  </a:ext>
                </a:extLst>
              </p:cNvPr>
              <p:cNvGrpSpPr/>
              <p:nvPr userDrawn="1"/>
            </p:nvGrpSpPr>
            <p:grpSpPr>
              <a:xfrm rot="16200000" flipH="1" flipV="1">
                <a:off x="2482218" y="2310772"/>
                <a:ext cx="650227" cy="48346"/>
                <a:chOff x="7926578" y="441451"/>
                <a:chExt cx="895032" cy="66548"/>
              </a:xfrm>
              <a:solidFill>
                <a:srgbClr val="75BF43">
                  <a:alpha val="57000"/>
                </a:srgbClr>
              </a:solidFill>
            </p:grpSpPr>
            <p:sp>
              <p:nvSpPr>
                <p:cNvPr id="167" name="Freeform: Shape 33">
                  <a:extLst>
                    <a:ext uri="{FF2B5EF4-FFF2-40B4-BE49-F238E27FC236}">
                      <a16:creationId xmlns:a16="http://schemas.microsoft.com/office/drawing/2014/main" id="{83F4E118-9E0A-38BE-1944-154B6E3E47D0}"/>
                    </a:ext>
                  </a:extLst>
                </p:cNvPr>
                <p:cNvSpPr/>
                <p:nvPr/>
              </p:nvSpPr>
              <p:spPr>
                <a:xfrm>
                  <a:off x="8479726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34">
                  <a:extLst>
                    <a:ext uri="{FF2B5EF4-FFF2-40B4-BE49-F238E27FC236}">
                      <a16:creationId xmlns:a16="http://schemas.microsoft.com/office/drawing/2014/main" id="{91A85E24-0A28-0D2E-2951-7D9347D69111}"/>
                    </a:ext>
                  </a:extLst>
                </p:cNvPr>
                <p:cNvSpPr/>
                <p:nvPr/>
              </p:nvSpPr>
              <p:spPr>
                <a:xfrm>
                  <a:off x="843718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35">
                  <a:extLst>
                    <a:ext uri="{FF2B5EF4-FFF2-40B4-BE49-F238E27FC236}">
                      <a16:creationId xmlns:a16="http://schemas.microsoft.com/office/drawing/2014/main" id="{0399CF66-C8E4-E4C7-44D8-B27D7EA11C1D}"/>
                    </a:ext>
                  </a:extLst>
                </p:cNvPr>
                <p:cNvSpPr/>
                <p:nvPr/>
              </p:nvSpPr>
              <p:spPr>
                <a:xfrm>
                  <a:off x="8394636" y="441451"/>
                  <a:ext cx="89281" cy="66548"/>
                </a:xfrm>
                <a:custGeom>
                  <a:avLst/>
                  <a:gdLst>
                    <a:gd name="connsiteX0" fmla="*/ 68707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: Shape 36">
                  <a:extLst>
                    <a:ext uri="{FF2B5EF4-FFF2-40B4-BE49-F238E27FC236}">
                      <a16:creationId xmlns:a16="http://schemas.microsoft.com/office/drawing/2014/main" id="{903B4043-A469-449F-4AD2-D49C54430C40}"/>
                    </a:ext>
                  </a:extLst>
                </p:cNvPr>
                <p:cNvSpPr/>
                <p:nvPr/>
              </p:nvSpPr>
              <p:spPr>
                <a:xfrm>
                  <a:off x="8352091" y="441451"/>
                  <a:ext cx="89280" cy="66548"/>
                </a:xfrm>
                <a:custGeom>
                  <a:avLst/>
                  <a:gdLst>
                    <a:gd name="connsiteX0" fmla="*/ 68707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: Shape 37">
                  <a:extLst>
                    <a:ext uri="{FF2B5EF4-FFF2-40B4-BE49-F238E27FC236}">
                      <a16:creationId xmlns:a16="http://schemas.microsoft.com/office/drawing/2014/main" id="{569EC27E-06FD-405F-51CC-E8F697B3E96E}"/>
                    </a:ext>
                  </a:extLst>
                </p:cNvPr>
                <p:cNvSpPr/>
                <p:nvPr/>
              </p:nvSpPr>
              <p:spPr>
                <a:xfrm>
                  <a:off x="813930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: Shape 38">
                  <a:extLst>
                    <a:ext uri="{FF2B5EF4-FFF2-40B4-BE49-F238E27FC236}">
                      <a16:creationId xmlns:a16="http://schemas.microsoft.com/office/drawing/2014/main" id="{655BCDD9-F445-6058-1A38-AC4D5753DEDA}"/>
                    </a:ext>
                  </a:extLst>
                </p:cNvPr>
                <p:cNvSpPr/>
                <p:nvPr/>
              </p:nvSpPr>
              <p:spPr>
                <a:xfrm>
                  <a:off x="818184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: Shape 39">
                  <a:extLst>
                    <a:ext uri="{FF2B5EF4-FFF2-40B4-BE49-F238E27FC236}">
                      <a16:creationId xmlns:a16="http://schemas.microsoft.com/office/drawing/2014/main" id="{505DB1D1-1A8E-380A-68F7-C804479C6067}"/>
                    </a:ext>
                  </a:extLst>
                </p:cNvPr>
                <p:cNvSpPr/>
                <p:nvPr/>
              </p:nvSpPr>
              <p:spPr>
                <a:xfrm>
                  <a:off x="8267001" y="441451"/>
                  <a:ext cx="89280" cy="66548"/>
                </a:xfrm>
                <a:custGeom>
                  <a:avLst/>
                  <a:gdLst>
                    <a:gd name="connsiteX0" fmla="*/ 68643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643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: Shape 40">
                  <a:extLst>
                    <a:ext uri="{FF2B5EF4-FFF2-40B4-BE49-F238E27FC236}">
                      <a16:creationId xmlns:a16="http://schemas.microsoft.com/office/drawing/2014/main" id="{CA531091-EBE8-2C0D-8EE5-E58A7C83F08A}"/>
                    </a:ext>
                  </a:extLst>
                </p:cNvPr>
                <p:cNvSpPr/>
                <p:nvPr/>
              </p:nvSpPr>
              <p:spPr>
                <a:xfrm>
                  <a:off x="822439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: Shape 41">
                  <a:extLst>
                    <a:ext uri="{FF2B5EF4-FFF2-40B4-BE49-F238E27FC236}">
                      <a16:creationId xmlns:a16="http://schemas.microsoft.com/office/drawing/2014/main" id="{0F1467BC-784E-84EB-20AD-E8DEDDF258F4}"/>
                    </a:ext>
                  </a:extLst>
                </p:cNvPr>
                <p:cNvSpPr/>
                <p:nvPr/>
              </p:nvSpPr>
              <p:spPr>
                <a:xfrm>
                  <a:off x="8309546" y="441451"/>
                  <a:ext cx="89281" cy="66548"/>
                </a:xfrm>
                <a:custGeom>
                  <a:avLst/>
                  <a:gdLst>
                    <a:gd name="connsiteX0" fmla="*/ 68644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644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: Shape 42">
                  <a:extLst>
                    <a:ext uri="{FF2B5EF4-FFF2-40B4-BE49-F238E27FC236}">
                      <a16:creationId xmlns:a16="http://schemas.microsoft.com/office/drawing/2014/main" id="{2F3BF4B2-90A4-9B07-1A02-4CF1ACE7894E}"/>
                    </a:ext>
                  </a:extLst>
                </p:cNvPr>
                <p:cNvSpPr/>
                <p:nvPr/>
              </p:nvSpPr>
              <p:spPr>
                <a:xfrm>
                  <a:off x="852227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: Shape 43">
                  <a:extLst>
                    <a:ext uri="{FF2B5EF4-FFF2-40B4-BE49-F238E27FC236}">
                      <a16:creationId xmlns:a16="http://schemas.microsoft.com/office/drawing/2014/main" id="{F5DD43A0-B729-B26B-A45D-5FFD23868D64}"/>
                    </a:ext>
                  </a:extLst>
                </p:cNvPr>
                <p:cNvSpPr/>
                <p:nvPr/>
              </p:nvSpPr>
              <p:spPr>
                <a:xfrm>
                  <a:off x="869397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: Shape 44">
                  <a:extLst>
                    <a:ext uri="{FF2B5EF4-FFF2-40B4-BE49-F238E27FC236}">
                      <a16:creationId xmlns:a16="http://schemas.microsoft.com/office/drawing/2014/main" id="{22776CB9-7D6C-F082-DCED-1AAD3028B7B6}"/>
                    </a:ext>
                  </a:extLst>
                </p:cNvPr>
                <p:cNvSpPr/>
                <p:nvPr/>
              </p:nvSpPr>
              <p:spPr>
                <a:xfrm>
                  <a:off x="8821610" y="508000"/>
                  <a:ext cx="6350" cy="6350"/>
                </a:xfrm>
                <a:custGeom>
                  <a:avLst/>
                  <a:gdLst>
                    <a:gd name="connsiteX0" fmla="*/ 0 w 6350"/>
                    <a:gd name="connsiteY0" fmla="*/ 0 h 6350"/>
                    <a:gd name="connsiteX1" fmla="*/ 0 w 6350"/>
                    <a:gd name="connsiteY1" fmla="*/ 0 h 6350"/>
                    <a:gd name="connsiteX2" fmla="*/ 0 w 6350"/>
                    <a:gd name="connsiteY2" fmla="*/ 0 h 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0" h="635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: Shape 45">
                  <a:extLst>
                    <a:ext uri="{FF2B5EF4-FFF2-40B4-BE49-F238E27FC236}">
                      <a16:creationId xmlns:a16="http://schemas.microsoft.com/office/drawing/2014/main" id="{4CA51076-AC10-D205-4B11-C74286956603}"/>
                    </a:ext>
                  </a:extLst>
                </p:cNvPr>
                <p:cNvSpPr/>
                <p:nvPr/>
              </p:nvSpPr>
              <p:spPr>
                <a:xfrm>
                  <a:off x="8564816" y="441451"/>
                  <a:ext cx="90868" cy="66548"/>
                </a:xfrm>
                <a:custGeom>
                  <a:avLst/>
                  <a:gdLst>
                    <a:gd name="connsiteX0" fmla="*/ 68707 w 90868"/>
                    <a:gd name="connsiteY0" fmla="*/ 0 h 66548"/>
                    <a:gd name="connsiteX1" fmla="*/ 0 w 90868"/>
                    <a:gd name="connsiteY1" fmla="*/ 66548 h 66548"/>
                    <a:gd name="connsiteX2" fmla="*/ 22161 w 90868"/>
                    <a:gd name="connsiteY2" fmla="*/ 66548 h 66548"/>
                    <a:gd name="connsiteX3" fmla="*/ 90868 w 90868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0868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2161" y="66548"/>
                      </a:lnTo>
                      <a:lnTo>
                        <a:pt x="90868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: Shape 46">
                  <a:extLst>
                    <a:ext uri="{FF2B5EF4-FFF2-40B4-BE49-F238E27FC236}">
                      <a16:creationId xmlns:a16="http://schemas.microsoft.com/office/drawing/2014/main" id="{0AB37F7E-8C94-03F0-D36E-8526B4D80E9A}"/>
                    </a:ext>
                  </a:extLst>
                </p:cNvPr>
                <p:cNvSpPr/>
                <p:nvPr/>
              </p:nvSpPr>
              <p:spPr>
                <a:xfrm>
                  <a:off x="8651430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: Shape 47">
                  <a:extLst>
                    <a:ext uri="{FF2B5EF4-FFF2-40B4-BE49-F238E27FC236}">
                      <a16:creationId xmlns:a16="http://schemas.microsoft.com/office/drawing/2014/main" id="{300C028B-6F12-4E71-CE6D-369775495C90}"/>
                    </a:ext>
                  </a:extLst>
                </p:cNvPr>
                <p:cNvSpPr/>
                <p:nvPr/>
              </p:nvSpPr>
              <p:spPr>
                <a:xfrm>
                  <a:off x="860888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: Shape 48">
                  <a:extLst>
                    <a:ext uri="{FF2B5EF4-FFF2-40B4-BE49-F238E27FC236}">
                      <a16:creationId xmlns:a16="http://schemas.microsoft.com/office/drawing/2014/main" id="{11530266-1119-CB42-D298-2CD7DAC86EC4}"/>
                    </a:ext>
                  </a:extLst>
                </p:cNvPr>
                <p:cNvSpPr/>
                <p:nvPr/>
              </p:nvSpPr>
              <p:spPr>
                <a:xfrm>
                  <a:off x="809675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: Shape 49">
                  <a:extLst>
                    <a:ext uri="{FF2B5EF4-FFF2-40B4-BE49-F238E27FC236}">
                      <a16:creationId xmlns:a16="http://schemas.microsoft.com/office/drawing/2014/main" id="{AB6B6D94-378B-73A2-670F-17E7AA905679}"/>
                    </a:ext>
                  </a:extLst>
                </p:cNvPr>
                <p:cNvSpPr/>
                <p:nvPr/>
              </p:nvSpPr>
              <p:spPr>
                <a:xfrm>
                  <a:off x="801166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: Shape 50">
                  <a:extLst>
                    <a:ext uri="{FF2B5EF4-FFF2-40B4-BE49-F238E27FC236}">
                      <a16:creationId xmlns:a16="http://schemas.microsoft.com/office/drawing/2014/main" id="{6CD5528C-8CC5-D9FC-E0A5-83EDEAA841D0}"/>
                    </a:ext>
                  </a:extLst>
                </p:cNvPr>
                <p:cNvSpPr/>
                <p:nvPr/>
              </p:nvSpPr>
              <p:spPr>
                <a:xfrm>
                  <a:off x="805421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: Shape 51">
                  <a:extLst>
                    <a:ext uri="{FF2B5EF4-FFF2-40B4-BE49-F238E27FC236}">
                      <a16:creationId xmlns:a16="http://schemas.microsoft.com/office/drawing/2014/main" id="{45B59707-84D1-F53F-2625-D04A5BB9090A}"/>
                    </a:ext>
                  </a:extLst>
                </p:cNvPr>
                <p:cNvSpPr/>
                <p:nvPr/>
              </p:nvSpPr>
              <p:spPr>
                <a:xfrm>
                  <a:off x="7969122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: Shape 52">
                  <a:extLst>
                    <a:ext uri="{FF2B5EF4-FFF2-40B4-BE49-F238E27FC236}">
                      <a16:creationId xmlns:a16="http://schemas.microsoft.com/office/drawing/2014/main" id="{A59F7389-81A0-BCB0-AE0C-6BC82F77B484}"/>
                    </a:ext>
                  </a:extLst>
                </p:cNvPr>
                <p:cNvSpPr/>
                <p:nvPr/>
              </p:nvSpPr>
              <p:spPr>
                <a:xfrm>
                  <a:off x="792657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3D493A44-CDEA-8098-D9A8-11314348C667}"/>
                  </a:ext>
                </a:extLst>
              </p:cNvPr>
              <p:cNvGrpSpPr/>
              <p:nvPr userDrawn="1"/>
            </p:nvGrpSpPr>
            <p:grpSpPr>
              <a:xfrm rot="10800000" flipV="1">
                <a:off x="2780760" y="2715971"/>
                <a:ext cx="53143" cy="379249"/>
                <a:chOff x="5390750" y="3681616"/>
                <a:chExt cx="73151" cy="522033"/>
              </a:xfrm>
            </p:grpSpPr>
            <p:sp>
              <p:nvSpPr>
                <p:cNvPr id="160" name="Freeform: Shape 26">
                  <a:extLst>
                    <a:ext uri="{FF2B5EF4-FFF2-40B4-BE49-F238E27FC236}">
                      <a16:creationId xmlns:a16="http://schemas.microsoft.com/office/drawing/2014/main" id="{5ECF910E-AA7B-B711-092F-925FA315EB72}"/>
                    </a:ext>
                  </a:extLst>
                </p:cNvPr>
                <p:cNvSpPr/>
                <p:nvPr/>
              </p:nvSpPr>
              <p:spPr>
                <a:xfrm rot="16200000" flipH="1">
                  <a:off x="5405100" y="3681616"/>
                  <a:ext cx="43688" cy="43687"/>
                </a:xfrm>
                <a:custGeom>
                  <a:avLst/>
                  <a:gdLst>
                    <a:gd name="connsiteX0" fmla="*/ 0 w 43688"/>
                    <a:gd name="connsiteY0" fmla="*/ 0 h 43687"/>
                    <a:gd name="connsiteX1" fmla="*/ 43688 w 43688"/>
                    <a:gd name="connsiteY1" fmla="*/ 0 h 43687"/>
                    <a:gd name="connsiteX2" fmla="*/ 43688 w 43688"/>
                    <a:gd name="connsiteY2" fmla="*/ 43688 h 43687"/>
                    <a:gd name="connsiteX3" fmla="*/ 0 w 43688"/>
                    <a:gd name="connsiteY3" fmla="*/ 43688 h 43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88" h="43687">
                      <a:moveTo>
                        <a:pt x="0" y="0"/>
                      </a:moveTo>
                      <a:lnTo>
                        <a:pt x="43688" y="0"/>
                      </a:lnTo>
                      <a:lnTo>
                        <a:pt x="43688" y="43688"/>
                      </a:lnTo>
                      <a:lnTo>
                        <a:pt x="0" y="43688"/>
                      </a:lnTo>
                      <a:close/>
                    </a:path>
                  </a:pathLst>
                </a:custGeom>
                <a:noFill/>
                <a:ln w="3175" cap="flat">
                  <a:solidFill>
                    <a:schemeClr val="bg1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27">
                  <a:extLst>
                    <a:ext uri="{FF2B5EF4-FFF2-40B4-BE49-F238E27FC236}">
                      <a16:creationId xmlns:a16="http://schemas.microsoft.com/office/drawing/2014/main" id="{1331BBD7-D8C4-9E35-4A30-63ACDEF73CD1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81062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: Shape 28">
                  <a:extLst>
                    <a:ext uri="{FF2B5EF4-FFF2-40B4-BE49-F238E27FC236}">
                      <a16:creationId xmlns:a16="http://schemas.microsoft.com/office/drawing/2014/main" id="{218E55AB-641E-F037-0254-BD1182A47048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21394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: Shape 29">
                  <a:extLst>
                    <a:ext uri="{FF2B5EF4-FFF2-40B4-BE49-F238E27FC236}">
                      <a16:creationId xmlns:a16="http://schemas.microsoft.com/office/drawing/2014/main" id="{02C3BA52-27E7-838D-F672-A7C937E6AAC4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02056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: Shape 30">
                  <a:extLst>
                    <a:ext uri="{FF2B5EF4-FFF2-40B4-BE49-F238E27FC236}">
                      <a16:creationId xmlns:a16="http://schemas.microsoft.com/office/drawing/2014/main" id="{65AF750C-86D6-41B1-0583-0A578A8E2116}"/>
                    </a:ext>
                  </a:extLst>
                </p:cNvPr>
                <p:cNvSpPr/>
                <p:nvPr/>
              </p:nvSpPr>
              <p:spPr>
                <a:xfrm rot="10800000" flipH="1">
                  <a:off x="5407069" y="4165549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31">
                  <a:extLst>
                    <a:ext uri="{FF2B5EF4-FFF2-40B4-BE49-F238E27FC236}">
                      <a16:creationId xmlns:a16="http://schemas.microsoft.com/office/drawing/2014/main" id="{BD28D215-B44F-6DF5-1261-6B60F25E3229}"/>
                    </a:ext>
                  </a:extLst>
                </p:cNvPr>
                <p:cNvSpPr/>
                <p:nvPr/>
              </p:nvSpPr>
              <p:spPr>
                <a:xfrm rot="16200000" flipH="1">
                  <a:off x="5407387" y="3776295"/>
                  <a:ext cx="39878" cy="73151"/>
                </a:xfrm>
                <a:custGeom>
                  <a:avLst/>
                  <a:gdLst>
                    <a:gd name="connsiteX0" fmla="*/ 39878 w 39878"/>
                    <a:gd name="connsiteY0" fmla="*/ 38671 h 73151"/>
                    <a:gd name="connsiteX1" fmla="*/ 2413 w 39878"/>
                    <a:gd name="connsiteY1" fmla="*/ 73152 h 73151"/>
                    <a:gd name="connsiteX2" fmla="*/ 0 w 39878"/>
                    <a:gd name="connsiteY2" fmla="*/ 69913 h 73151"/>
                    <a:gd name="connsiteX3" fmla="*/ 36131 w 39878"/>
                    <a:gd name="connsiteY3" fmla="*/ 36576 h 73151"/>
                    <a:gd name="connsiteX4" fmla="*/ 0 w 39878"/>
                    <a:gd name="connsiteY4" fmla="*/ 3238 h 73151"/>
                    <a:gd name="connsiteX5" fmla="*/ 2413 w 39878"/>
                    <a:gd name="connsiteY5" fmla="*/ 0 h 73151"/>
                    <a:gd name="connsiteX6" fmla="*/ 39878 w 39878"/>
                    <a:gd name="connsiteY6" fmla="*/ 34481 h 73151"/>
                    <a:gd name="connsiteX7" fmla="*/ 39878 w 39878"/>
                    <a:gd name="connsiteY7" fmla="*/ 38671 h 73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878" h="73151">
                      <a:moveTo>
                        <a:pt x="39878" y="38671"/>
                      </a:moveTo>
                      <a:lnTo>
                        <a:pt x="2413" y="73152"/>
                      </a:lnTo>
                      <a:lnTo>
                        <a:pt x="0" y="69913"/>
                      </a:lnTo>
                      <a:lnTo>
                        <a:pt x="36131" y="36576"/>
                      </a:lnTo>
                      <a:lnTo>
                        <a:pt x="0" y="3238"/>
                      </a:lnTo>
                      <a:lnTo>
                        <a:pt x="2413" y="0"/>
                      </a:lnTo>
                      <a:lnTo>
                        <a:pt x="39878" y="34481"/>
                      </a:lnTo>
                      <a:lnTo>
                        <a:pt x="39878" y="38671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: Shape 32">
                  <a:extLst>
                    <a:ext uri="{FF2B5EF4-FFF2-40B4-BE49-F238E27FC236}">
                      <a16:creationId xmlns:a16="http://schemas.microsoft.com/office/drawing/2014/main" id="{D8BEF40A-E0B2-BE7D-2DFE-4A8EF6905FF6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61725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7AF4D4E5-8D7F-5096-CA92-F9D5C6C9D7AC}"/>
                </a:ext>
              </a:extLst>
            </p:cNvPr>
            <p:cNvSpPr/>
            <p:nvPr userDrawn="1"/>
          </p:nvSpPr>
          <p:spPr>
            <a:xfrm>
              <a:off x="862265" y="1612232"/>
              <a:ext cx="2224760" cy="4162926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  <a:gd name="connsiteX0" fmla="*/ 102 w 1720704"/>
                <a:gd name="connsiteY0" fmla="*/ 0 h 4202853"/>
                <a:gd name="connsiteX1" fmla="*/ 212558 w 1720704"/>
                <a:gd name="connsiteY1" fmla="*/ 1544 h 4202853"/>
                <a:gd name="connsiteX2" fmla="*/ 1246205 w 1720704"/>
                <a:gd name="connsiteY2" fmla="*/ 2180 h 4202853"/>
                <a:gd name="connsiteX3" fmla="*/ 1700076 w 1720704"/>
                <a:gd name="connsiteY3" fmla="*/ 435885 h 4202853"/>
                <a:gd name="connsiteX4" fmla="*/ 1720704 w 1720704"/>
                <a:gd name="connsiteY4" fmla="*/ 4202853 h 4202853"/>
                <a:gd name="connsiteX5" fmla="*/ 1518326 w 1720704"/>
                <a:gd name="connsiteY5" fmla="*/ 4202853 h 4202853"/>
                <a:gd name="connsiteX6" fmla="*/ 0 w 1720704"/>
                <a:gd name="connsiteY6" fmla="*/ 4201611 h 4202853"/>
                <a:gd name="connsiteX0" fmla="*/ 212558 w 1720704"/>
                <a:gd name="connsiteY0" fmla="*/ 0 h 4201309"/>
                <a:gd name="connsiteX1" fmla="*/ 1246205 w 1720704"/>
                <a:gd name="connsiteY1" fmla="*/ 636 h 4201309"/>
                <a:gd name="connsiteX2" fmla="*/ 1700076 w 1720704"/>
                <a:gd name="connsiteY2" fmla="*/ 434341 h 4201309"/>
                <a:gd name="connsiteX3" fmla="*/ 1720704 w 1720704"/>
                <a:gd name="connsiteY3" fmla="*/ 4201309 h 4201309"/>
                <a:gd name="connsiteX4" fmla="*/ 1518326 w 1720704"/>
                <a:gd name="connsiteY4" fmla="*/ 4201309 h 4201309"/>
                <a:gd name="connsiteX5" fmla="*/ 0 w 1720704"/>
                <a:gd name="connsiteY5" fmla="*/ 4200067 h 4201309"/>
                <a:gd name="connsiteX0" fmla="*/ 212558 w 1720704"/>
                <a:gd name="connsiteY0" fmla="*/ 0 h 4205294"/>
                <a:gd name="connsiteX1" fmla="*/ 1246205 w 1720704"/>
                <a:gd name="connsiteY1" fmla="*/ 636 h 4205294"/>
                <a:gd name="connsiteX2" fmla="*/ 1700076 w 1720704"/>
                <a:gd name="connsiteY2" fmla="*/ 434341 h 4205294"/>
                <a:gd name="connsiteX3" fmla="*/ 1720704 w 1720704"/>
                <a:gd name="connsiteY3" fmla="*/ 4201309 h 4205294"/>
                <a:gd name="connsiteX4" fmla="*/ 1518326 w 1720704"/>
                <a:gd name="connsiteY4" fmla="*/ 4201309 h 4205294"/>
                <a:gd name="connsiteX5" fmla="*/ 217694 w 1720704"/>
                <a:gd name="connsiteY5" fmla="*/ 4205294 h 4205294"/>
                <a:gd name="connsiteX6" fmla="*/ 0 w 1720704"/>
                <a:gd name="connsiteY6" fmla="*/ 4200067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305768 w 1508146"/>
                <a:gd name="connsiteY4" fmla="*/ 4201309 h 4205294"/>
                <a:gd name="connsiteX5" fmla="*/ 5136 w 1508146"/>
                <a:gd name="connsiteY5" fmla="*/ 4205294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424134 w 1508146"/>
                <a:gd name="connsiteY4" fmla="*/ 4202255 h 4205294"/>
                <a:gd name="connsiteX5" fmla="*/ 1305768 w 1508146"/>
                <a:gd name="connsiteY5" fmla="*/ 4201309 h 4205294"/>
                <a:gd name="connsiteX6" fmla="*/ 5136 w 1508146"/>
                <a:gd name="connsiteY6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87518 w 1509361"/>
                <a:gd name="connsiteY2" fmla="*/ 434341 h 4205294"/>
                <a:gd name="connsiteX3" fmla="*/ 1424134 w 1509361"/>
                <a:gd name="connsiteY3" fmla="*/ 4202255 h 4205294"/>
                <a:gd name="connsiteX4" fmla="*/ 1305768 w 1509361"/>
                <a:gd name="connsiteY4" fmla="*/ 4201309 h 4205294"/>
                <a:gd name="connsiteX5" fmla="*/ 5136 w 1509361"/>
                <a:gd name="connsiteY5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22915 w 1509361"/>
                <a:gd name="connsiteY2" fmla="*/ 376572 h 4205294"/>
                <a:gd name="connsiteX3" fmla="*/ 1487518 w 1509361"/>
                <a:gd name="connsiteY3" fmla="*/ 434341 h 4205294"/>
                <a:gd name="connsiteX4" fmla="*/ 1424134 w 1509361"/>
                <a:gd name="connsiteY4" fmla="*/ 4202255 h 4205294"/>
                <a:gd name="connsiteX5" fmla="*/ 1305768 w 1509361"/>
                <a:gd name="connsiteY5" fmla="*/ 4201309 h 4205294"/>
                <a:gd name="connsiteX6" fmla="*/ 5136 w 1509361"/>
                <a:gd name="connsiteY6" fmla="*/ 4205294 h 4205294"/>
                <a:gd name="connsiteX0" fmla="*/ 0 w 1457094"/>
                <a:gd name="connsiteY0" fmla="*/ 50479 h 4255773"/>
                <a:gd name="connsiteX1" fmla="*/ 1033647 w 1457094"/>
                <a:gd name="connsiteY1" fmla="*/ 51115 h 4255773"/>
                <a:gd name="connsiteX2" fmla="*/ 1422915 w 1457094"/>
                <a:gd name="connsiteY2" fmla="*/ 427051 h 4255773"/>
                <a:gd name="connsiteX3" fmla="*/ 1424134 w 1457094"/>
                <a:gd name="connsiteY3" fmla="*/ 4252734 h 4255773"/>
                <a:gd name="connsiteX4" fmla="*/ 1305768 w 1457094"/>
                <a:gd name="connsiteY4" fmla="*/ 4251788 h 4255773"/>
                <a:gd name="connsiteX5" fmla="*/ 5136 w 1457094"/>
                <a:gd name="connsiteY5" fmla="*/ 4255773 h 4255773"/>
                <a:gd name="connsiteX0" fmla="*/ 0 w 1432100"/>
                <a:gd name="connsiteY0" fmla="*/ 50479 h 4255773"/>
                <a:gd name="connsiteX1" fmla="*/ 1033647 w 1432100"/>
                <a:gd name="connsiteY1" fmla="*/ 51115 h 4255773"/>
                <a:gd name="connsiteX2" fmla="*/ 1422915 w 1432100"/>
                <a:gd name="connsiteY2" fmla="*/ 427051 h 4255773"/>
                <a:gd name="connsiteX3" fmla="*/ 1424134 w 1432100"/>
                <a:gd name="connsiteY3" fmla="*/ 4252734 h 4255773"/>
                <a:gd name="connsiteX4" fmla="*/ 1305768 w 1432100"/>
                <a:gd name="connsiteY4" fmla="*/ 4251788 h 4255773"/>
                <a:gd name="connsiteX5" fmla="*/ 5136 w 1432100"/>
                <a:gd name="connsiteY5" fmla="*/ 4255773 h 4255773"/>
                <a:gd name="connsiteX0" fmla="*/ 0 w 1434720"/>
                <a:gd name="connsiteY0" fmla="*/ 50479 h 4255773"/>
                <a:gd name="connsiteX1" fmla="*/ 1033647 w 1434720"/>
                <a:gd name="connsiteY1" fmla="*/ 51115 h 4255773"/>
                <a:gd name="connsiteX2" fmla="*/ 1422915 w 1434720"/>
                <a:gd name="connsiteY2" fmla="*/ 427051 h 4255773"/>
                <a:gd name="connsiteX3" fmla="*/ 1424134 w 1434720"/>
                <a:gd name="connsiteY3" fmla="*/ 4252734 h 4255773"/>
                <a:gd name="connsiteX4" fmla="*/ 1305768 w 1434720"/>
                <a:gd name="connsiteY4" fmla="*/ 4251788 h 4255773"/>
                <a:gd name="connsiteX5" fmla="*/ 5136 w 1434720"/>
                <a:gd name="connsiteY5" fmla="*/ 4255773 h 4255773"/>
                <a:gd name="connsiteX0" fmla="*/ 0 w 1432860"/>
                <a:gd name="connsiteY0" fmla="*/ 50479 h 4255773"/>
                <a:gd name="connsiteX1" fmla="*/ 1033647 w 1432860"/>
                <a:gd name="connsiteY1" fmla="*/ 51115 h 4255773"/>
                <a:gd name="connsiteX2" fmla="*/ 1422915 w 1432860"/>
                <a:gd name="connsiteY2" fmla="*/ 427051 h 4255773"/>
                <a:gd name="connsiteX3" fmla="*/ 1424134 w 1432860"/>
                <a:gd name="connsiteY3" fmla="*/ 4252734 h 4255773"/>
                <a:gd name="connsiteX4" fmla="*/ 1305768 w 1432860"/>
                <a:gd name="connsiteY4" fmla="*/ 4251788 h 4255773"/>
                <a:gd name="connsiteX5" fmla="*/ 5136 w 1432860"/>
                <a:gd name="connsiteY5" fmla="*/ 4255773 h 4255773"/>
                <a:gd name="connsiteX0" fmla="*/ 0 w 1424727"/>
                <a:gd name="connsiteY0" fmla="*/ 50479 h 4255773"/>
                <a:gd name="connsiteX1" fmla="*/ 1033647 w 1424727"/>
                <a:gd name="connsiteY1" fmla="*/ 51115 h 4255773"/>
                <a:gd name="connsiteX2" fmla="*/ 1422915 w 1424727"/>
                <a:gd name="connsiteY2" fmla="*/ 427051 h 4255773"/>
                <a:gd name="connsiteX3" fmla="*/ 1424134 w 1424727"/>
                <a:gd name="connsiteY3" fmla="*/ 4252734 h 4255773"/>
                <a:gd name="connsiteX4" fmla="*/ 1305768 w 1424727"/>
                <a:gd name="connsiteY4" fmla="*/ 4251788 h 4255773"/>
                <a:gd name="connsiteX5" fmla="*/ 5136 w 1424727"/>
                <a:gd name="connsiteY5" fmla="*/ 4255773 h 4255773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4727" h="4205294">
                  <a:moveTo>
                    <a:pt x="0" y="0"/>
                  </a:moveTo>
                  <a:lnTo>
                    <a:pt x="1033647" y="636"/>
                  </a:lnTo>
                  <a:cubicBezTo>
                    <a:pt x="1263479" y="213500"/>
                    <a:pt x="1167521" y="115063"/>
                    <a:pt x="1422915" y="376572"/>
                  </a:cubicBezTo>
                  <a:cubicBezTo>
                    <a:pt x="1424558" y="1178834"/>
                    <a:pt x="1425359" y="3578270"/>
                    <a:pt x="1424134" y="4202255"/>
                  </a:cubicBezTo>
                  <a:lnTo>
                    <a:pt x="1305768" y="4201309"/>
                  </a:lnTo>
                  <a:lnTo>
                    <a:pt x="5136" y="4205294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2B0F692-D51B-6939-D49B-BD7ABCBECA6E}"/>
              </a:ext>
            </a:extLst>
          </p:cNvPr>
          <p:cNvCxnSpPr>
            <a:cxnSpLocks/>
          </p:cNvCxnSpPr>
          <p:nvPr userDrawn="1"/>
        </p:nvCxnSpPr>
        <p:spPr>
          <a:xfrm>
            <a:off x="864207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202BF986-E261-306E-D684-B1AD206947D6}"/>
              </a:ext>
            </a:extLst>
          </p:cNvPr>
          <p:cNvSpPr>
            <a:spLocks noGrp="1"/>
          </p:cNvSpPr>
          <p:nvPr>
            <p:ph type="pic" idx="35" hasCustomPrompt="1"/>
          </p:nvPr>
        </p:nvSpPr>
        <p:spPr>
          <a:xfrm>
            <a:off x="3745717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8CA6A11-9D6D-A986-B065-970346E4573E}"/>
              </a:ext>
            </a:extLst>
          </p:cNvPr>
          <p:cNvGrpSpPr/>
          <p:nvPr userDrawn="1"/>
        </p:nvGrpSpPr>
        <p:grpSpPr>
          <a:xfrm>
            <a:off x="3732852" y="1612232"/>
            <a:ext cx="2338382" cy="4162926"/>
            <a:chOff x="862265" y="1612232"/>
            <a:chExt cx="2338382" cy="4162926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3D86D3E2-F499-4743-D89E-63C7F8C278C9}"/>
                </a:ext>
              </a:extLst>
            </p:cNvPr>
            <p:cNvGrpSpPr/>
            <p:nvPr userDrawn="1"/>
          </p:nvGrpSpPr>
          <p:grpSpPr>
            <a:xfrm>
              <a:off x="3147504" y="2061539"/>
              <a:ext cx="53143" cy="1085389"/>
              <a:chOff x="2780760" y="2009831"/>
              <a:chExt cx="53143" cy="1085389"/>
            </a:xfrm>
          </p:grpSpPr>
          <p:grpSp>
            <p:nvGrpSpPr>
              <p:cNvPr id="49" name="Graphic 42">
                <a:extLst>
                  <a:ext uri="{FF2B5EF4-FFF2-40B4-BE49-F238E27FC236}">
                    <a16:creationId xmlns:a16="http://schemas.microsoft.com/office/drawing/2014/main" id="{4706BBD7-5E58-F3D5-D908-BE03DFB37444}"/>
                  </a:ext>
                </a:extLst>
              </p:cNvPr>
              <p:cNvGrpSpPr/>
              <p:nvPr userDrawn="1"/>
            </p:nvGrpSpPr>
            <p:grpSpPr>
              <a:xfrm rot="16200000" flipH="1" flipV="1">
                <a:off x="2482218" y="2310772"/>
                <a:ext cx="650227" cy="48346"/>
                <a:chOff x="7926578" y="441451"/>
                <a:chExt cx="895032" cy="66548"/>
              </a:xfrm>
              <a:solidFill>
                <a:srgbClr val="75BF43">
                  <a:alpha val="57000"/>
                </a:srgbClr>
              </a:solidFill>
            </p:grpSpPr>
            <p:sp>
              <p:nvSpPr>
                <p:cNvPr id="90" name="Freeform: Shape 33">
                  <a:extLst>
                    <a:ext uri="{FF2B5EF4-FFF2-40B4-BE49-F238E27FC236}">
                      <a16:creationId xmlns:a16="http://schemas.microsoft.com/office/drawing/2014/main" id="{04AFF83B-DC21-8E6F-99E0-EF368DB8315E}"/>
                    </a:ext>
                  </a:extLst>
                </p:cNvPr>
                <p:cNvSpPr/>
                <p:nvPr/>
              </p:nvSpPr>
              <p:spPr>
                <a:xfrm>
                  <a:off x="8479726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: Shape 34">
                  <a:extLst>
                    <a:ext uri="{FF2B5EF4-FFF2-40B4-BE49-F238E27FC236}">
                      <a16:creationId xmlns:a16="http://schemas.microsoft.com/office/drawing/2014/main" id="{F78AFB3F-D08C-B51C-93BC-D1B405273C9A}"/>
                    </a:ext>
                  </a:extLst>
                </p:cNvPr>
                <p:cNvSpPr/>
                <p:nvPr/>
              </p:nvSpPr>
              <p:spPr>
                <a:xfrm>
                  <a:off x="843718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: Shape 35">
                  <a:extLst>
                    <a:ext uri="{FF2B5EF4-FFF2-40B4-BE49-F238E27FC236}">
                      <a16:creationId xmlns:a16="http://schemas.microsoft.com/office/drawing/2014/main" id="{CA0B00BD-91FA-E780-AA17-486DD4E51761}"/>
                    </a:ext>
                  </a:extLst>
                </p:cNvPr>
                <p:cNvSpPr/>
                <p:nvPr/>
              </p:nvSpPr>
              <p:spPr>
                <a:xfrm>
                  <a:off x="8394636" y="441451"/>
                  <a:ext cx="89281" cy="66548"/>
                </a:xfrm>
                <a:custGeom>
                  <a:avLst/>
                  <a:gdLst>
                    <a:gd name="connsiteX0" fmla="*/ 68707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: Shape 36">
                  <a:extLst>
                    <a:ext uri="{FF2B5EF4-FFF2-40B4-BE49-F238E27FC236}">
                      <a16:creationId xmlns:a16="http://schemas.microsoft.com/office/drawing/2014/main" id="{17914F26-58CF-3210-CEA9-94CCCEAA2AA7}"/>
                    </a:ext>
                  </a:extLst>
                </p:cNvPr>
                <p:cNvSpPr/>
                <p:nvPr/>
              </p:nvSpPr>
              <p:spPr>
                <a:xfrm>
                  <a:off x="8352091" y="441451"/>
                  <a:ext cx="89280" cy="66548"/>
                </a:xfrm>
                <a:custGeom>
                  <a:avLst/>
                  <a:gdLst>
                    <a:gd name="connsiteX0" fmla="*/ 68707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: Shape 37">
                  <a:extLst>
                    <a:ext uri="{FF2B5EF4-FFF2-40B4-BE49-F238E27FC236}">
                      <a16:creationId xmlns:a16="http://schemas.microsoft.com/office/drawing/2014/main" id="{5CEFF1E6-0CEA-CFD7-1E83-186C94BFC7F6}"/>
                    </a:ext>
                  </a:extLst>
                </p:cNvPr>
                <p:cNvSpPr/>
                <p:nvPr/>
              </p:nvSpPr>
              <p:spPr>
                <a:xfrm>
                  <a:off x="813930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: Shape 38">
                  <a:extLst>
                    <a:ext uri="{FF2B5EF4-FFF2-40B4-BE49-F238E27FC236}">
                      <a16:creationId xmlns:a16="http://schemas.microsoft.com/office/drawing/2014/main" id="{79531B51-6BAD-110E-5578-E9C9924C1916}"/>
                    </a:ext>
                  </a:extLst>
                </p:cNvPr>
                <p:cNvSpPr/>
                <p:nvPr/>
              </p:nvSpPr>
              <p:spPr>
                <a:xfrm>
                  <a:off x="818184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: Shape 39">
                  <a:extLst>
                    <a:ext uri="{FF2B5EF4-FFF2-40B4-BE49-F238E27FC236}">
                      <a16:creationId xmlns:a16="http://schemas.microsoft.com/office/drawing/2014/main" id="{95B45C6C-27F2-AD69-1BE4-43CDD9DFB1EF}"/>
                    </a:ext>
                  </a:extLst>
                </p:cNvPr>
                <p:cNvSpPr/>
                <p:nvPr/>
              </p:nvSpPr>
              <p:spPr>
                <a:xfrm>
                  <a:off x="8267001" y="441451"/>
                  <a:ext cx="89280" cy="66548"/>
                </a:xfrm>
                <a:custGeom>
                  <a:avLst/>
                  <a:gdLst>
                    <a:gd name="connsiteX0" fmla="*/ 68643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643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Freeform: Shape 40">
                  <a:extLst>
                    <a:ext uri="{FF2B5EF4-FFF2-40B4-BE49-F238E27FC236}">
                      <a16:creationId xmlns:a16="http://schemas.microsoft.com/office/drawing/2014/main" id="{DAF7EAB0-94AA-2F53-8AAD-E9B956DE5C5D}"/>
                    </a:ext>
                  </a:extLst>
                </p:cNvPr>
                <p:cNvSpPr/>
                <p:nvPr/>
              </p:nvSpPr>
              <p:spPr>
                <a:xfrm>
                  <a:off x="822439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: Shape 41">
                  <a:extLst>
                    <a:ext uri="{FF2B5EF4-FFF2-40B4-BE49-F238E27FC236}">
                      <a16:creationId xmlns:a16="http://schemas.microsoft.com/office/drawing/2014/main" id="{0465FE23-155B-DDCF-EF83-9F7BDEA78A83}"/>
                    </a:ext>
                  </a:extLst>
                </p:cNvPr>
                <p:cNvSpPr/>
                <p:nvPr/>
              </p:nvSpPr>
              <p:spPr>
                <a:xfrm>
                  <a:off x="8309546" y="441451"/>
                  <a:ext cx="89281" cy="66548"/>
                </a:xfrm>
                <a:custGeom>
                  <a:avLst/>
                  <a:gdLst>
                    <a:gd name="connsiteX0" fmla="*/ 68644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644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: Shape 42">
                  <a:extLst>
                    <a:ext uri="{FF2B5EF4-FFF2-40B4-BE49-F238E27FC236}">
                      <a16:creationId xmlns:a16="http://schemas.microsoft.com/office/drawing/2014/main" id="{A026197E-817F-584F-38E6-706796CA7372}"/>
                    </a:ext>
                  </a:extLst>
                </p:cNvPr>
                <p:cNvSpPr/>
                <p:nvPr/>
              </p:nvSpPr>
              <p:spPr>
                <a:xfrm>
                  <a:off x="852227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Freeform: Shape 43">
                  <a:extLst>
                    <a:ext uri="{FF2B5EF4-FFF2-40B4-BE49-F238E27FC236}">
                      <a16:creationId xmlns:a16="http://schemas.microsoft.com/office/drawing/2014/main" id="{F154105D-0C41-B993-3831-4980F4AF5896}"/>
                    </a:ext>
                  </a:extLst>
                </p:cNvPr>
                <p:cNvSpPr/>
                <p:nvPr/>
              </p:nvSpPr>
              <p:spPr>
                <a:xfrm>
                  <a:off x="869397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Freeform: Shape 44">
                  <a:extLst>
                    <a:ext uri="{FF2B5EF4-FFF2-40B4-BE49-F238E27FC236}">
                      <a16:creationId xmlns:a16="http://schemas.microsoft.com/office/drawing/2014/main" id="{01548E2E-0911-1706-6B05-379E915C23AC}"/>
                    </a:ext>
                  </a:extLst>
                </p:cNvPr>
                <p:cNvSpPr/>
                <p:nvPr/>
              </p:nvSpPr>
              <p:spPr>
                <a:xfrm>
                  <a:off x="8821610" y="508000"/>
                  <a:ext cx="6350" cy="6350"/>
                </a:xfrm>
                <a:custGeom>
                  <a:avLst/>
                  <a:gdLst>
                    <a:gd name="connsiteX0" fmla="*/ 0 w 6350"/>
                    <a:gd name="connsiteY0" fmla="*/ 0 h 6350"/>
                    <a:gd name="connsiteX1" fmla="*/ 0 w 6350"/>
                    <a:gd name="connsiteY1" fmla="*/ 0 h 6350"/>
                    <a:gd name="connsiteX2" fmla="*/ 0 w 6350"/>
                    <a:gd name="connsiteY2" fmla="*/ 0 h 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0" h="635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Freeform: Shape 45">
                  <a:extLst>
                    <a:ext uri="{FF2B5EF4-FFF2-40B4-BE49-F238E27FC236}">
                      <a16:creationId xmlns:a16="http://schemas.microsoft.com/office/drawing/2014/main" id="{FC1B0BA4-B1D3-75B1-4637-D8557ADF3F7F}"/>
                    </a:ext>
                  </a:extLst>
                </p:cNvPr>
                <p:cNvSpPr/>
                <p:nvPr/>
              </p:nvSpPr>
              <p:spPr>
                <a:xfrm>
                  <a:off x="8564816" y="441451"/>
                  <a:ext cx="90868" cy="66548"/>
                </a:xfrm>
                <a:custGeom>
                  <a:avLst/>
                  <a:gdLst>
                    <a:gd name="connsiteX0" fmla="*/ 68707 w 90868"/>
                    <a:gd name="connsiteY0" fmla="*/ 0 h 66548"/>
                    <a:gd name="connsiteX1" fmla="*/ 0 w 90868"/>
                    <a:gd name="connsiteY1" fmla="*/ 66548 h 66548"/>
                    <a:gd name="connsiteX2" fmla="*/ 22161 w 90868"/>
                    <a:gd name="connsiteY2" fmla="*/ 66548 h 66548"/>
                    <a:gd name="connsiteX3" fmla="*/ 90868 w 90868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0868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2161" y="66548"/>
                      </a:lnTo>
                      <a:lnTo>
                        <a:pt x="90868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: Shape 46">
                  <a:extLst>
                    <a:ext uri="{FF2B5EF4-FFF2-40B4-BE49-F238E27FC236}">
                      <a16:creationId xmlns:a16="http://schemas.microsoft.com/office/drawing/2014/main" id="{030BED82-B336-1625-D0D4-34DA8946AC5B}"/>
                    </a:ext>
                  </a:extLst>
                </p:cNvPr>
                <p:cNvSpPr/>
                <p:nvPr/>
              </p:nvSpPr>
              <p:spPr>
                <a:xfrm>
                  <a:off x="8651430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: Shape 47">
                  <a:extLst>
                    <a:ext uri="{FF2B5EF4-FFF2-40B4-BE49-F238E27FC236}">
                      <a16:creationId xmlns:a16="http://schemas.microsoft.com/office/drawing/2014/main" id="{68A231F1-A6B3-B72B-18D3-2DF2E336B9F1}"/>
                    </a:ext>
                  </a:extLst>
                </p:cNvPr>
                <p:cNvSpPr/>
                <p:nvPr/>
              </p:nvSpPr>
              <p:spPr>
                <a:xfrm>
                  <a:off x="860888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: Shape 48">
                  <a:extLst>
                    <a:ext uri="{FF2B5EF4-FFF2-40B4-BE49-F238E27FC236}">
                      <a16:creationId xmlns:a16="http://schemas.microsoft.com/office/drawing/2014/main" id="{25EB81B2-DA3B-352C-2F2B-19C899D1B9D4}"/>
                    </a:ext>
                  </a:extLst>
                </p:cNvPr>
                <p:cNvSpPr/>
                <p:nvPr/>
              </p:nvSpPr>
              <p:spPr>
                <a:xfrm>
                  <a:off x="809675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: Shape 49">
                  <a:extLst>
                    <a:ext uri="{FF2B5EF4-FFF2-40B4-BE49-F238E27FC236}">
                      <a16:creationId xmlns:a16="http://schemas.microsoft.com/office/drawing/2014/main" id="{C404B19F-E409-9C87-25A1-C4AADA3D241F}"/>
                    </a:ext>
                  </a:extLst>
                </p:cNvPr>
                <p:cNvSpPr/>
                <p:nvPr/>
              </p:nvSpPr>
              <p:spPr>
                <a:xfrm>
                  <a:off x="801166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: Shape 50">
                  <a:extLst>
                    <a:ext uri="{FF2B5EF4-FFF2-40B4-BE49-F238E27FC236}">
                      <a16:creationId xmlns:a16="http://schemas.microsoft.com/office/drawing/2014/main" id="{AEDD47F6-DC66-7B17-706A-A61A1F472B31}"/>
                    </a:ext>
                  </a:extLst>
                </p:cNvPr>
                <p:cNvSpPr/>
                <p:nvPr/>
              </p:nvSpPr>
              <p:spPr>
                <a:xfrm>
                  <a:off x="805421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: Shape 51">
                  <a:extLst>
                    <a:ext uri="{FF2B5EF4-FFF2-40B4-BE49-F238E27FC236}">
                      <a16:creationId xmlns:a16="http://schemas.microsoft.com/office/drawing/2014/main" id="{68BC8E28-25A7-5EAE-C559-012658F02BCB}"/>
                    </a:ext>
                  </a:extLst>
                </p:cNvPr>
                <p:cNvSpPr/>
                <p:nvPr/>
              </p:nvSpPr>
              <p:spPr>
                <a:xfrm>
                  <a:off x="7969122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: Shape 52">
                  <a:extLst>
                    <a:ext uri="{FF2B5EF4-FFF2-40B4-BE49-F238E27FC236}">
                      <a16:creationId xmlns:a16="http://schemas.microsoft.com/office/drawing/2014/main" id="{B3FD0390-09D8-2767-142F-FE2273951E5E}"/>
                    </a:ext>
                  </a:extLst>
                </p:cNvPr>
                <p:cNvSpPr/>
                <p:nvPr/>
              </p:nvSpPr>
              <p:spPr>
                <a:xfrm>
                  <a:off x="792657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5EF63873-FCBB-00E4-A5B0-BF3CDE6B2AC4}"/>
                  </a:ext>
                </a:extLst>
              </p:cNvPr>
              <p:cNvGrpSpPr/>
              <p:nvPr userDrawn="1"/>
            </p:nvGrpSpPr>
            <p:grpSpPr>
              <a:xfrm rot="10800000" flipV="1">
                <a:off x="2780760" y="2715971"/>
                <a:ext cx="53143" cy="379249"/>
                <a:chOff x="5390750" y="3681616"/>
                <a:chExt cx="73151" cy="522033"/>
              </a:xfrm>
            </p:grpSpPr>
            <p:sp>
              <p:nvSpPr>
                <p:cNvPr id="51" name="Freeform: Shape 26">
                  <a:extLst>
                    <a:ext uri="{FF2B5EF4-FFF2-40B4-BE49-F238E27FC236}">
                      <a16:creationId xmlns:a16="http://schemas.microsoft.com/office/drawing/2014/main" id="{52270F2A-4529-BA6C-9070-CAB26D9A9B35}"/>
                    </a:ext>
                  </a:extLst>
                </p:cNvPr>
                <p:cNvSpPr/>
                <p:nvPr/>
              </p:nvSpPr>
              <p:spPr>
                <a:xfrm rot="16200000" flipH="1">
                  <a:off x="5405100" y="3681616"/>
                  <a:ext cx="43688" cy="43687"/>
                </a:xfrm>
                <a:custGeom>
                  <a:avLst/>
                  <a:gdLst>
                    <a:gd name="connsiteX0" fmla="*/ 0 w 43688"/>
                    <a:gd name="connsiteY0" fmla="*/ 0 h 43687"/>
                    <a:gd name="connsiteX1" fmla="*/ 43688 w 43688"/>
                    <a:gd name="connsiteY1" fmla="*/ 0 h 43687"/>
                    <a:gd name="connsiteX2" fmla="*/ 43688 w 43688"/>
                    <a:gd name="connsiteY2" fmla="*/ 43688 h 43687"/>
                    <a:gd name="connsiteX3" fmla="*/ 0 w 43688"/>
                    <a:gd name="connsiteY3" fmla="*/ 43688 h 43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88" h="43687">
                      <a:moveTo>
                        <a:pt x="0" y="0"/>
                      </a:moveTo>
                      <a:lnTo>
                        <a:pt x="43688" y="0"/>
                      </a:lnTo>
                      <a:lnTo>
                        <a:pt x="43688" y="43688"/>
                      </a:lnTo>
                      <a:lnTo>
                        <a:pt x="0" y="43688"/>
                      </a:lnTo>
                      <a:close/>
                    </a:path>
                  </a:pathLst>
                </a:custGeom>
                <a:noFill/>
                <a:ln w="3175" cap="flat">
                  <a:solidFill>
                    <a:schemeClr val="bg1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: Shape 27">
                  <a:extLst>
                    <a:ext uri="{FF2B5EF4-FFF2-40B4-BE49-F238E27FC236}">
                      <a16:creationId xmlns:a16="http://schemas.microsoft.com/office/drawing/2014/main" id="{1209BC0B-8A3E-EA05-8BB1-5727BB103E39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81062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: Shape 28">
                  <a:extLst>
                    <a:ext uri="{FF2B5EF4-FFF2-40B4-BE49-F238E27FC236}">
                      <a16:creationId xmlns:a16="http://schemas.microsoft.com/office/drawing/2014/main" id="{C4CE3C9F-955A-F09C-9EB1-2D7540D30C90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21394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: Shape 29">
                  <a:extLst>
                    <a:ext uri="{FF2B5EF4-FFF2-40B4-BE49-F238E27FC236}">
                      <a16:creationId xmlns:a16="http://schemas.microsoft.com/office/drawing/2014/main" id="{CC01E2AE-A4D6-5299-8237-E1EE93E2F2E4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02056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Freeform: Shape 30">
                  <a:extLst>
                    <a:ext uri="{FF2B5EF4-FFF2-40B4-BE49-F238E27FC236}">
                      <a16:creationId xmlns:a16="http://schemas.microsoft.com/office/drawing/2014/main" id="{804441B1-BE00-803C-BBBB-CE752C92E468}"/>
                    </a:ext>
                  </a:extLst>
                </p:cNvPr>
                <p:cNvSpPr/>
                <p:nvPr/>
              </p:nvSpPr>
              <p:spPr>
                <a:xfrm rot="10800000" flipH="1">
                  <a:off x="5407069" y="4165549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: Shape 31">
                  <a:extLst>
                    <a:ext uri="{FF2B5EF4-FFF2-40B4-BE49-F238E27FC236}">
                      <a16:creationId xmlns:a16="http://schemas.microsoft.com/office/drawing/2014/main" id="{7E78F71A-0B1B-F77C-A39D-E67D9F1C71A9}"/>
                    </a:ext>
                  </a:extLst>
                </p:cNvPr>
                <p:cNvSpPr/>
                <p:nvPr/>
              </p:nvSpPr>
              <p:spPr>
                <a:xfrm rot="16200000" flipH="1">
                  <a:off x="5407387" y="3776295"/>
                  <a:ext cx="39878" cy="73151"/>
                </a:xfrm>
                <a:custGeom>
                  <a:avLst/>
                  <a:gdLst>
                    <a:gd name="connsiteX0" fmla="*/ 39878 w 39878"/>
                    <a:gd name="connsiteY0" fmla="*/ 38671 h 73151"/>
                    <a:gd name="connsiteX1" fmla="*/ 2413 w 39878"/>
                    <a:gd name="connsiteY1" fmla="*/ 73152 h 73151"/>
                    <a:gd name="connsiteX2" fmla="*/ 0 w 39878"/>
                    <a:gd name="connsiteY2" fmla="*/ 69913 h 73151"/>
                    <a:gd name="connsiteX3" fmla="*/ 36131 w 39878"/>
                    <a:gd name="connsiteY3" fmla="*/ 36576 h 73151"/>
                    <a:gd name="connsiteX4" fmla="*/ 0 w 39878"/>
                    <a:gd name="connsiteY4" fmla="*/ 3238 h 73151"/>
                    <a:gd name="connsiteX5" fmla="*/ 2413 w 39878"/>
                    <a:gd name="connsiteY5" fmla="*/ 0 h 73151"/>
                    <a:gd name="connsiteX6" fmla="*/ 39878 w 39878"/>
                    <a:gd name="connsiteY6" fmla="*/ 34481 h 73151"/>
                    <a:gd name="connsiteX7" fmla="*/ 39878 w 39878"/>
                    <a:gd name="connsiteY7" fmla="*/ 38671 h 73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878" h="73151">
                      <a:moveTo>
                        <a:pt x="39878" y="38671"/>
                      </a:moveTo>
                      <a:lnTo>
                        <a:pt x="2413" y="73152"/>
                      </a:lnTo>
                      <a:lnTo>
                        <a:pt x="0" y="69913"/>
                      </a:lnTo>
                      <a:lnTo>
                        <a:pt x="36131" y="36576"/>
                      </a:lnTo>
                      <a:lnTo>
                        <a:pt x="0" y="3238"/>
                      </a:lnTo>
                      <a:lnTo>
                        <a:pt x="2413" y="0"/>
                      </a:lnTo>
                      <a:lnTo>
                        <a:pt x="39878" y="34481"/>
                      </a:lnTo>
                      <a:lnTo>
                        <a:pt x="39878" y="38671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: Shape 32">
                  <a:extLst>
                    <a:ext uri="{FF2B5EF4-FFF2-40B4-BE49-F238E27FC236}">
                      <a16:creationId xmlns:a16="http://schemas.microsoft.com/office/drawing/2014/main" id="{C276F8FA-127D-7C97-0A5B-244C8EB9B15E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61725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id="{D940A35C-129D-AC1D-06B8-94A9ABC6B643}"/>
                </a:ext>
              </a:extLst>
            </p:cNvPr>
            <p:cNvSpPr/>
            <p:nvPr userDrawn="1"/>
          </p:nvSpPr>
          <p:spPr>
            <a:xfrm>
              <a:off x="862265" y="1612232"/>
              <a:ext cx="2224760" cy="4162926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  <a:gd name="connsiteX0" fmla="*/ 102 w 1720704"/>
                <a:gd name="connsiteY0" fmla="*/ 0 h 4202853"/>
                <a:gd name="connsiteX1" fmla="*/ 212558 w 1720704"/>
                <a:gd name="connsiteY1" fmla="*/ 1544 h 4202853"/>
                <a:gd name="connsiteX2" fmla="*/ 1246205 w 1720704"/>
                <a:gd name="connsiteY2" fmla="*/ 2180 h 4202853"/>
                <a:gd name="connsiteX3" fmla="*/ 1700076 w 1720704"/>
                <a:gd name="connsiteY3" fmla="*/ 435885 h 4202853"/>
                <a:gd name="connsiteX4" fmla="*/ 1720704 w 1720704"/>
                <a:gd name="connsiteY4" fmla="*/ 4202853 h 4202853"/>
                <a:gd name="connsiteX5" fmla="*/ 1518326 w 1720704"/>
                <a:gd name="connsiteY5" fmla="*/ 4202853 h 4202853"/>
                <a:gd name="connsiteX6" fmla="*/ 0 w 1720704"/>
                <a:gd name="connsiteY6" fmla="*/ 4201611 h 4202853"/>
                <a:gd name="connsiteX0" fmla="*/ 212558 w 1720704"/>
                <a:gd name="connsiteY0" fmla="*/ 0 h 4201309"/>
                <a:gd name="connsiteX1" fmla="*/ 1246205 w 1720704"/>
                <a:gd name="connsiteY1" fmla="*/ 636 h 4201309"/>
                <a:gd name="connsiteX2" fmla="*/ 1700076 w 1720704"/>
                <a:gd name="connsiteY2" fmla="*/ 434341 h 4201309"/>
                <a:gd name="connsiteX3" fmla="*/ 1720704 w 1720704"/>
                <a:gd name="connsiteY3" fmla="*/ 4201309 h 4201309"/>
                <a:gd name="connsiteX4" fmla="*/ 1518326 w 1720704"/>
                <a:gd name="connsiteY4" fmla="*/ 4201309 h 4201309"/>
                <a:gd name="connsiteX5" fmla="*/ 0 w 1720704"/>
                <a:gd name="connsiteY5" fmla="*/ 4200067 h 4201309"/>
                <a:gd name="connsiteX0" fmla="*/ 212558 w 1720704"/>
                <a:gd name="connsiteY0" fmla="*/ 0 h 4205294"/>
                <a:gd name="connsiteX1" fmla="*/ 1246205 w 1720704"/>
                <a:gd name="connsiteY1" fmla="*/ 636 h 4205294"/>
                <a:gd name="connsiteX2" fmla="*/ 1700076 w 1720704"/>
                <a:gd name="connsiteY2" fmla="*/ 434341 h 4205294"/>
                <a:gd name="connsiteX3" fmla="*/ 1720704 w 1720704"/>
                <a:gd name="connsiteY3" fmla="*/ 4201309 h 4205294"/>
                <a:gd name="connsiteX4" fmla="*/ 1518326 w 1720704"/>
                <a:gd name="connsiteY4" fmla="*/ 4201309 h 4205294"/>
                <a:gd name="connsiteX5" fmla="*/ 217694 w 1720704"/>
                <a:gd name="connsiteY5" fmla="*/ 4205294 h 4205294"/>
                <a:gd name="connsiteX6" fmla="*/ 0 w 1720704"/>
                <a:gd name="connsiteY6" fmla="*/ 4200067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305768 w 1508146"/>
                <a:gd name="connsiteY4" fmla="*/ 4201309 h 4205294"/>
                <a:gd name="connsiteX5" fmla="*/ 5136 w 1508146"/>
                <a:gd name="connsiteY5" fmla="*/ 4205294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424134 w 1508146"/>
                <a:gd name="connsiteY4" fmla="*/ 4202255 h 4205294"/>
                <a:gd name="connsiteX5" fmla="*/ 1305768 w 1508146"/>
                <a:gd name="connsiteY5" fmla="*/ 4201309 h 4205294"/>
                <a:gd name="connsiteX6" fmla="*/ 5136 w 1508146"/>
                <a:gd name="connsiteY6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87518 w 1509361"/>
                <a:gd name="connsiteY2" fmla="*/ 434341 h 4205294"/>
                <a:gd name="connsiteX3" fmla="*/ 1424134 w 1509361"/>
                <a:gd name="connsiteY3" fmla="*/ 4202255 h 4205294"/>
                <a:gd name="connsiteX4" fmla="*/ 1305768 w 1509361"/>
                <a:gd name="connsiteY4" fmla="*/ 4201309 h 4205294"/>
                <a:gd name="connsiteX5" fmla="*/ 5136 w 1509361"/>
                <a:gd name="connsiteY5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22915 w 1509361"/>
                <a:gd name="connsiteY2" fmla="*/ 376572 h 4205294"/>
                <a:gd name="connsiteX3" fmla="*/ 1487518 w 1509361"/>
                <a:gd name="connsiteY3" fmla="*/ 434341 h 4205294"/>
                <a:gd name="connsiteX4" fmla="*/ 1424134 w 1509361"/>
                <a:gd name="connsiteY4" fmla="*/ 4202255 h 4205294"/>
                <a:gd name="connsiteX5" fmla="*/ 1305768 w 1509361"/>
                <a:gd name="connsiteY5" fmla="*/ 4201309 h 4205294"/>
                <a:gd name="connsiteX6" fmla="*/ 5136 w 1509361"/>
                <a:gd name="connsiteY6" fmla="*/ 4205294 h 4205294"/>
                <a:gd name="connsiteX0" fmla="*/ 0 w 1457094"/>
                <a:gd name="connsiteY0" fmla="*/ 50479 h 4255773"/>
                <a:gd name="connsiteX1" fmla="*/ 1033647 w 1457094"/>
                <a:gd name="connsiteY1" fmla="*/ 51115 h 4255773"/>
                <a:gd name="connsiteX2" fmla="*/ 1422915 w 1457094"/>
                <a:gd name="connsiteY2" fmla="*/ 427051 h 4255773"/>
                <a:gd name="connsiteX3" fmla="*/ 1424134 w 1457094"/>
                <a:gd name="connsiteY3" fmla="*/ 4252734 h 4255773"/>
                <a:gd name="connsiteX4" fmla="*/ 1305768 w 1457094"/>
                <a:gd name="connsiteY4" fmla="*/ 4251788 h 4255773"/>
                <a:gd name="connsiteX5" fmla="*/ 5136 w 1457094"/>
                <a:gd name="connsiteY5" fmla="*/ 4255773 h 4255773"/>
                <a:gd name="connsiteX0" fmla="*/ 0 w 1432100"/>
                <a:gd name="connsiteY0" fmla="*/ 50479 h 4255773"/>
                <a:gd name="connsiteX1" fmla="*/ 1033647 w 1432100"/>
                <a:gd name="connsiteY1" fmla="*/ 51115 h 4255773"/>
                <a:gd name="connsiteX2" fmla="*/ 1422915 w 1432100"/>
                <a:gd name="connsiteY2" fmla="*/ 427051 h 4255773"/>
                <a:gd name="connsiteX3" fmla="*/ 1424134 w 1432100"/>
                <a:gd name="connsiteY3" fmla="*/ 4252734 h 4255773"/>
                <a:gd name="connsiteX4" fmla="*/ 1305768 w 1432100"/>
                <a:gd name="connsiteY4" fmla="*/ 4251788 h 4255773"/>
                <a:gd name="connsiteX5" fmla="*/ 5136 w 1432100"/>
                <a:gd name="connsiteY5" fmla="*/ 4255773 h 4255773"/>
                <a:gd name="connsiteX0" fmla="*/ 0 w 1434720"/>
                <a:gd name="connsiteY0" fmla="*/ 50479 h 4255773"/>
                <a:gd name="connsiteX1" fmla="*/ 1033647 w 1434720"/>
                <a:gd name="connsiteY1" fmla="*/ 51115 h 4255773"/>
                <a:gd name="connsiteX2" fmla="*/ 1422915 w 1434720"/>
                <a:gd name="connsiteY2" fmla="*/ 427051 h 4255773"/>
                <a:gd name="connsiteX3" fmla="*/ 1424134 w 1434720"/>
                <a:gd name="connsiteY3" fmla="*/ 4252734 h 4255773"/>
                <a:gd name="connsiteX4" fmla="*/ 1305768 w 1434720"/>
                <a:gd name="connsiteY4" fmla="*/ 4251788 h 4255773"/>
                <a:gd name="connsiteX5" fmla="*/ 5136 w 1434720"/>
                <a:gd name="connsiteY5" fmla="*/ 4255773 h 4255773"/>
                <a:gd name="connsiteX0" fmla="*/ 0 w 1432860"/>
                <a:gd name="connsiteY0" fmla="*/ 50479 h 4255773"/>
                <a:gd name="connsiteX1" fmla="*/ 1033647 w 1432860"/>
                <a:gd name="connsiteY1" fmla="*/ 51115 h 4255773"/>
                <a:gd name="connsiteX2" fmla="*/ 1422915 w 1432860"/>
                <a:gd name="connsiteY2" fmla="*/ 427051 h 4255773"/>
                <a:gd name="connsiteX3" fmla="*/ 1424134 w 1432860"/>
                <a:gd name="connsiteY3" fmla="*/ 4252734 h 4255773"/>
                <a:gd name="connsiteX4" fmla="*/ 1305768 w 1432860"/>
                <a:gd name="connsiteY4" fmla="*/ 4251788 h 4255773"/>
                <a:gd name="connsiteX5" fmla="*/ 5136 w 1432860"/>
                <a:gd name="connsiteY5" fmla="*/ 4255773 h 4255773"/>
                <a:gd name="connsiteX0" fmla="*/ 0 w 1424727"/>
                <a:gd name="connsiteY0" fmla="*/ 50479 h 4255773"/>
                <a:gd name="connsiteX1" fmla="*/ 1033647 w 1424727"/>
                <a:gd name="connsiteY1" fmla="*/ 51115 h 4255773"/>
                <a:gd name="connsiteX2" fmla="*/ 1422915 w 1424727"/>
                <a:gd name="connsiteY2" fmla="*/ 427051 h 4255773"/>
                <a:gd name="connsiteX3" fmla="*/ 1424134 w 1424727"/>
                <a:gd name="connsiteY3" fmla="*/ 4252734 h 4255773"/>
                <a:gd name="connsiteX4" fmla="*/ 1305768 w 1424727"/>
                <a:gd name="connsiteY4" fmla="*/ 4251788 h 4255773"/>
                <a:gd name="connsiteX5" fmla="*/ 5136 w 1424727"/>
                <a:gd name="connsiteY5" fmla="*/ 4255773 h 4255773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4727" h="4205294">
                  <a:moveTo>
                    <a:pt x="0" y="0"/>
                  </a:moveTo>
                  <a:lnTo>
                    <a:pt x="1033647" y="636"/>
                  </a:lnTo>
                  <a:cubicBezTo>
                    <a:pt x="1263479" y="213500"/>
                    <a:pt x="1167521" y="115063"/>
                    <a:pt x="1422915" y="376572"/>
                  </a:cubicBezTo>
                  <a:cubicBezTo>
                    <a:pt x="1424558" y="1178834"/>
                    <a:pt x="1425359" y="3578270"/>
                    <a:pt x="1424134" y="4202255"/>
                  </a:cubicBezTo>
                  <a:lnTo>
                    <a:pt x="1305768" y="4201309"/>
                  </a:lnTo>
                  <a:lnTo>
                    <a:pt x="5136" y="4205294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</p:grpSp>
      <p:sp>
        <p:nvSpPr>
          <p:cNvPr id="110" name="Picture Placeholder 2">
            <a:extLst>
              <a:ext uri="{FF2B5EF4-FFF2-40B4-BE49-F238E27FC236}">
                <a16:creationId xmlns:a16="http://schemas.microsoft.com/office/drawing/2014/main" id="{F4985857-A91C-2005-EE29-52FE2D9CC205}"/>
              </a:ext>
            </a:extLst>
          </p:cNvPr>
          <p:cNvSpPr>
            <a:spLocks noGrp="1"/>
          </p:cNvSpPr>
          <p:nvPr>
            <p:ph type="pic" idx="36" hasCustomPrompt="1"/>
          </p:nvPr>
        </p:nvSpPr>
        <p:spPr>
          <a:xfrm>
            <a:off x="6616304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0FB3FD4A-4C54-C4F7-B24D-8408671CF496}"/>
              </a:ext>
            </a:extLst>
          </p:cNvPr>
          <p:cNvGrpSpPr/>
          <p:nvPr userDrawn="1"/>
        </p:nvGrpSpPr>
        <p:grpSpPr>
          <a:xfrm>
            <a:off x="6603439" y="1612232"/>
            <a:ext cx="2338382" cy="4162926"/>
            <a:chOff x="862265" y="1612232"/>
            <a:chExt cx="2338382" cy="4162926"/>
          </a:xfrm>
        </p:grpSpPr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FAD2F600-28B9-FD96-C29E-B7F3C23D91FC}"/>
                </a:ext>
              </a:extLst>
            </p:cNvPr>
            <p:cNvGrpSpPr/>
            <p:nvPr userDrawn="1"/>
          </p:nvGrpSpPr>
          <p:grpSpPr>
            <a:xfrm>
              <a:off x="3147504" y="2061539"/>
              <a:ext cx="53143" cy="1085389"/>
              <a:chOff x="2780760" y="2009831"/>
              <a:chExt cx="53143" cy="1085389"/>
            </a:xfrm>
          </p:grpSpPr>
          <p:grpSp>
            <p:nvGrpSpPr>
              <p:cNvPr id="114" name="Graphic 42">
                <a:extLst>
                  <a:ext uri="{FF2B5EF4-FFF2-40B4-BE49-F238E27FC236}">
                    <a16:creationId xmlns:a16="http://schemas.microsoft.com/office/drawing/2014/main" id="{B73346E7-ACA5-CBCC-FA96-1ADEEE7E7343}"/>
                  </a:ext>
                </a:extLst>
              </p:cNvPr>
              <p:cNvGrpSpPr/>
              <p:nvPr userDrawn="1"/>
            </p:nvGrpSpPr>
            <p:grpSpPr>
              <a:xfrm rot="16200000" flipH="1" flipV="1">
                <a:off x="2482218" y="2310772"/>
                <a:ext cx="650227" cy="48346"/>
                <a:chOff x="7926578" y="441451"/>
                <a:chExt cx="895032" cy="66548"/>
              </a:xfrm>
              <a:solidFill>
                <a:srgbClr val="75BF43">
                  <a:alpha val="57000"/>
                </a:srgbClr>
              </a:solidFill>
            </p:grpSpPr>
            <p:sp>
              <p:nvSpPr>
                <p:cNvPr id="226" name="Freeform: Shape 33">
                  <a:extLst>
                    <a:ext uri="{FF2B5EF4-FFF2-40B4-BE49-F238E27FC236}">
                      <a16:creationId xmlns:a16="http://schemas.microsoft.com/office/drawing/2014/main" id="{5499E6B3-D79C-B99C-2AE1-FBFD9B43B7AB}"/>
                    </a:ext>
                  </a:extLst>
                </p:cNvPr>
                <p:cNvSpPr/>
                <p:nvPr/>
              </p:nvSpPr>
              <p:spPr>
                <a:xfrm>
                  <a:off x="8479726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34">
                  <a:extLst>
                    <a:ext uri="{FF2B5EF4-FFF2-40B4-BE49-F238E27FC236}">
                      <a16:creationId xmlns:a16="http://schemas.microsoft.com/office/drawing/2014/main" id="{C969764A-6833-A861-4E11-CFF1D1BD60B0}"/>
                    </a:ext>
                  </a:extLst>
                </p:cNvPr>
                <p:cNvSpPr/>
                <p:nvPr/>
              </p:nvSpPr>
              <p:spPr>
                <a:xfrm>
                  <a:off x="843718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35">
                  <a:extLst>
                    <a:ext uri="{FF2B5EF4-FFF2-40B4-BE49-F238E27FC236}">
                      <a16:creationId xmlns:a16="http://schemas.microsoft.com/office/drawing/2014/main" id="{330E334D-CBF9-52C4-40E4-AB68B1331F77}"/>
                    </a:ext>
                  </a:extLst>
                </p:cNvPr>
                <p:cNvSpPr/>
                <p:nvPr/>
              </p:nvSpPr>
              <p:spPr>
                <a:xfrm>
                  <a:off x="8394636" y="441451"/>
                  <a:ext cx="89281" cy="66548"/>
                </a:xfrm>
                <a:custGeom>
                  <a:avLst/>
                  <a:gdLst>
                    <a:gd name="connsiteX0" fmla="*/ 68707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Freeform: Shape 36">
                  <a:extLst>
                    <a:ext uri="{FF2B5EF4-FFF2-40B4-BE49-F238E27FC236}">
                      <a16:creationId xmlns:a16="http://schemas.microsoft.com/office/drawing/2014/main" id="{C0D7440C-3C15-9CEA-D5C8-70C5BF252257}"/>
                    </a:ext>
                  </a:extLst>
                </p:cNvPr>
                <p:cNvSpPr/>
                <p:nvPr/>
              </p:nvSpPr>
              <p:spPr>
                <a:xfrm>
                  <a:off x="8352091" y="441451"/>
                  <a:ext cx="89280" cy="66548"/>
                </a:xfrm>
                <a:custGeom>
                  <a:avLst/>
                  <a:gdLst>
                    <a:gd name="connsiteX0" fmla="*/ 68707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Freeform: Shape 37">
                  <a:extLst>
                    <a:ext uri="{FF2B5EF4-FFF2-40B4-BE49-F238E27FC236}">
                      <a16:creationId xmlns:a16="http://schemas.microsoft.com/office/drawing/2014/main" id="{0A370660-5CD6-1913-CC93-9BD4A9C0BEBC}"/>
                    </a:ext>
                  </a:extLst>
                </p:cNvPr>
                <p:cNvSpPr/>
                <p:nvPr/>
              </p:nvSpPr>
              <p:spPr>
                <a:xfrm>
                  <a:off x="813930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" name="Freeform: Shape 38">
                  <a:extLst>
                    <a:ext uri="{FF2B5EF4-FFF2-40B4-BE49-F238E27FC236}">
                      <a16:creationId xmlns:a16="http://schemas.microsoft.com/office/drawing/2014/main" id="{BB32D619-A8EE-1C4D-3AC2-40B4BAB78A27}"/>
                    </a:ext>
                  </a:extLst>
                </p:cNvPr>
                <p:cNvSpPr/>
                <p:nvPr/>
              </p:nvSpPr>
              <p:spPr>
                <a:xfrm>
                  <a:off x="818184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Freeform: Shape 39">
                  <a:extLst>
                    <a:ext uri="{FF2B5EF4-FFF2-40B4-BE49-F238E27FC236}">
                      <a16:creationId xmlns:a16="http://schemas.microsoft.com/office/drawing/2014/main" id="{F0C2C159-2300-CF84-E5A8-2538F5BC3A05}"/>
                    </a:ext>
                  </a:extLst>
                </p:cNvPr>
                <p:cNvSpPr/>
                <p:nvPr/>
              </p:nvSpPr>
              <p:spPr>
                <a:xfrm>
                  <a:off x="8267001" y="441451"/>
                  <a:ext cx="89280" cy="66548"/>
                </a:xfrm>
                <a:custGeom>
                  <a:avLst/>
                  <a:gdLst>
                    <a:gd name="connsiteX0" fmla="*/ 68643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643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Freeform: Shape 40">
                  <a:extLst>
                    <a:ext uri="{FF2B5EF4-FFF2-40B4-BE49-F238E27FC236}">
                      <a16:creationId xmlns:a16="http://schemas.microsoft.com/office/drawing/2014/main" id="{D1DA9166-BD19-025A-6B21-56B356B18964}"/>
                    </a:ext>
                  </a:extLst>
                </p:cNvPr>
                <p:cNvSpPr/>
                <p:nvPr/>
              </p:nvSpPr>
              <p:spPr>
                <a:xfrm>
                  <a:off x="822439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" name="Freeform: Shape 41">
                  <a:extLst>
                    <a:ext uri="{FF2B5EF4-FFF2-40B4-BE49-F238E27FC236}">
                      <a16:creationId xmlns:a16="http://schemas.microsoft.com/office/drawing/2014/main" id="{00982609-7EAF-6C5D-6F2A-AF98BC24E1D0}"/>
                    </a:ext>
                  </a:extLst>
                </p:cNvPr>
                <p:cNvSpPr/>
                <p:nvPr/>
              </p:nvSpPr>
              <p:spPr>
                <a:xfrm>
                  <a:off x="8309546" y="441451"/>
                  <a:ext cx="89281" cy="66548"/>
                </a:xfrm>
                <a:custGeom>
                  <a:avLst/>
                  <a:gdLst>
                    <a:gd name="connsiteX0" fmla="*/ 68644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644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7" name="Freeform: Shape 42">
                  <a:extLst>
                    <a:ext uri="{FF2B5EF4-FFF2-40B4-BE49-F238E27FC236}">
                      <a16:creationId xmlns:a16="http://schemas.microsoft.com/office/drawing/2014/main" id="{94F34D7E-AFC0-C011-0ADD-3AA408076853}"/>
                    </a:ext>
                  </a:extLst>
                </p:cNvPr>
                <p:cNvSpPr/>
                <p:nvPr/>
              </p:nvSpPr>
              <p:spPr>
                <a:xfrm>
                  <a:off x="852227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Freeform: Shape 43">
                  <a:extLst>
                    <a:ext uri="{FF2B5EF4-FFF2-40B4-BE49-F238E27FC236}">
                      <a16:creationId xmlns:a16="http://schemas.microsoft.com/office/drawing/2014/main" id="{97CFA9D2-5B30-81A7-4CFA-6A4D78309234}"/>
                    </a:ext>
                  </a:extLst>
                </p:cNvPr>
                <p:cNvSpPr/>
                <p:nvPr/>
              </p:nvSpPr>
              <p:spPr>
                <a:xfrm>
                  <a:off x="869397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Freeform: Shape 44">
                  <a:extLst>
                    <a:ext uri="{FF2B5EF4-FFF2-40B4-BE49-F238E27FC236}">
                      <a16:creationId xmlns:a16="http://schemas.microsoft.com/office/drawing/2014/main" id="{0204690D-FBEE-1A8E-EBE9-C0B237BC9A63}"/>
                    </a:ext>
                  </a:extLst>
                </p:cNvPr>
                <p:cNvSpPr/>
                <p:nvPr/>
              </p:nvSpPr>
              <p:spPr>
                <a:xfrm>
                  <a:off x="8821610" y="508000"/>
                  <a:ext cx="6350" cy="6350"/>
                </a:xfrm>
                <a:custGeom>
                  <a:avLst/>
                  <a:gdLst>
                    <a:gd name="connsiteX0" fmla="*/ 0 w 6350"/>
                    <a:gd name="connsiteY0" fmla="*/ 0 h 6350"/>
                    <a:gd name="connsiteX1" fmla="*/ 0 w 6350"/>
                    <a:gd name="connsiteY1" fmla="*/ 0 h 6350"/>
                    <a:gd name="connsiteX2" fmla="*/ 0 w 6350"/>
                    <a:gd name="connsiteY2" fmla="*/ 0 h 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0" h="635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Freeform: Shape 45">
                  <a:extLst>
                    <a:ext uri="{FF2B5EF4-FFF2-40B4-BE49-F238E27FC236}">
                      <a16:creationId xmlns:a16="http://schemas.microsoft.com/office/drawing/2014/main" id="{415AD0A4-A86D-AA1E-EAF9-EBBB77CA0A45}"/>
                    </a:ext>
                  </a:extLst>
                </p:cNvPr>
                <p:cNvSpPr/>
                <p:nvPr/>
              </p:nvSpPr>
              <p:spPr>
                <a:xfrm>
                  <a:off x="8564816" y="441451"/>
                  <a:ext cx="90868" cy="66548"/>
                </a:xfrm>
                <a:custGeom>
                  <a:avLst/>
                  <a:gdLst>
                    <a:gd name="connsiteX0" fmla="*/ 68707 w 90868"/>
                    <a:gd name="connsiteY0" fmla="*/ 0 h 66548"/>
                    <a:gd name="connsiteX1" fmla="*/ 0 w 90868"/>
                    <a:gd name="connsiteY1" fmla="*/ 66548 h 66548"/>
                    <a:gd name="connsiteX2" fmla="*/ 22161 w 90868"/>
                    <a:gd name="connsiteY2" fmla="*/ 66548 h 66548"/>
                    <a:gd name="connsiteX3" fmla="*/ 90868 w 90868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0868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2161" y="66548"/>
                      </a:lnTo>
                      <a:lnTo>
                        <a:pt x="90868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Freeform: Shape 46">
                  <a:extLst>
                    <a:ext uri="{FF2B5EF4-FFF2-40B4-BE49-F238E27FC236}">
                      <a16:creationId xmlns:a16="http://schemas.microsoft.com/office/drawing/2014/main" id="{E5E2E103-0560-AC7C-20C5-5F0D54CD7454}"/>
                    </a:ext>
                  </a:extLst>
                </p:cNvPr>
                <p:cNvSpPr/>
                <p:nvPr/>
              </p:nvSpPr>
              <p:spPr>
                <a:xfrm>
                  <a:off x="8651430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Freeform: Shape 47">
                  <a:extLst>
                    <a:ext uri="{FF2B5EF4-FFF2-40B4-BE49-F238E27FC236}">
                      <a16:creationId xmlns:a16="http://schemas.microsoft.com/office/drawing/2014/main" id="{33EA7ACD-6FE6-E987-77CF-095DE7EE9CB9}"/>
                    </a:ext>
                  </a:extLst>
                </p:cNvPr>
                <p:cNvSpPr/>
                <p:nvPr/>
              </p:nvSpPr>
              <p:spPr>
                <a:xfrm>
                  <a:off x="860888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Freeform: Shape 48">
                  <a:extLst>
                    <a:ext uri="{FF2B5EF4-FFF2-40B4-BE49-F238E27FC236}">
                      <a16:creationId xmlns:a16="http://schemas.microsoft.com/office/drawing/2014/main" id="{5EB12E5F-E5A7-2BB7-167C-D0A5C9FD4C10}"/>
                    </a:ext>
                  </a:extLst>
                </p:cNvPr>
                <p:cNvSpPr/>
                <p:nvPr/>
              </p:nvSpPr>
              <p:spPr>
                <a:xfrm>
                  <a:off x="809675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Freeform: Shape 49">
                  <a:extLst>
                    <a:ext uri="{FF2B5EF4-FFF2-40B4-BE49-F238E27FC236}">
                      <a16:creationId xmlns:a16="http://schemas.microsoft.com/office/drawing/2014/main" id="{EDA8E1DA-6DCC-E35E-D3A3-4CC5DE12D9E1}"/>
                    </a:ext>
                  </a:extLst>
                </p:cNvPr>
                <p:cNvSpPr/>
                <p:nvPr/>
              </p:nvSpPr>
              <p:spPr>
                <a:xfrm>
                  <a:off x="801166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Freeform: Shape 50">
                  <a:extLst>
                    <a:ext uri="{FF2B5EF4-FFF2-40B4-BE49-F238E27FC236}">
                      <a16:creationId xmlns:a16="http://schemas.microsoft.com/office/drawing/2014/main" id="{67E6B24B-F417-45F5-5D1E-CA3D2C512B5F}"/>
                    </a:ext>
                  </a:extLst>
                </p:cNvPr>
                <p:cNvSpPr/>
                <p:nvPr/>
              </p:nvSpPr>
              <p:spPr>
                <a:xfrm>
                  <a:off x="805421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Freeform: Shape 51">
                  <a:extLst>
                    <a:ext uri="{FF2B5EF4-FFF2-40B4-BE49-F238E27FC236}">
                      <a16:creationId xmlns:a16="http://schemas.microsoft.com/office/drawing/2014/main" id="{12FD27CA-4A89-4989-DB2D-2FEDB42890EA}"/>
                    </a:ext>
                  </a:extLst>
                </p:cNvPr>
                <p:cNvSpPr/>
                <p:nvPr/>
              </p:nvSpPr>
              <p:spPr>
                <a:xfrm>
                  <a:off x="7969122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Freeform: Shape 52">
                  <a:extLst>
                    <a:ext uri="{FF2B5EF4-FFF2-40B4-BE49-F238E27FC236}">
                      <a16:creationId xmlns:a16="http://schemas.microsoft.com/office/drawing/2014/main" id="{28D4E320-22BD-7815-1E7E-26CD79A126B0}"/>
                    </a:ext>
                  </a:extLst>
                </p:cNvPr>
                <p:cNvSpPr/>
                <p:nvPr/>
              </p:nvSpPr>
              <p:spPr>
                <a:xfrm>
                  <a:off x="792657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BB0ED661-C915-240F-EB5F-5D42560C6EB4}"/>
                  </a:ext>
                </a:extLst>
              </p:cNvPr>
              <p:cNvGrpSpPr/>
              <p:nvPr userDrawn="1"/>
            </p:nvGrpSpPr>
            <p:grpSpPr>
              <a:xfrm rot="10800000" flipV="1">
                <a:off x="2780760" y="2715971"/>
                <a:ext cx="53143" cy="379249"/>
                <a:chOff x="5390750" y="3681616"/>
                <a:chExt cx="73151" cy="522033"/>
              </a:xfrm>
            </p:grpSpPr>
            <p:sp>
              <p:nvSpPr>
                <p:cNvPr id="116" name="Freeform: Shape 26">
                  <a:extLst>
                    <a:ext uri="{FF2B5EF4-FFF2-40B4-BE49-F238E27FC236}">
                      <a16:creationId xmlns:a16="http://schemas.microsoft.com/office/drawing/2014/main" id="{F2A908FD-DBDC-DE30-6138-C361167DA23A}"/>
                    </a:ext>
                  </a:extLst>
                </p:cNvPr>
                <p:cNvSpPr/>
                <p:nvPr/>
              </p:nvSpPr>
              <p:spPr>
                <a:xfrm rot="16200000" flipH="1">
                  <a:off x="5405100" y="3681616"/>
                  <a:ext cx="43688" cy="43687"/>
                </a:xfrm>
                <a:custGeom>
                  <a:avLst/>
                  <a:gdLst>
                    <a:gd name="connsiteX0" fmla="*/ 0 w 43688"/>
                    <a:gd name="connsiteY0" fmla="*/ 0 h 43687"/>
                    <a:gd name="connsiteX1" fmla="*/ 43688 w 43688"/>
                    <a:gd name="connsiteY1" fmla="*/ 0 h 43687"/>
                    <a:gd name="connsiteX2" fmla="*/ 43688 w 43688"/>
                    <a:gd name="connsiteY2" fmla="*/ 43688 h 43687"/>
                    <a:gd name="connsiteX3" fmla="*/ 0 w 43688"/>
                    <a:gd name="connsiteY3" fmla="*/ 43688 h 43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88" h="43687">
                      <a:moveTo>
                        <a:pt x="0" y="0"/>
                      </a:moveTo>
                      <a:lnTo>
                        <a:pt x="43688" y="0"/>
                      </a:lnTo>
                      <a:lnTo>
                        <a:pt x="43688" y="43688"/>
                      </a:lnTo>
                      <a:lnTo>
                        <a:pt x="0" y="43688"/>
                      </a:lnTo>
                      <a:close/>
                    </a:path>
                  </a:pathLst>
                </a:custGeom>
                <a:noFill/>
                <a:ln w="3175" cap="flat">
                  <a:solidFill>
                    <a:schemeClr val="bg1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: Shape 27">
                  <a:extLst>
                    <a:ext uri="{FF2B5EF4-FFF2-40B4-BE49-F238E27FC236}">
                      <a16:creationId xmlns:a16="http://schemas.microsoft.com/office/drawing/2014/main" id="{9D428F8E-E005-5B2C-B6AF-634801C90021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81062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: Shape 28">
                  <a:extLst>
                    <a:ext uri="{FF2B5EF4-FFF2-40B4-BE49-F238E27FC236}">
                      <a16:creationId xmlns:a16="http://schemas.microsoft.com/office/drawing/2014/main" id="{24E4794A-D0C6-B686-320C-1BF6F7445007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21394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: Shape 29">
                  <a:extLst>
                    <a:ext uri="{FF2B5EF4-FFF2-40B4-BE49-F238E27FC236}">
                      <a16:creationId xmlns:a16="http://schemas.microsoft.com/office/drawing/2014/main" id="{9D060069-172B-1499-B8FB-84B1F1393202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02056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: Shape 30">
                  <a:extLst>
                    <a:ext uri="{FF2B5EF4-FFF2-40B4-BE49-F238E27FC236}">
                      <a16:creationId xmlns:a16="http://schemas.microsoft.com/office/drawing/2014/main" id="{82973E27-469B-B1A3-56D1-6B5058C8BF21}"/>
                    </a:ext>
                  </a:extLst>
                </p:cNvPr>
                <p:cNvSpPr/>
                <p:nvPr/>
              </p:nvSpPr>
              <p:spPr>
                <a:xfrm rot="10800000" flipH="1">
                  <a:off x="5407069" y="4165549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31">
                  <a:extLst>
                    <a:ext uri="{FF2B5EF4-FFF2-40B4-BE49-F238E27FC236}">
                      <a16:creationId xmlns:a16="http://schemas.microsoft.com/office/drawing/2014/main" id="{63781CD7-25E9-699D-31E7-53E86DB07F18}"/>
                    </a:ext>
                  </a:extLst>
                </p:cNvPr>
                <p:cNvSpPr/>
                <p:nvPr/>
              </p:nvSpPr>
              <p:spPr>
                <a:xfrm rot="16200000" flipH="1">
                  <a:off x="5407387" y="3776295"/>
                  <a:ext cx="39878" cy="73151"/>
                </a:xfrm>
                <a:custGeom>
                  <a:avLst/>
                  <a:gdLst>
                    <a:gd name="connsiteX0" fmla="*/ 39878 w 39878"/>
                    <a:gd name="connsiteY0" fmla="*/ 38671 h 73151"/>
                    <a:gd name="connsiteX1" fmla="*/ 2413 w 39878"/>
                    <a:gd name="connsiteY1" fmla="*/ 73152 h 73151"/>
                    <a:gd name="connsiteX2" fmla="*/ 0 w 39878"/>
                    <a:gd name="connsiteY2" fmla="*/ 69913 h 73151"/>
                    <a:gd name="connsiteX3" fmla="*/ 36131 w 39878"/>
                    <a:gd name="connsiteY3" fmla="*/ 36576 h 73151"/>
                    <a:gd name="connsiteX4" fmla="*/ 0 w 39878"/>
                    <a:gd name="connsiteY4" fmla="*/ 3238 h 73151"/>
                    <a:gd name="connsiteX5" fmla="*/ 2413 w 39878"/>
                    <a:gd name="connsiteY5" fmla="*/ 0 h 73151"/>
                    <a:gd name="connsiteX6" fmla="*/ 39878 w 39878"/>
                    <a:gd name="connsiteY6" fmla="*/ 34481 h 73151"/>
                    <a:gd name="connsiteX7" fmla="*/ 39878 w 39878"/>
                    <a:gd name="connsiteY7" fmla="*/ 38671 h 73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878" h="73151">
                      <a:moveTo>
                        <a:pt x="39878" y="38671"/>
                      </a:moveTo>
                      <a:lnTo>
                        <a:pt x="2413" y="73152"/>
                      </a:lnTo>
                      <a:lnTo>
                        <a:pt x="0" y="69913"/>
                      </a:lnTo>
                      <a:lnTo>
                        <a:pt x="36131" y="36576"/>
                      </a:lnTo>
                      <a:lnTo>
                        <a:pt x="0" y="3238"/>
                      </a:lnTo>
                      <a:lnTo>
                        <a:pt x="2413" y="0"/>
                      </a:lnTo>
                      <a:lnTo>
                        <a:pt x="39878" y="34481"/>
                      </a:lnTo>
                      <a:lnTo>
                        <a:pt x="39878" y="38671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: Shape 32">
                  <a:extLst>
                    <a:ext uri="{FF2B5EF4-FFF2-40B4-BE49-F238E27FC236}">
                      <a16:creationId xmlns:a16="http://schemas.microsoft.com/office/drawing/2014/main" id="{BEC7D044-A64C-7B66-4AF6-07517897A307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61725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13" name="Freeform 13">
              <a:extLst>
                <a:ext uri="{FF2B5EF4-FFF2-40B4-BE49-F238E27FC236}">
                  <a16:creationId xmlns:a16="http://schemas.microsoft.com/office/drawing/2014/main" id="{CD699EAA-3C01-9591-3443-5192E7634C84}"/>
                </a:ext>
              </a:extLst>
            </p:cNvPr>
            <p:cNvSpPr/>
            <p:nvPr userDrawn="1"/>
          </p:nvSpPr>
          <p:spPr>
            <a:xfrm>
              <a:off x="862265" y="1612232"/>
              <a:ext cx="2224760" cy="4162926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  <a:gd name="connsiteX0" fmla="*/ 102 w 1720704"/>
                <a:gd name="connsiteY0" fmla="*/ 0 h 4202853"/>
                <a:gd name="connsiteX1" fmla="*/ 212558 w 1720704"/>
                <a:gd name="connsiteY1" fmla="*/ 1544 h 4202853"/>
                <a:gd name="connsiteX2" fmla="*/ 1246205 w 1720704"/>
                <a:gd name="connsiteY2" fmla="*/ 2180 h 4202853"/>
                <a:gd name="connsiteX3" fmla="*/ 1700076 w 1720704"/>
                <a:gd name="connsiteY3" fmla="*/ 435885 h 4202853"/>
                <a:gd name="connsiteX4" fmla="*/ 1720704 w 1720704"/>
                <a:gd name="connsiteY4" fmla="*/ 4202853 h 4202853"/>
                <a:gd name="connsiteX5" fmla="*/ 1518326 w 1720704"/>
                <a:gd name="connsiteY5" fmla="*/ 4202853 h 4202853"/>
                <a:gd name="connsiteX6" fmla="*/ 0 w 1720704"/>
                <a:gd name="connsiteY6" fmla="*/ 4201611 h 4202853"/>
                <a:gd name="connsiteX0" fmla="*/ 212558 w 1720704"/>
                <a:gd name="connsiteY0" fmla="*/ 0 h 4201309"/>
                <a:gd name="connsiteX1" fmla="*/ 1246205 w 1720704"/>
                <a:gd name="connsiteY1" fmla="*/ 636 h 4201309"/>
                <a:gd name="connsiteX2" fmla="*/ 1700076 w 1720704"/>
                <a:gd name="connsiteY2" fmla="*/ 434341 h 4201309"/>
                <a:gd name="connsiteX3" fmla="*/ 1720704 w 1720704"/>
                <a:gd name="connsiteY3" fmla="*/ 4201309 h 4201309"/>
                <a:gd name="connsiteX4" fmla="*/ 1518326 w 1720704"/>
                <a:gd name="connsiteY4" fmla="*/ 4201309 h 4201309"/>
                <a:gd name="connsiteX5" fmla="*/ 0 w 1720704"/>
                <a:gd name="connsiteY5" fmla="*/ 4200067 h 4201309"/>
                <a:gd name="connsiteX0" fmla="*/ 212558 w 1720704"/>
                <a:gd name="connsiteY0" fmla="*/ 0 h 4205294"/>
                <a:gd name="connsiteX1" fmla="*/ 1246205 w 1720704"/>
                <a:gd name="connsiteY1" fmla="*/ 636 h 4205294"/>
                <a:gd name="connsiteX2" fmla="*/ 1700076 w 1720704"/>
                <a:gd name="connsiteY2" fmla="*/ 434341 h 4205294"/>
                <a:gd name="connsiteX3" fmla="*/ 1720704 w 1720704"/>
                <a:gd name="connsiteY3" fmla="*/ 4201309 h 4205294"/>
                <a:gd name="connsiteX4" fmla="*/ 1518326 w 1720704"/>
                <a:gd name="connsiteY4" fmla="*/ 4201309 h 4205294"/>
                <a:gd name="connsiteX5" fmla="*/ 217694 w 1720704"/>
                <a:gd name="connsiteY5" fmla="*/ 4205294 h 4205294"/>
                <a:gd name="connsiteX6" fmla="*/ 0 w 1720704"/>
                <a:gd name="connsiteY6" fmla="*/ 4200067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305768 w 1508146"/>
                <a:gd name="connsiteY4" fmla="*/ 4201309 h 4205294"/>
                <a:gd name="connsiteX5" fmla="*/ 5136 w 1508146"/>
                <a:gd name="connsiteY5" fmla="*/ 4205294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424134 w 1508146"/>
                <a:gd name="connsiteY4" fmla="*/ 4202255 h 4205294"/>
                <a:gd name="connsiteX5" fmla="*/ 1305768 w 1508146"/>
                <a:gd name="connsiteY5" fmla="*/ 4201309 h 4205294"/>
                <a:gd name="connsiteX6" fmla="*/ 5136 w 1508146"/>
                <a:gd name="connsiteY6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87518 w 1509361"/>
                <a:gd name="connsiteY2" fmla="*/ 434341 h 4205294"/>
                <a:gd name="connsiteX3" fmla="*/ 1424134 w 1509361"/>
                <a:gd name="connsiteY3" fmla="*/ 4202255 h 4205294"/>
                <a:gd name="connsiteX4" fmla="*/ 1305768 w 1509361"/>
                <a:gd name="connsiteY4" fmla="*/ 4201309 h 4205294"/>
                <a:gd name="connsiteX5" fmla="*/ 5136 w 1509361"/>
                <a:gd name="connsiteY5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22915 w 1509361"/>
                <a:gd name="connsiteY2" fmla="*/ 376572 h 4205294"/>
                <a:gd name="connsiteX3" fmla="*/ 1487518 w 1509361"/>
                <a:gd name="connsiteY3" fmla="*/ 434341 h 4205294"/>
                <a:gd name="connsiteX4" fmla="*/ 1424134 w 1509361"/>
                <a:gd name="connsiteY4" fmla="*/ 4202255 h 4205294"/>
                <a:gd name="connsiteX5" fmla="*/ 1305768 w 1509361"/>
                <a:gd name="connsiteY5" fmla="*/ 4201309 h 4205294"/>
                <a:gd name="connsiteX6" fmla="*/ 5136 w 1509361"/>
                <a:gd name="connsiteY6" fmla="*/ 4205294 h 4205294"/>
                <a:gd name="connsiteX0" fmla="*/ 0 w 1457094"/>
                <a:gd name="connsiteY0" fmla="*/ 50479 h 4255773"/>
                <a:gd name="connsiteX1" fmla="*/ 1033647 w 1457094"/>
                <a:gd name="connsiteY1" fmla="*/ 51115 h 4255773"/>
                <a:gd name="connsiteX2" fmla="*/ 1422915 w 1457094"/>
                <a:gd name="connsiteY2" fmla="*/ 427051 h 4255773"/>
                <a:gd name="connsiteX3" fmla="*/ 1424134 w 1457094"/>
                <a:gd name="connsiteY3" fmla="*/ 4252734 h 4255773"/>
                <a:gd name="connsiteX4" fmla="*/ 1305768 w 1457094"/>
                <a:gd name="connsiteY4" fmla="*/ 4251788 h 4255773"/>
                <a:gd name="connsiteX5" fmla="*/ 5136 w 1457094"/>
                <a:gd name="connsiteY5" fmla="*/ 4255773 h 4255773"/>
                <a:gd name="connsiteX0" fmla="*/ 0 w 1432100"/>
                <a:gd name="connsiteY0" fmla="*/ 50479 h 4255773"/>
                <a:gd name="connsiteX1" fmla="*/ 1033647 w 1432100"/>
                <a:gd name="connsiteY1" fmla="*/ 51115 h 4255773"/>
                <a:gd name="connsiteX2" fmla="*/ 1422915 w 1432100"/>
                <a:gd name="connsiteY2" fmla="*/ 427051 h 4255773"/>
                <a:gd name="connsiteX3" fmla="*/ 1424134 w 1432100"/>
                <a:gd name="connsiteY3" fmla="*/ 4252734 h 4255773"/>
                <a:gd name="connsiteX4" fmla="*/ 1305768 w 1432100"/>
                <a:gd name="connsiteY4" fmla="*/ 4251788 h 4255773"/>
                <a:gd name="connsiteX5" fmla="*/ 5136 w 1432100"/>
                <a:gd name="connsiteY5" fmla="*/ 4255773 h 4255773"/>
                <a:gd name="connsiteX0" fmla="*/ 0 w 1434720"/>
                <a:gd name="connsiteY0" fmla="*/ 50479 h 4255773"/>
                <a:gd name="connsiteX1" fmla="*/ 1033647 w 1434720"/>
                <a:gd name="connsiteY1" fmla="*/ 51115 h 4255773"/>
                <a:gd name="connsiteX2" fmla="*/ 1422915 w 1434720"/>
                <a:gd name="connsiteY2" fmla="*/ 427051 h 4255773"/>
                <a:gd name="connsiteX3" fmla="*/ 1424134 w 1434720"/>
                <a:gd name="connsiteY3" fmla="*/ 4252734 h 4255773"/>
                <a:gd name="connsiteX4" fmla="*/ 1305768 w 1434720"/>
                <a:gd name="connsiteY4" fmla="*/ 4251788 h 4255773"/>
                <a:gd name="connsiteX5" fmla="*/ 5136 w 1434720"/>
                <a:gd name="connsiteY5" fmla="*/ 4255773 h 4255773"/>
                <a:gd name="connsiteX0" fmla="*/ 0 w 1432860"/>
                <a:gd name="connsiteY0" fmla="*/ 50479 h 4255773"/>
                <a:gd name="connsiteX1" fmla="*/ 1033647 w 1432860"/>
                <a:gd name="connsiteY1" fmla="*/ 51115 h 4255773"/>
                <a:gd name="connsiteX2" fmla="*/ 1422915 w 1432860"/>
                <a:gd name="connsiteY2" fmla="*/ 427051 h 4255773"/>
                <a:gd name="connsiteX3" fmla="*/ 1424134 w 1432860"/>
                <a:gd name="connsiteY3" fmla="*/ 4252734 h 4255773"/>
                <a:gd name="connsiteX4" fmla="*/ 1305768 w 1432860"/>
                <a:gd name="connsiteY4" fmla="*/ 4251788 h 4255773"/>
                <a:gd name="connsiteX5" fmla="*/ 5136 w 1432860"/>
                <a:gd name="connsiteY5" fmla="*/ 4255773 h 4255773"/>
                <a:gd name="connsiteX0" fmla="*/ 0 w 1424727"/>
                <a:gd name="connsiteY0" fmla="*/ 50479 h 4255773"/>
                <a:gd name="connsiteX1" fmla="*/ 1033647 w 1424727"/>
                <a:gd name="connsiteY1" fmla="*/ 51115 h 4255773"/>
                <a:gd name="connsiteX2" fmla="*/ 1422915 w 1424727"/>
                <a:gd name="connsiteY2" fmla="*/ 427051 h 4255773"/>
                <a:gd name="connsiteX3" fmla="*/ 1424134 w 1424727"/>
                <a:gd name="connsiteY3" fmla="*/ 4252734 h 4255773"/>
                <a:gd name="connsiteX4" fmla="*/ 1305768 w 1424727"/>
                <a:gd name="connsiteY4" fmla="*/ 4251788 h 4255773"/>
                <a:gd name="connsiteX5" fmla="*/ 5136 w 1424727"/>
                <a:gd name="connsiteY5" fmla="*/ 4255773 h 4255773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4727" h="4205294">
                  <a:moveTo>
                    <a:pt x="0" y="0"/>
                  </a:moveTo>
                  <a:lnTo>
                    <a:pt x="1033647" y="636"/>
                  </a:lnTo>
                  <a:cubicBezTo>
                    <a:pt x="1263479" y="213500"/>
                    <a:pt x="1167521" y="115063"/>
                    <a:pt x="1422915" y="376572"/>
                  </a:cubicBezTo>
                  <a:cubicBezTo>
                    <a:pt x="1424558" y="1178834"/>
                    <a:pt x="1425359" y="3578270"/>
                    <a:pt x="1424134" y="4202255"/>
                  </a:cubicBezTo>
                  <a:lnTo>
                    <a:pt x="1305768" y="4201309"/>
                  </a:lnTo>
                  <a:lnTo>
                    <a:pt x="5136" y="4205294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</p:grp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55192ECB-E6AA-F8DB-7050-CC847D62D0C0}"/>
              </a:ext>
            </a:extLst>
          </p:cNvPr>
          <p:cNvCxnSpPr>
            <a:cxnSpLocks/>
          </p:cNvCxnSpPr>
          <p:nvPr userDrawn="1"/>
        </p:nvCxnSpPr>
        <p:spPr>
          <a:xfrm>
            <a:off x="3746324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001C8DF9-2078-A365-F265-CBC52D98F078}"/>
              </a:ext>
            </a:extLst>
          </p:cNvPr>
          <p:cNvCxnSpPr>
            <a:cxnSpLocks/>
          </p:cNvCxnSpPr>
          <p:nvPr userDrawn="1"/>
        </p:nvCxnSpPr>
        <p:spPr>
          <a:xfrm>
            <a:off x="6607131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723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AC923037-76E7-083B-E716-2F6599047A2E}"/>
              </a:ext>
            </a:extLst>
          </p:cNvPr>
          <p:cNvGrpSpPr/>
          <p:nvPr userDrawn="1"/>
        </p:nvGrpSpPr>
        <p:grpSpPr>
          <a:xfrm>
            <a:off x="862265" y="1612232"/>
            <a:ext cx="2338382" cy="4162926"/>
            <a:chOff x="862265" y="1612232"/>
            <a:chExt cx="2338382" cy="4162926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73D9E96-6D04-CF58-DFC8-0D4B17367991}"/>
                </a:ext>
              </a:extLst>
            </p:cNvPr>
            <p:cNvGrpSpPr/>
            <p:nvPr userDrawn="1"/>
          </p:nvGrpSpPr>
          <p:grpSpPr>
            <a:xfrm>
              <a:off x="3147504" y="2061539"/>
              <a:ext cx="53143" cy="1085389"/>
              <a:chOff x="2780760" y="2009831"/>
              <a:chExt cx="53143" cy="1085389"/>
            </a:xfrm>
          </p:grpSpPr>
          <p:grpSp>
            <p:nvGrpSpPr>
              <p:cNvPr id="20" name="Graphic 42">
                <a:extLst>
                  <a:ext uri="{FF2B5EF4-FFF2-40B4-BE49-F238E27FC236}">
                    <a16:creationId xmlns:a16="http://schemas.microsoft.com/office/drawing/2014/main" id="{448CA28D-111D-776B-4D60-4AA669480874}"/>
                  </a:ext>
                </a:extLst>
              </p:cNvPr>
              <p:cNvGrpSpPr/>
              <p:nvPr userDrawn="1"/>
            </p:nvGrpSpPr>
            <p:grpSpPr>
              <a:xfrm rot="16200000" flipH="1" flipV="1">
                <a:off x="2482218" y="2310772"/>
                <a:ext cx="650227" cy="48346"/>
                <a:chOff x="7926578" y="441451"/>
                <a:chExt cx="895032" cy="66548"/>
              </a:xfrm>
              <a:solidFill>
                <a:srgbClr val="75BF43">
                  <a:alpha val="57000"/>
                </a:srgbClr>
              </a:solidFill>
            </p:grpSpPr>
            <p:sp>
              <p:nvSpPr>
                <p:cNvPr id="29" name="Freeform: Shape 33">
                  <a:extLst>
                    <a:ext uri="{FF2B5EF4-FFF2-40B4-BE49-F238E27FC236}">
                      <a16:creationId xmlns:a16="http://schemas.microsoft.com/office/drawing/2014/main" id="{CCDFAC58-5131-458F-C34F-2AD02EF5F148}"/>
                    </a:ext>
                  </a:extLst>
                </p:cNvPr>
                <p:cNvSpPr/>
                <p:nvPr/>
              </p:nvSpPr>
              <p:spPr>
                <a:xfrm>
                  <a:off x="8479726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reeform: Shape 34">
                  <a:extLst>
                    <a:ext uri="{FF2B5EF4-FFF2-40B4-BE49-F238E27FC236}">
                      <a16:creationId xmlns:a16="http://schemas.microsoft.com/office/drawing/2014/main" id="{9D14880D-D2A2-1252-8285-166AB0A180B4}"/>
                    </a:ext>
                  </a:extLst>
                </p:cNvPr>
                <p:cNvSpPr/>
                <p:nvPr/>
              </p:nvSpPr>
              <p:spPr>
                <a:xfrm>
                  <a:off x="843718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: Shape 35">
                  <a:extLst>
                    <a:ext uri="{FF2B5EF4-FFF2-40B4-BE49-F238E27FC236}">
                      <a16:creationId xmlns:a16="http://schemas.microsoft.com/office/drawing/2014/main" id="{10CE4AB4-B9E6-0361-60B1-916FF65D27D7}"/>
                    </a:ext>
                  </a:extLst>
                </p:cNvPr>
                <p:cNvSpPr/>
                <p:nvPr/>
              </p:nvSpPr>
              <p:spPr>
                <a:xfrm>
                  <a:off x="8394636" y="441451"/>
                  <a:ext cx="89281" cy="66548"/>
                </a:xfrm>
                <a:custGeom>
                  <a:avLst/>
                  <a:gdLst>
                    <a:gd name="connsiteX0" fmla="*/ 68707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: Shape 36">
                  <a:extLst>
                    <a:ext uri="{FF2B5EF4-FFF2-40B4-BE49-F238E27FC236}">
                      <a16:creationId xmlns:a16="http://schemas.microsoft.com/office/drawing/2014/main" id="{168CF0C5-82AD-DD34-16E0-9AC69013478F}"/>
                    </a:ext>
                  </a:extLst>
                </p:cNvPr>
                <p:cNvSpPr/>
                <p:nvPr/>
              </p:nvSpPr>
              <p:spPr>
                <a:xfrm>
                  <a:off x="8352091" y="441451"/>
                  <a:ext cx="89280" cy="66548"/>
                </a:xfrm>
                <a:custGeom>
                  <a:avLst/>
                  <a:gdLst>
                    <a:gd name="connsiteX0" fmla="*/ 68707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: Shape 37">
                  <a:extLst>
                    <a:ext uri="{FF2B5EF4-FFF2-40B4-BE49-F238E27FC236}">
                      <a16:creationId xmlns:a16="http://schemas.microsoft.com/office/drawing/2014/main" id="{8E44B1F8-921B-D664-8B00-8AD860F28B12}"/>
                    </a:ext>
                  </a:extLst>
                </p:cNvPr>
                <p:cNvSpPr/>
                <p:nvPr/>
              </p:nvSpPr>
              <p:spPr>
                <a:xfrm>
                  <a:off x="813930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: Shape 38">
                  <a:extLst>
                    <a:ext uri="{FF2B5EF4-FFF2-40B4-BE49-F238E27FC236}">
                      <a16:creationId xmlns:a16="http://schemas.microsoft.com/office/drawing/2014/main" id="{112533DF-028F-6EB4-2AA5-DBB3F93DC2C0}"/>
                    </a:ext>
                  </a:extLst>
                </p:cNvPr>
                <p:cNvSpPr/>
                <p:nvPr/>
              </p:nvSpPr>
              <p:spPr>
                <a:xfrm>
                  <a:off x="818184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: Shape 39">
                  <a:extLst>
                    <a:ext uri="{FF2B5EF4-FFF2-40B4-BE49-F238E27FC236}">
                      <a16:creationId xmlns:a16="http://schemas.microsoft.com/office/drawing/2014/main" id="{43A6496A-E328-135F-0E09-99BF9576552C}"/>
                    </a:ext>
                  </a:extLst>
                </p:cNvPr>
                <p:cNvSpPr/>
                <p:nvPr/>
              </p:nvSpPr>
              <p:spPr>
                <a:xfrm>
                  <a:off x="8267001" y="441451"/>
                  <a:ext cx="89280" cy="66548"/>
                </a:xfrm>
                <a:custGeom>
                  <a:avLst/>
                  <a:gdLst>
                    <a:gd name="connsiteX0" fmla="*/ 68643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643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: Shape 40">
                  <a:extLst>
                    <a:ext uri="{FF2B5EF4-FFF2-40B4-BE49-F238E27FC236}">
                      <a16:creationId xmlns:a16="http://schemas.microsoft.com/office/drawing/2014/main" id="{89FFCB27-549C-1C79-7611-A1A902ED2DDF}"/>
                    </a:ext>
                  </a:extLst>
                </p:cNvPr>
                <p:cNvSpPr/>
                <p:nvPr/>
              </p:nvSpPr>
              <p:spPr>
                <a:xfrm>
                  <a:off x="822439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: Shape 41">
                  <a:extLst>
                    <a:ext uri="{FF2B5EF4-FFF2-40B4-BE49-F238E27FC236}">
                      <a16:creationId xmlns:a16="http://schemas.microsoft.com/office/drawing/2014/main" id="{F44A6B2F-325C-4285-F37B-9B8F94CF4B61}"/>
                    </a:ext>
                  </a:extLst>
                </p:cNvPr>
                <p:cNvSpPr/>
                <p:nvPr/>
              </p:nvSpPr>
              <p:spPr>
                <a:xfrm>
                  <a:off x="8309546" y="441451"/>
                  <a:ext cx="89281" cy="66548"/>
                </a:xfrm>
                <a:custGeom>
                  <a:avLst/>
                  <a:gdLst>
                    <a:gd name="connsiteX0" fmla="*/ 68644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644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: Shape 42">
                  <a:extLst>
                    <a:ext uri="{FF2B5EF4-FFF2-40B4-BE49-F238E27FC236}">
                      <a16:creationId xmlns:a16="http://schemas.microsoft.com/office/drawing/2014/main" id="{8C26B916-174F-F58B-B7AD-87560A6D8F33}"/>
                    </a:ext>
                  </a:extLst>
                </p:cNvPr>
                <p:cNvSpPr/>
                <p:nvPr/>
              </p:nvSpPr>
              <p:spPr>
                <a:xfrm>
                  <a:off x="852227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: Shape 43">
                  <a:extLst>
                    <a:ext uri="{FF2B5EF4-FFF2-40B4-BE49-F238E27FC236}">
                      <a16:creationId xmlns:a16="http://schemas.microsoft.com/office/drawing/2014/main" id="{562E6E53-F7D4-00B0-F6BB-83A913E18E0D}"/>
                    </a:ext>
                  </a:extLst>
                </p:cNvPr>
                <p:cNvSpPr/>
                <p:nvPr/>
              </p:nvSpPr>
              <p:spPr>
                <a:xfrm>
                  <a:off x="869397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: Shape 44">
                  <a:extLst>
                    <a:ext uri="{FF2B5EF4-FFF2-40B4-BE49-F238E27FC236}">
                      <a16:creationId xmlns:a16="http://schemas.microsoft.com/office/drawing/2014/main" id="{584334FA-79C4-9FA9-D9D0-AE61510BE103}"/>
                    </a:ext>
                  </a:extLst>
                </p:cNvPr>
                <p:cNvSpPr/>
                <p:nvPr/>
              </p:nvSpPr>
              <p:spPr>
                <a:xfrm>
                  <a:off x="8821610" y="508000"/>
                  <a:ext cx="6350" cy="6350"/>
                </a:xfrm>
                <a:custGeom>
                  <a:avLst/>
                  <a:gdLst>
                    <a:gd name="connsiteX0" fmla="*/ 0 w 6350"/>
                    <a:gd name="connsiteY0" fmla="*/ 0 h 6350"/>
                    <a:gd name="connsiteX1" fmla="*/ 0 w 6350"/>
                    <a:gd name="connsiteY1" fmla="*/ 0 h 6350"/>
                    <a:gd name="connsiteX2" fmla="*/ 0 w 6350"/>
                    <a:gd name="connsiteY2" fmla="*/ 0 h 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0" h="635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: Shape 45">
                  <a:extLst>
                    <a:ext uri="{FF2B5EF4-FFF2-40B4-BE49-F238E27FC236}">
                      <a16:creationId xmlns:a16="http://schemas.microsoft.com/office/drawing/2014/main" id="{BBE1D073-993E-D6E5-EC3E-FC6CA8D9886B}"/>
                    </a:ext>
                  </a:extLst>
                </p:cNvPr>
                <p:cNvSpPr/>
                <p:nvPr/>
              </p:nvSpPr>
              <p:spPr>
                <a:xfrm>
                  <a:off x="8564816" y="441451"/>
                  <a:ext cx="90868" cy="66548"/>
                </a:xfrm>
                <a:custGeom>
                  <a:avLst/>
                  <a:gdLst>
                    <a:gd name="connsiteX0" fmla="*/ 68707 w 90868"/>
                    <a:gd name="connsiteY0" fmla="*/ 0 h 66548"/>
                    <a:gd name="connsiteX1" fmla="*/ 0 w 90868"/>
                    <a:gd name="connsiteY1" fmla="*/ 66548 h 66548"/>
                    <a:gd name="connsiteX2" fmla="*/ 22161 w 90868"/>
                    <a:gd name="connsiteY2" fmla="*/ 66548 h 66548"/>
                    <a:gd name="connsiteX3" fmla="*/ 90868 w 90868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0868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2161" y="66548"/>
                      </a:lnTo>
                      <a:lnTo>
                        <a:pt x="90868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: Shape 46">
                  <a:extLst>
                    <a:ext uri="{FF2B5EF4-FFF2-40B4-BE49-F238E27FC236}">
                      <a16:creationId xmlns:a16="http://schemas.microsoft.com/office/drawing/2014/main" id="{83F764FD-8E27-B379-9FAE-1D289E34A787}"/>
                    </a:ext>
                  </a:extLst>
                </p:cNvPr>
                <p:cNvSpPr/>
                <p:nvPr/>
              </p:nvSpPr>
              <p:spPr>
                <a:xfrm>
                  <a:off x="8651430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: Shape 47">
                  <a:extLst>
                    <a:ext uri="{FF2B5EF4-FFF2-40B4-BE49-F238E27FC236}">
                      <a16:creationId xmlns:a16="http://schemas.microsoft.com/office/drawing/2014/main" id="{F35E4914-347A-1977-0E33-6136EA18B88C}"/>
                    </a:ext>
                  </a:extLst>
                </p:cNvPr>
                <p:cNvSpPr/>
                <p:nvPr/>
              </p:nvSpPr>
              <p:spPr>
                <a:xfrm>
                  <a:off x="860888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: Shape 48">
                  <a:extLst>
                    <a:ext uri="{FF2B5EF4-FFF2-40B4-BE49-F238E27FC236}">
                      <a16:creationId xmlns:a16="http://schemas.microsoft.com/office/drawing/2014/main" id="{F00340EA-3F31-5C24-7ABE-CB245856435A}"/>
                    </a:ext>
                  </a:extLst>
                </p:cNvPr>
                <p:cNvSpPr/>
                <p:nvPr/>
              </p:nvSpPr>
              <p:spPr>
                <a:xfrm>
                  <a:off x="809675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: Shape 49">
                  <a:extLst>
                    <a:ext uri="{FF2B5EF4-FFF2-40B4-BE49-F238E27FC236}">
                      <a16:creationId xmlns:a16="http://schemas.microsoft.com/office/drawing/2014/main" id="{EFFF877C-AB18-41CC-14F0-0D5FBC6FCCCD}"/>
                    </a:ext>
                  </a:extLst>
                </p:cNvPr>
                <p:cNvSpPr/>
                <p:nvPr/>
              </p:nvSpPr>
              <p:spPr>
                <a:xfrm>
                  <a:off x="801166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: Shape 50">
                  <a:extLst>
                    <a:ext uri="{FF2B5EF4-FFF2-40B4-BE49-F238E27FC236}">
                      <a16:creationId xmlns:a16="http://schemas.microsoft.com/office/drawing/2014/main" id="{31915A05-629F-E346-2AB3-D63B2E064626}"/>
                    </a:ext>
                  </a:extLst>
                </p:cNvPr>
                <p:cNvSpPr/>
                <p:nvPr/>
              </p:nvSpPr>
              <p:spPr>
                <a:xfrm>
                  <a:off x="805421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: Shape 51">
                  <a:extLst>
                    <a:ext uri="{FF2B5EF4-FFF2-40B4-BE49-F238E27FC236}">
                      <a16:creationId xmlns:a16="http://schemas.microsoft.com/office/drawing/2014/main" id="{D2FC5AD3-4D90-669E-B4FF-B8B811E21E2C}"/>
                    </a:ext>
                  </a:extLst>
                </p:cNvPr>
                <p:cNvSpPr/>
                <p:nvPr/>
              </p:nvSpPr>
              <p:spPr>
                <a:xfrm>
                  <a:off x="7969122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: Shape 52">
                  <a:extLst>
                    <a:ext uri="{FF2B5EF4-FFF2-40B4-BE49-F238E27FC236}">
                      <a16:creationId xmlns:a16="http://schemas.microsoft.com/office/drawing/2014/main" id="{BD2BEE39-4C0A-54D1-0FB4-CA9A4C4DB9D9}"/>
                    </a:ext>
                  </a:extLst>
                </p:cNvPr>
                <p:cNvSpPr/>
                <p:nvPr/>
              </p:nvSpPr>
              <p:spPr>
                <a:xfrm>
                  <a:off x="792657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0454AF3C-3A34-48A0-94CE-87992504E68E}"/>
                  </a:ext>
                </a:extLst>
              </p:cNvPr>
              <p:cNvGrpSpPr/>
              <p:nvPr userDrawn="1"/>
            </p:nvGrpSpPr>
            <p:grpSpPr>
              <a:xfrm rot="10800000" flipV="1">
                <a:off x="2780760" y="2715971"/>
                <a:ext cx="53143" cy="379249"/>
                <a:chOff x="5390750" y="3681616"/>
                <a:chExt cx="73151" cy="522033"/>
              </a:xfrm>
            </p:grpSpPr>
            <p:sp>
              <p:nvSpPr>
                <p:cNvPr id="22" name="Freeform: Shape 26">
                  <a:extLst>
                    <a:ext uri="{FF2B5EF4-FFF2-40B4-BE49-F238E27FC236}">
                      <a16:creationId xmlns:a16="http://schemas.microsoft.com/office/drawing/2014/main" id="{52B1A317-B762-C6F1-2116-0373123DDA35}"/>
                    </a:ext>
                  </a:extLst>
                </p:cNvPr>
                <p:cNvSpPr/>
                <p:nvPr/>
              </p:nvSpPr>
              <p:spPr>
                <a:xfrm rot="16200000" flipH="1">
                  <a:off x="5405100" y="3681616"/>
                  <a:ext cx="43688" cy="43687"/>
                </a:xfrm>
                <a:custGeom>
                  <a:avLst/>
                  <a:gdLst>
                    <a:gd name="connsiteX0" fmla="*/ 0 w 43688"/>
                    <a:gd name="connsiteY0" fmla="*/ 0 h 43687"/>
                    <a:gd name="connsiteX1" fmla="*/ 43688 w 43688"/>
                    <a:gd name="connsiteY1" fmla="*/ 0 h 43687"/>
                    <a:gd name="connsiteX2" fmla="*/ 43688 w 43688"/>
                    <a:gd name="connsiteY2" fmla="*/ 43688 h 43687"/>
                    <a:gd name="connsiteX3" fmla="*/ 0 w 43688"/>
                    <a:gd name="connsiteY3" fmla="*/ 43688 h 43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88" h="43687">
                      <a:moveTo>
                        <a:pt x="0" y="0"/>
                      </a:moveTo>
                      <a:lnTo>
                        <a:pt x="43688" y="0"/>
                      </a:lnTo>
                      <a:lnTo>
                        <a:pt x="43688" y="43688"/>
                      </a:lnTo>
                      <a:lnTo>
                        <a:pt x="0" y="43688"/>
                      </a:lnTo>
                      <a:close/>
                    </a:path>
                  </a:pathLst>
                </a:custGeom>
                <a:noFill/>
                <a:ln w="3175" cap="flat">
                  <a:solidFill>
                    <a:schemeClr val="bg1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Freeform: Shape 27">
                  <a:extLst>
                    <a:ext uri="{FF2B5EF4-FFF2-40B4-BE49-F238E27FC236}">
                      <a16:creationId xmlns:a16="http://schemas.microsoft.com/office/drawing/2014/main" id="{5E73A686-6F33-D02A-87E0-9D0F4850169D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81062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: Shape 28">
                  <a:extLst>
                    <a:ext uri="{FF2B5EF4-FFF2-40B4-BE49-F238E27FC236}">
                      <a16:creationId xmlns:a16="http://schemas.microsoft.com/office/drawing/2014/main" id="{875AD4CC-6314-C2CB-D780-BFC2C4AC09CA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21394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reeform: Shape 29">
                  <a:extLst>
                    <a:ext uri="{FF2B5EF4-FFF2-40B4-BE49-F238E27FC236}">
                      <a16:creationId xmlns:a16="http://schemas.microsoft.com/office/drawing/2014/main" id="{679E0774-0140-F7FE-9E56-373FA1B30A83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02056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: Shape 30">
                  <a:extLst>
                    <a:ext uri="{FF2B5EF4-FFF2-40B4-BE49-F238E27FC236}">
                      <a16:creationId xmlns:a16="http://schemas.microsoft.com/office/drawing/2014/main" id="{378F7077-11BD-2255-56DF-CCF08D622BD7}"/>
                    </a:ext>
                  </a:extLst>
                </p:cNvPr>
                <p:cNvSpPr/>
                <p:nvPr/>
              </p:nvSpPr>
              <p:spPr>
                <a:xfrm rot="10800000" flipH="1">
                  <a:off x="5407069" y="4165549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: Shape 31">
                  <a:extLst>
                    <a:ext uri="{FF2B5EF4-FFF2-40B4-BE49-F238E27FC236}">
                      <a16:creationId xmlns:a16="http://schemas.microsoft.com/office/drawing/2014/main" id="{CDF31240-81CC-B9E6-4DD4-F357E67983D8}"/>
                    </a:ext>
                  </a:extLst>
                </p:cNvPr>
                <p:cNvSpPr/>
                <p:nvPr/>
              </p:nvSpPr>
              <p:spPr>
                <a:xfrm rot="16200000" flipH="1">
                  <a:off x="5407387" y="3776295"/>
                  <a:ext cx="39878" cy="73151"/>
                </a:xfrm>
                <a:custGeom>
                  <a:avLst/>
                  <a:gdLst>
                    <a:gd name="connsiteX0" fmla="*/ 39878 w 39878"/>
                    <a:gd name="connsiteY0" fmla="*/ 38671 h 73151"/>
                    <a:gd name="connsiteX1" fmla="*/ 2413 w 39878"/>
                    <a:gd name="connsiteY1" fmla="*/ 73152 h 73151"/>
                    <a:gd name="connsiteX2" fmla="*/ 0 w 39878"/>
                    <a:gd name="connsiteY2" fmla="*/ 69913 h 73151"/>
                    <a:gd name="connsiteX3" fmla="*/ 36131 w 39878"/>
                    <a:gd name="connsiteY3" fmla="*/ 36576 h 73151"/>
                    <a:gd name="connsiteX4" fmla="*/ 0 w 39878"/>
                    <a:gd name="connsiteY4" fmla="*/ 3238 h 73151"/>
                    <a:gd name="connsiteX5" fmla="*/ 2413 w 39878"/>
                    <a:gd name="connsiteY5" fmla="*/ 0 h 73151"/>
                    <a:gd name="connsiteX6" fmla="*/ 39878 w 39878"/>
                    <a:gd name="connsiteY6" fmla="*/ 34481 h 73151"/>
                    <a:gd name="connsiteX7" fmla="*/ 39878 w 39878"/>
                    <a:gd name="connsiteY7" fmla="*/ 38671 h 73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878" h="73151">
                      <a:moveTo>
                        <a:pt x="39878" y="38671"/>
                      </a:moveTo>
                      <a:lnTo>
                        <a:pt x="2413" y="73152"/>
                      </a:lnTo>
                      <a:lnTo>
                        <a:pt x="0" y="69913"/>
                      </a:lnTo>
                      <a:lnTo>
                        <a:pt x="36131" y="36576"/>
                      </a:lnTo>
                      <a:lnTo>
                        <a:pt x="0" y="3238"/>
                      </a:lnTo>
                      <a:lnTo>
                        <a:pt x="2413" y="0"/>
                      </a:lnTo>
                      <a:lnTo>
                        <a:pt x="39878" y="34481"/>
                      </a:lnTo>
                      <a:lnTo>
                        <a:pt x="39878" y="38671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: Shape 32">
                  <a:extLst>
                    <a:ext uri="{FF2B5EF4-FFF2-40B4-BE49-F238E27FC236}">
                      <a16:creationId xmlns:a16="http://schemas.microsoft.com/office/drawing/2014/main" id="{46F2587C-0849-DF2A-CBBE-07EE294EA7FC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61725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1980AD73-00B3-9D84-22DF-391143F54AE0}"/>
                </a:ext>
              </a:extLst>
            </p:cNvPr>
            <p:cNvSpPr/>
            <p:nvPr userDrawn="1"/>
          </p:nvSpPr>
          <p:spPr>
            <a:xfrm>
              <a:off x="862265" y="1612232"/>
              <a:ext cx="2224760" cy="4162926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  <a:gd name="connsiteX0" fmla="*/ 102 w 1720704"/>
                <a:gd name="connsiteY0" fmla="*/ 0 h 4202853"/>
                <a:gd name="connsiteX1" fmla="*/ 212558 w 1720704"/>
                <a:gd name="connsiteY1" fmla="*/ 1544 h 4202853"/>
                <a:gd name="connsiteX2" fmla="*/ 1246205 w 1720704"/>
                <a:gd name="connsiteY2" fmla="*/ 2180 h 4202853"/>
                <a:gd name="connsiteX3" fmla="*/ 1700076 w 1720704"/>
                <a:gd name="connsiteY3" fmla="*/ 435885 h 4202853"/>
                <a:gd name="connsiteX4" fmla="*/ 1720704 w 1720704"/>
                <a:gd name="connsiteY4" fmla="*/ 4202853 h 4202853"/>
                <a:gd name="connsiteX5" fmla="*/ 1518326 w 1720704"/>
                <a:gd name="connsiteY5" fmla="*/ 4202853 h 4202853"/>
                <a:gd name="connsiteX6" fmla="*/ 0 w 1720704"/>
                <a:gd name="connsiteY6" fmla="*/ 4201611 h 4202853"/>
                <a:gd name="connsiteX0" fmla="*/ 212558 w 1720704"/>
                <a:gd name="connsiteY0" fmla="*/ 0 h 4201309"/>
                <a:gd name="connsiteX1" fmla="*/ 1246205 w 1720704"/>
                <a:gd name="connsiteY1" fmla="*/ 636 h 4201309"/>
                <a:gd name="connsiteX2" fmla="*/ 1700076 w 1720704"/>
                <a:gd name="connsiteY2" fmla="*/ 434341 h 4201309"/>
                <a:gd name="connsiteX3" fmla="*/ 1720704 w 1720704"/>
                <a:gd name="connsiteY3" fmla="*/ 4201309 h 4201309"/>
                <a:gd name="connsiteX4" fmla="*/ 1518326 w 1720704"/>
                <a:gd name="connsiteY4" fmla="*/ 4201309 h 4201309"/>
                <a:gd name="connsiteX5" fmla="*/ 0 w 1720704"/>
                <a:gd name="connsiteY5" fmla="*/ 4200067 h 4201309"/>
                <a:gd name="connsiteX0" fmla="*/ 212558 w 1720704"/>
                <a:gd name="connsiteY0" fmla="*/ 0 h 4205294"/>
                <a:gd name="connsiteX1" fmla="*/ 1246205 w 1720704"/>
                <a:gd name="connsiteY1" fmla="*/ 636 h 4205294"/>
                <a:gd name="connsiteX2" fmla="*/ 1700076 w 1720704"/>
                <a:gd name="connsiteY2" fmla="*/ 434341 h 4205294"/>
                <a:gd name="connsiteX3" fmla="*/ 1720704 w 1720704"/>
                <a:gd name="connsiteY3" fmla="*/ 4201309 h 4205294"/>
                <a:gd name="connsiteX4" fmla="*/ 1518326 w 1720704"/>
                <a:gd name="connsiteY4" fmla="*/ 4201309 h 4205294"/>
                <a:gd name="connsiteX5" fmla="*/ 217694 w 1720704"/>
                <a:gd name="connsiteY5" fmla="*/ 4205294 h 4205294"/>
                <a:gd name="connsiteX6" fmla="*/ 0 w 1720704"/>
                <a:gd name="connsiteY6" fmla="*/ 4200067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305768 w 1508146"/>
                <a:gd name="connsiteY4" fmla="*/ 4201309 h 4205294"/>
                <a:gd name="connsiteX5" fmla="*/ 5136 w 1508146"/>
                <a:gd name="connsiteY5" fmla="*/ 4205294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424134 w 1508146"/>
                <a:gd name="connsiteY4" fmla="*/ 4202255 h 4205294"/>
                <a:gd name="connsiteX5" fmla="*/ 1305768 w 1508146"/>
                <a:gd name="connsiteY5" fmla="*/ 4201309 h 4205294"/>
                <a:gd name="connsiteX6" fmla="*/ 5136 w 1508146"/>
                <a:gd name="connsiteY6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87518 w 1509361"/>
                <a:gd name="connsiteY2" fmla="*/ 434341 h 4205294"/>
                <a:gd name="connsiteX3" fmla="*/ 1424134 w 1509361"/>
                <a:gd name="connsiteY3" fmla="*/ 4202255 h 4205294"/>
                <a:gd name="connsiteX4" fmla="*/ 1305768 w 1509361"/>
                <a:gd name="connsiteY4" fmla="*/ 4201309 h 4205294"/>
                <a:gd name="connsiteX5" fmla="*/ 5136 w 1509361"/>
                <a:gd name="connsiteY5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22915 w 1509361"/>
                <a:gd name="connsiteY2" fmla="*/ 376572 h 4205294"/>
                <a:gd name="connsiteX3" fmla="*/ 1487518 w 1509361"/>
                <a:gd name="connsiteY3" fmla="*/ 434341 h 4205294"/>
                <a:gd name="connsiteX4" fmla="*/ 1424134 w 1509361"/>
                <a:gd name="connsiteY4" fmla="*/ 4202255 h 4205294"/>
                <a:gd name="connsiteX5" fmla="*/ 1305768 w 1509361"/>
                <a:gd name="connsiteY5" fmla="*/ 4201309 h 4205294"/>
                <a:gd name="connsiteX6" fmla="*/ 5136 w 1509361"/>
                <a:gd name="connsiteY6" fmla="*/ 4205294 h 4205294"/>
                <a:gd name="connsiteX0" fmla="*/ 0 w 1457094"/>
                <a:gd name="connsiteY0" fmla="*/ 50479 h 4255773"/>
                <a:gd name="connsiteX1" fmla="*/ 1033647 w 1457094"/>
                <a:gd name="connsiteY1" fmla="*/ 51115 h 4255773"/>
                <a:gd name="connsiteX2" fmla="*/ 1422915 w 1457094"/>
                <a:gd name="connsiteY2" fmla="*/ 427051 h 4255773"/>
                <a:gd name="connsiteX3" fmla="*/ 1424134 w 1457094"/>
                <a:gd name="connsiteY3" fmla="*/ 4252734 h 4255773"/>
                <a:gd name="connsiteX4" fmla="*/ 1305768 w 1457094"/>
                <a:gd name="connsiteY4" fmla="*/ 4251788 h 4255773"/>
                <a:gd name="connsiteX5" fmla="*/ 5136 w 1457094"/>
                <a:gd name="connsiteY5" fmla="*/ 4255773 h 4255773"/>
                <a:gd name="connsiteX0" fmla="*/ 0 w 1432100"/>
                <a:gd name="connsiteY0" fmla="*/ 50479 h 4255773"/>
                <a:gd name="connsiteX1" fmla="*/ 1033647 w 1432100"/>
                <a:gd name="connsiteY1" fmla="*/ 51115 h 4255773"/>
                <a:gd name="connsiteX2" fmla="*/ 1422915 w 1432100"/>
                <a:gd name="connsiteY2" fmla="*/ 427051 h 4255773"/>
                <a:gd name="connsiteX3" fmla="*/ 1424134 w 1432100"/>
                <a:gd name="connsiteY3" fmla="*/ 4252734 h 4255773"/>
                <a:gd name="connsiteX4" fmla="*/ 1305768 w 1432100"/>
                <a:gd name="connsiteY4" fmla="*/ 4251788 h 4255773"/>
                <a:gd name="connsiteX5" fmla="*/ 5136 w 1432100"/>
                <a:gd name="connsiteY5" fmla="*/ 4255773 h 4255773"/>
                <a:gd name="connsiteX0" fmla="*/ 0 w 1434720"/>
                <a:gd name="connsiteY0" fmla="*/ 50479 h 4255773"/>
                <a:gd name="connsiteX1" fmla="*/ 1033647 w 1434720"/>
                <a:gd name="connsiteY1" fmla="*/ 51115 h 4255773"/>
                <a:gd name="connsiteX2" fmla="*/ 1422915 w 1434720"/>
                <a:gd name="connsiteY2" fmla="*/ 427051 h 4255773"/>
                <a:gd name="connsiteX3" fmla="*/ 1424134 w 1434720"/>
                <a:gd name="connsiteY3" fmla="*/ 4252734 h 4255773"/>
                <a:gd name="connsiteX4" fmla="*/ 1305768 w 1434720"/>
                <a:gd name="connsiteY4" fmla="*/ 4251788 h 4255773"/>
                <a:gd name="connsiteX5" fmla="*/ 5136 w 1434720"/>
                <a:gd name="connsiteY5" fmla="*/ 4255773 h 4255773"/>
                <a:gd name="connsiteX0" fmla="*/ 0 w 1432860"/>
                <a:gd name="connsiteY0" fmla="*/ 50479 h 4255773"/>
                <a:gd name="connsiteX1" fmla="*/ 1033647 w 1432860"/>
                <a:gd name="connsiteY1" fmla="*/ 51115 h 4255773"/>
                <a:gd name="connsiteX2" fmla="*/ 1422915 w 1432860"/>
                <a:gd name="connsiteY2" fmla="*/ 427051 h 4255773"/>
                <a:gd name="connsiteX3" fmla="*/ 1424134 w 1432860"/>
                <a:gd name="connsiteY3" fmla="*/ 4252734 h 4255773"/>
                <a:gd name="connsiteX4" fmla="*/ 1305768 w 1432860"/>
                <a:gd name="connsiteY4" fmla="*/ 4251788 h 4255773"/>
                <a:gd name="connsiteX5" fmla="*/ 5136 w 1432860"/>
                <a:gd name="connsiteY5" fmla="*/ 4255773 h 4255773"/>
                <a:gd name="connsiteX0" fmla="*/ 0 w 1424727"/>
                <a:gd name="connsiteY0" fmla="*/ 50479 h 4255773"/>
                <a:gd name="connsiteX1" fmla="*/ 1033647 w 1424727"/>
                <a:gd name="connsiteY1" fmla="*/ 51115 h 4255773"/>
                <a:gd name="connsiteX2" fmla="*/ 1422915 w 1424727"/>
                <a:gd name="connsiteY2" fmla="*/ 427051 h 4255773"/>
                <a:gd name="connsiteX3" fmla="*/ 1424134 w 1424727"/>
                <a:gd name="connsiteY3" fmla="*/ 4252734 h 4255773"/>
                <a:gd name="connsiteX4" fmla="*/ 1305768 w 1424727"/>
                <a:gd name="connsiteY4" fmla="*/ 4251788 h 4255773"/>
                <a:gd name="connsiteX5" fmla="*/ 5136 w 1424727"/>
                <a:gd name="connsiteY5" fmla="*/ 4255773 h 4255773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4727" h="4205294">
                  <a:moveTo>
                    <a:pt x="0" y="0"/>
                  </a:moveTo>
                  <a:lnTo>
                    <a:pt x="1033647" y="636"/>
                  </a:lnTo>
                  <a:cubicBezTo>
                    <a:pt x="1263479" y="213500"/>
                    <a:pt x="1167521" y="115063"/>
                    <a:pt x="1422915" y="376572"/>
                  </a:cubicBezTo>
                  <a:cubicBezTo>
                    <a:pt x="1424558" y="1178834"/>
                    <a:pt x="1425359" y="3578270"/>
                    <a:pt x="1424134" y="4202255"/>
                  </a:cubicBezTo>
                  <a:lnTo>
                    <a:pt x="1305768" y="4201309"/>
                  </a:lnTo>
                  <a:lnTo>
                    <a:pt x="5136" y="4205294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0C0782D-07C9-6C9A-899C-240F6B16CA2D}"/>
              </a:ext>
            </a:extLst>
          </p:cNvPr>
          <p:cNvSpPr/>
          <p:nvPr userDrawn="1"/>
        </p:nvSpPr>
        <p:spPr>
          <a:xfrm>
            <a:off x="0" y="1614433"/>
            <a:ext cx="511478" cy="41607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E52D23A9-739E-7103-45A8-08E68C80B3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4814264"/>
            <a:ext cx="2103120" cy="276999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9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9" name="Text Placeholder 85">
            <a:extLst>
              <a:ext uri="{FF2B5EF4-FFF2-40B4-BE49-F238E27FC236}">
                <a16:creationId xmlns:a16="http://schemas.microsoft.com/office/drawing/2014/main" id="{01FDCED4-F296-8D2C-D085-A7266F35E9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123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60" name="Text Placeholder 121">
            <a:extLst>
              <a:ext uri="{FF2B5EF4-FFF2-40B4-BE49-F238E27FC236}">
                <a16:creationId xmlns:a16="http://schemas.microsoft.com/office/drawing/2014/main" id="{C2504015-3812-BDB5-95CF-6382A417FDB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45279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AF2C3772-2C69-6BB2-9EC4-6BD3DBC2A3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30835" y="4814264"/>
            <a:ext cx="2103120" cy="276999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9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63" name="Text Placeholder 85">
            <a:extLst>
              <a:ext uri="{FF2B5EF4-FFF2-40B4-BE49-F238E27FC236}">
                <a16:creationId xmlns:a16="http://schemas.microsoft.com/office/drawing/2014/main" id="{22737C18-8C44-19DF-0BE8-E56592E6658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80467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64" name="Text Placeholder 121">
            <a:extLst>
              <a:ext uri="{FF2B5EF4-FFF2-40B4-BE49-F238E27FC236}">
                <a16:creationId xmlns:a16="http://schemas.microsoft.com/office/drawing/2014/main" id="{35BC947F-53F0-4E72-BC4C-7B3991654D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07623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FDCCB271-4287-D3B7-6512-439C25F54A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05145" y="4814264"/>
            <a:ext cx="2103120" cy="276999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9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67" name="Text Placeholder 85">
            <a:extLst>
              <a:ext uri="{FF2B5EF4-FFF2-40B4-BE49-F238E27FC236}">
                <a16:creationId xmlns:a16="http://schemas.microsoft.com/office/drawing/2014/main" id="{DC8ABA07-92AD-FBF2-96C8-AE3C7CDB7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54777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85" name="Text Placeholder 121">
            <a:extLst>
              <a:ext uri="{FF2B5EF4-FFF2-40B4-BE49-F238E27FC236}">
                <a16:creationId xmlns:a16="http://schemas.microsoft.com/office/drawing/2014/main" id="{FAAE4BC0-4C70-E6D6-5013-0E6C80F4BB9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81933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C092F8B2-2CDC-D8E0-3322-4AE25823EADE}"/>
              </a:ext>
            </a:extLst>
          </p:cNvPr>
          <p:cNvCxnSpPr>
            <a:cxnSpLocks/>
          </p:cNvCxnSpPr>
          <p:nvPr userDrawn="1"/>
        </p:nvCxnSpPr>
        <p:spPr>
          <a:xfrm>
            <a:off x="1681817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0CCD68B8-5573-DDFA-D016-F416C7DFD548}"/>
              </a:ext>
            </a:extLst>
          </p:cNvPr>
          <p:cNvCxnSpPr>
            <a:cxnSpLocks/>
          </p:cNvCxnSpPr>
          <p:nvPr userDrawn="1"/>
        </p:nvCxnSpPr>
        <p:spPr>
          <a:xfrm>
            <a:off x="4546044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Text Placeholder 3">
            <a:extLst>
              <a:ext uri="{FF2B5EF4-FFF2-40B4-BE49-F238E27FC236}">
                <a16:creationId xmlns:a16="http://schemas.microsoft.com/office/drawing/2014/main" id="{590205EF-F2BF-E457-3107-12662231582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74310" y="4814264"/>
            <a:ext cx="2103120" cy="276999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9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7" name="Text Placeholder 85">
            <a:extLst>
              <a:ext uri="{FF2B5EF4-FFF2-40B4-BE49-F238E27FC236}">
                <a16:creationId xmlns:a16="http://schemas.microsoft.com/office/drawing/2014/main" id="{6F5D37F2-D532-52AA-6E6D-352C405B6C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23942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228" name="Text Placeholder 121">
            <a:extLst>
              <a:ext uri="{FF2B5EF4-FFF2-40B4-BE49-F238E27FC236}">
                <a16:creationId xmlns:a16="http://schemas.microsoft.com/office/drawing/2014/main" id="{1CA57A0D-9F47-BC0E-A542-B4E5697E651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651098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grpSp>
        <p:nvGrpSpPr>
          <p:cNvPr id="271" name="Group 270">
            <a:extLst>
              <a:ext uri="{FF2B5EF4-FFF2-40B4-BE49-F238E27FC236}">
                <a16:creationId xmlns:a16="http://schemas.microsoft.com/office/drawing/2014/main" id="{B239310B-1FB7-3CDC-4D73-3B5DFD6B9339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10617301" y="6372899"/>
            <a:ext cx="1574697" cy="184647"/>
            <a:chOff x="-8365" y="6414219"/>
            <a:chExt cx="3024563" cy="354656"/>
          </a:xfrm>
          <a:gradFill>
            <a:gsLst>
              <a:gs pos="1000">
                <a:schemeClr val="tx1">
                  <a:alpha val="50000"/>
                </a:schemeClr>
              </a:gs>
              <a:gs pos="40000">
                <a:schemeClr val="bg1">
                  <a:alpha val="0"/>
                </a:schemeClr>
              </a:gs>
            </a:gsLst>
            <a:lin ang="0" scaled="0"/>
          </a:gradFill>
        </p:grpSpPr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7CAE7D53-C0CD-009E-38EE-2A7F9109B370}"/>
                </a:ext>
              </a:extLst>
            </p:cNvPr>
            <p:cNvSpPr/>
            <p:nvPr/>
          </p:nvSpPr>
          <p:spPr>
            <a:xfrm>
              <a:off x="1254664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FC2E9697-4503-807F-677D-BD68BE3AAB4D}"/>
                </a:ext>
              </a:extLst>
            </p:cNvPr>
            <p:cNvSpPr/>
            <p:nvPr/>
          </p:nvSpPr>
          <p:spPr>
            <a:xfrm>
              <a:off x="1037409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1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1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EE8DB4C9-5AC8-CC40-F8E5-DF81265EDB1A}"/>
                </a:ext>
              </a:extLst>
            </p:cNvPr>
            <p:cNvSpPr/>
            <p:nvPr/>
          </p:nvSpPr>
          <p:spPr>
            <a:xfrm>
              <a:off x="820005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7516B739-ECCC-8CB6-F940-250AB83F1A24}"/>
                </a:ext>
              </a:extLst>
            </p:cNvPr>
            <p:cNvSpPr/>
            <p:nvPr/>
          </p:nvSpPr>
          <p:spPr>
            <a:xfrm>
              <a:off x="602602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262D0217-448B-2A7C-7E68-7153A32E2A64}"/>
                </a:ext>
              </a:extLst>
            </p:cNvPr>
            <p:cNvSpPr/>
            <p:nvPr/>
          </p:nvSpPr>
          <p:spPr>
            <a:xfrm>
              <a:off x="167943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75D72FE6-3BF4-D1C8-A191-D85E73E94371}"/>
                </a:ext>
              </a:extLst>
            </p:cNvPr>
            <p:cNvSpPr/>
            <p:nvPr/>
          </p:nvSpPr>
          <p:spPr>
            <a:xfrm>
              <a:off x="385347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1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1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1AB2A8E1-DEC0-288D-0BD8-6780CFF6006A}"/>
                </a:ext>
              </a:extLst>
            </p:cNvPr>
            <p:cNvSpPr/>
            <p:nvPr/>
          </p:nvSpPr>
          <p:spPr>
            <a:xfrm>
              <a:off x="2566670" y="6414219"/>
              <a:ext cx="434658" cy="339786"/>
            </a:xfrm>
            <a:custGeom>
              <a:avLst/>
              <a:gdLst>
                <a:gd name="connsiteX0" fmla="*/ 434658 w 434658"/>
                <a:gd name="connsiteY0" fmla="*/ 0 h 339786"/>
                <a:gd name="connsiteX1" fmla="*/ 350939 w 434658"/>
                <a:gd name="connsiteY1" fmla="*/ 0 h 339786"/>
                <a:gd name="connsiteX2" fmla="*/ 0 w 434658"/>
                <a:gd name="connsiteY2" fmla="*/ 339786 h 339786"/>
                <a:gd name="connsiteX3" fmla="*/ 105281 w 434658"/>
                <a:gd name="connsiteY3" fmla="*/ 339786 h 339786"/>
                <a:gd name="connsiteX4" fmla="*/ 434658 w 434658"/>
                <a:gd name="connsiteY4" fmla="*/ 20967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658" h="339786">
                  <a:moveTo>
                    <a:pt x="434658" y="0"/>
                  </a:moveTo>
                  <a:lnTo>
                    <a:pt x="350939" y="0"/>
                  </a:lnTo>
                  <a:lnTo>
                    <a:pt x="0" y="339786"/>
                  </a:lnTo>
                  <a:lnTo>
                    <a:pt x="105281" y="339786"/>
                  </a:lnTo>
                  <a:lnTo>
                    <a:pt x="434658" y="20967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A1A82FD9-3C02-8D60-D768-FB33B5ED03AE}"/>
                </a:ext>
              </a:extLst>
            </p:cNvPr>
            <p:cNvSpPr/>
            <p:nvPr/>
          </p:nvSpPr>
          <p:spPr>
            <a:xfrm>
              <a:off x="1472068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B2D975E4-35F1-0162-241A-5A5C433F7577}"/>
                </a:ext>
              </a:extLst>
            </p:cNvPr>
            <p:cNvSpPr/>
            <p:nvPr/>
          </p:nvSpPr>
          <p:spPr>
            <a:xfrm>
              <a:off x="2349266" y="6414219"/>
              <a:ext cx="456368" cy="339786"/>
            </a:xfrm>
            <a:custGeom>
              <a:avLst/>
              <a:gdLst>
                <a:gd name="connsiteX0" fmla="*/ 350939 w 456368"/>
                <a:gd name="connsiteY0" fmla="*/ 0 h 339786"/>
                <a:gd name="connsiteX1" fmla="*/ 0 w 456368"/>
                <a:gd name="connsiteY1" fmla="*/ 339786 h 339786"/>
                <a:gd name="connsiteX2" fmla="*/ 105430 w 456368"/>
                <a:gd name="connsiteY2" fmla="*/ 339786 h 339786"/>
                <a:gd name="connsiteX3" fmla="*/ 456369 w 456368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8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9F99DF58-F0ED-C9D2-F393-B1EC6194AC06}"/>
                </a:ext>
              </a:extLst>
            </p:cNvPr>
            <p:cNvSpPr/>
            <p:nvPr/>
          </p:nvSpPr>
          <p:spPr>
            <a:xfrm>
              <a:off x="3001328" y="6754005"/>
              <a:ext cx="14870" cy="14870"/>
            </a:xfrm>
            <a:custGeom>
              <a:avLst/>
              <a:gdLst>
                <a:gd name="connsiteX0" fmla="*/ 0 w 14870"/>
                <a:gd name="connsiteY0" fmla="*/ 0 h 14870"/>
                <a:gd name="connsiteX1" fmla="*/ 0 w 14870"/>
                <a:gd name="connsiteY1" fmla="*/ 0 h 14870"/>
                <a:gd name="connsiteX2" fmla="*/ 0 w 14870"/>
                <a:gd name="connsiteY2" fmla="*/ 0 h 1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70" h="1487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0B52CA7D-C93F-6A49-134F-B0B0DFF023A8}"/>
                </a:ext>
              </a:extLst>
            </p:cNvPr>
            <p:cNvSpPr/>
            <p:nvPr/>
          </p:nvSpPr>
          <p:spPr>
            <a:xfrm>
              <a:off x="2783925" y="6543590"/>
              <a:ext cx="217403" cy="210414"/>
            </a:xfrm>
            <a:custGeom>
              <a:avLst/>
              <a:gdLst>
                <a:gd name="connsiteX0" fmla="*/ 217404 w 217403"/>
                <a:gd name="connsiteY0" fmla="*/ 0 h 210414"/>
                <a:gd name="connsiteX1" fmla="*/ 0 w 217403"/>
                <a:gd name="connsiteY1" fmla="*/ 210415 h 210414"/>
                <a:gd name="connsiteX2" fmla="*/ 105430 w 217403"/>
                <a:gd name="connsiteY2" fmla="*/ 210415 h 210414"/>
                <a:gd name="connsiteX3" fmla="*/ 217404 w 217403"/>
                <a:gd name="connsiteY3" fmla="*/ 102010 h 210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403" h="210414">
                  <a:moveTo>
                    <a:pt x="217404" y="0"/>
                  </a:moveTo>
                  <a:lnTo>
                    <a:pt x="0" y="210415"/>
                  </a:lnTo>
                  <a:lnTo>
                    <a:pt x="105430" y="210415"/>
                  </a:lnTo>
                  <a:lnTo>
                    <a:pt x="217404" y="10201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22282DB2-6793-0022-8D24-9EBD202C4BFB}"/>
                </a:ext>
              </a:extLst>
            </p:cNvPr>
            <p:cNvSpPr/>
            <p:nvPr/>
          </p:nvSpPr>
          <p:spPr>
            <a:xfrm>
              <a:off x="1689471" y="6414219"/>
              <a:ext cx="464101" cy="339786"/>
            </a:xfrm>
            <a:custGeom>
              <a:avLst/>
              <a:gdLst>
                <a:gd name="connsiteX0" fmla="*/ 350939 w 464101"/>
                <a:gd name="connsiteY0" fmla="*/ 0 h 339786"/>
                <a:gd name="connsiteX1" fmla="*/ 0 w 464101"/>
                <a:gd name="connsiteY1" fmla="*/ 339786 h 339786"/>
                <a:gd name="connsiteX2" fmla="*/ 113163 w 464101"/>
                <a:gd name="connsiteY2" fmla="*/ 339786 h 339786"/>
                <a:gd name="connsiteX3" fmla="*/ 464102 w 464101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101" h="339786">
                  <a:moveTo>
                    <a:pt x="350939" y="0"/>
                  </a:moveTo>
                  <a:lnTo>
                    <a:pt x="0" y="339786"/>
                  </a:lnTo>
                  <a:lnTo>
                    <a:pt x="113163" y="339786"/>
                  </a:lnTo>
                  <a:lnTo>
                    <a:pt x="464102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FE1360A7-D4D6-A837-458C-A0E6ECC3F66E}"/>
                </a:ext>
              </a:extLst>
            </p:cNvPr>
            <p:cNvSpPr/>
            <p:nvPr/>
          </p:nvSpPr>
          <p:spPr>
            <a:xfrm>
              <a:off x="2131863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30514559-A078-83F0-A80F-4C922FA68E75}"/>
                </a:ext>
              </a:extLst>
            </p:cNvPr>
            <p:cNvSpPr/>
            <p:nvPr/>
          </p:nvSpPr>
          <p:spPr>
            <a:xfrm>
              <a:off x="1914608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23350A40-970C-ECAB-0F57-B35717E37D47}"/>
                </a:ext>
              </a:extLst>
            </p:cNvPr>
            <p:cNvSpPr/>
            <p:nvPr/>
          </p:nvSpPr>
          <p:spPr>
            <a:xfrm>
              <a:off x="-8365" y="6414220"/>
              <a:ext cx="197871" cy="191583"/>
            </a:xfrm>
            <a:custGeom>
              <a:avLst/>
              <a:gdLst>
                <a:gd name="connsiteX0" fmla="*/ 92589 w 197871"/>
                <a:gd name="connsiteY0" fmla="*/ 0 h 191583"/>
                <a:gd name="connsiteX1" fmla="*/ 197871 w 197871"/>
                <a:gd name="connsiteY1" fmla="*/ 0 h 191583"/>
                <a:gd name="connsiteX2" fmla="*/ 0 w 197871"/>
                <a:gd name="connsiteY2" fmla="*/ 191583 h 191583"/>
                <a:gd name="connsiteX3" fmla="*/ 0 w 197871"/>
                <a:gd name="connsiteY3" fmla="*/ 89647 h 191583"/>
                <a:gd name="connsiteX4" fmla="*/ 92589 w 197871"/>
                <a:gd name="connsiteY4" fmla="*/ 0 h 19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871" h="191583">
                  <a:moveTo>
                    <a:pt x="92589" y="0"/>
                  </a:moveTo>
                  <a:lnTo>
                    <a:pt x="197871" y="0"/>
                  </a:lnTo>
                  <a:lnTo>
                    <a:pt x="0" y="191583"/>
                  </a:lnTo>
                  <a:lnTo>
                    <a:pt x="0" y="89647"/>
                  </a:lnTo>
                  <a:lnTo>
                    <a:pt x="92589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E335E10E-9E79-7B7E-430A-776ADE86EC75}"/>
                </a:ext>
              </a:extLst>
            </p:cNvPr>
            <p:cNvSpPr/>
            <p:nvPr/>
          </p:nvSpPr>
          <p:spPr>
            <a:xfrm>
              <a:off x="-8365" y="6414219"/>
              <a:ext cx="415274" cy="339786"/>
            </a:xfrm>
            <a:custGeom>
              <a:avLst/>
              <a:gdLst>
                <a:gd name="connsiteX0" fmla="*/ 309844 w 415274"/>
                <a:gd name="connsiteY0" fmla="*/ 0 h 339786"/>
                <a:gd name="connsiteX1" fmla="*/ 415274 w 415274"/>
                <a:gd name="connsiteY1" fmla="*/ 0 h 339786"/>
                <a:gd name="connsiteX2" fmla="*/ 64335 w 415274"/>
                <a:gd name="connsiteY2" fmla="*/ 339786 h 339786"/>
                <a:gd name="connsiteX3" fmla="*/ 0 w 415274"/>
                <a:gd name="connsiteY3" fmla="*/ 339786 h 339786"/>
                <a:gd name="connsiteX4" fmla="*/ 0 w 415274"/>
                <a:gd name="connsiteY4" fmla="*/ 299997 h 339786"/>
                <a:gd name="connsiteX5" fmla="*/ 309844 w 415274"/>
                <a:gd name="connsiteY5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274" h="339786">
                  <a:moveTo>
                    <a:pt x="309844" y="0"/>
                  </a:moveTo>
                  <a:lnTo>
                    <a:pt x="415274" y="0"/>
                  </a:lnTo>
                  <a:lnTo>
                    <a:pt x="64335" y="339786"/>
                  </a:lnTo>
                  <a:lnTo>
                    <a:pt x="0" y="339786"/>
                  </a:lnTo>
                  <a:lnTo>
                    <a:pt x="0" y="299997"/>
                  </a:lnTo>
                  <a:lnTo>
                    <a:pt x="3098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</p:grp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1C1E5F21-CA4E-124C-2CC1-C972E04287BB}"/>
              </a:ext>
            </a:extLst>
          </p:cNvPr>
          <p:cNvCxnSpPr>
            <a:cxnSpLocks/>
          </p:cNvCxnSpPr>
          <p:nvPr userDrawn="1"/>
        </p:nvCxnSpPr>
        <p:spPr>
          <a:xfrm>
            <a:off x="7425196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1CD8660A-9C2E-CEF7-302F-F0AD2BA899E5}"/>
              </a:ext>
            </a:extLst>
          </p:cNvPr>
          <p:cNvCxnSpPr>
            <a:cxnSpLocks/>
          </p:cNvCxnSpPr>
          <p:nvPr userDrawn="1"/>
        </p:nvCxnSpPr>
        <p:spPr>
          <a:xfrm>
            <a:off x="10289423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Picture Placeholder 2">
            <a:extLst>
              <a:ext uri="{FF2B5EF4-FFF2-40B4-BE49-F238E27FC236}">
                <a16:creationId xmlns:a16="http://schemas.microsoft.com/office/drawing/2014/main" id="{9F4D885A-BD41-90CE-F8F1-6AAF23142C70}"/>
              </a:ext>
            </a:extLst>
          </p:cNvPr>
          <p:cNvSpPr>
            <a:spLocks noGrp="1"/>
          </p:cNvSpPr>
          <p:nvPr>
            <p:ph type="pic" idx="34" hasCustomPrompt="1"/>
          </p:nvPr>
        </p:nvSpPr>
        <p:spPr>
          <a:xfrm>
            <a:off x="875130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sp>
        <p:nvSpPr>
          <p:cNvPr id="50" name="Picture Placeholder 2">
            <a:extLst>
              <a:ext uri="{FF2B5EF4-FFF2-40B4-BE49-F238E27FC236}">
                <a16:creationId xmlns:a16="http://schemas.microsoft.com/office/drawing/2014/main" id="{E454BA95-6C4D-FF95-90B3-8CD6E9ECFC7C}"/>
              </a:ext>
            </a:extLst>
          </p:cNvPr>
          <p:cNvSpPr>
            <a:spLocks noGrp="1"/>
          </p:cNvSpPr>
          <p:nvPr>
            <p:ph type="pic" idx="35" hasCustomPrompt="1"/>
          </p:nvPr>
        </p:nvSpPr>
        <p:spPr>
          <a:xfrm>
            <a:off x="3745717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80A3CCD-54AD-C5C0-03EB-0A79A8E18349}"/>
              </a:ext>
            </a:extLst>
          </p:cNvPr>
          <p:cNvGrpSpPr/>
          <p:nvPr userDrawn="1"/>
        </p:nvGrpSpPr>
        <p:grpSpPr>
          <a:xfrm>
            <a:off x="3732852" y="1612232"/>
            <a:ext cx="2338382" cy="4162926"/>
            <a:chOff x="862265" y="1612232"/>
            <a:chExt cx="2338382" cy="416292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1BEA514-05F4-4697-92F5-2E45455BA04C}"/>
                </a:ext>
              </a:extLst>
            </p:cNvPr>
            <p:cNvGrpSpPr/>
            <p:nvPr userDrawn="1"/>
          </p:nvGrpSpPr>
          <p:grpSpPr>
            <a:xfrm>
              <a:off x="3147504" y="2061539"/>
              <a:ext cx="53143" cy="1085389"/>
              <a:chOff x="2780760" y="2009831"/>
              <a:chExt cx="53143" cy="1085389"/>
            </a:xfrm>
          </p:grpSpPr>
          <p:grpSp>
            <p:nvGrpSpPr>
              <p:cNvPr id="54" name="Graphic 42">
                <a:extLst>
                  <a:ext uri="{FF2B5EF4-FFF2-40B4-BE49-F238E27FC236}">
                    <a16:creationId xmlns:a16="http://schemas.microsoft.com/office/drawing/2014/main" id="{1724FA00-81FA-58C0-4018-ED239D3918E0}"/>
                  </a:ext>
                </a:extLst>
              </p:cNvPr>
              <p:cNvGrpSpPr/>
              <p:nvPr userDrawn="1"/>
            </p:nvGrpSpPr>
            <p:grpSpPr>
              <a:xfrm rot="16200000" flipH="1" flipV="1">
                <a:off x="2482218" y="2310772"/>
                <a:ext cx="650227" cy="48346"/>
                <a:chOff x="7926578" y="441451"/>
                <a:chExt cx="895032" cy="66548"/>
              </a:xfrm>
              <a:solidFill>
                <a:srgbClr val="75BF43">
                  <a:alpha val="57000"/>
                </a:srgbClr>
              </a:solidFill>
            </p:grpSpPr>
            <p:sp>
              <p:nvSpPr>
                <p:cNvPr id="74" name="Freeform: Shape 33">
                  <a:extLst>
                    <a:ext uri="{FF2B5EF4-FFF2-40B4-BE49-F238E27FC236}">
                      <a16:creationId xmlns:a16="http://schemas.microsoft.com/office/drawing/2014/main" id="{B1924BC8-EEA6-7942-E271-7C1A17B2BDC7}"/>
                    </a:ext>
                  </a:extLst>
                </p:cNvPr>
                <p:cNvSpPr/>
                <p:nvPr/>
              </p:nvSpPr>
              <p:spPr>
                <a:xfrm>
                  <a:off x="8479726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: Shape 34">
                  <a:extLst>
                    <a:ext uri="{FF2B5EF4-FFF2-40B4-BE49-F238E27FC236}">
                      <a16:creationId xmlns:a16="http://schemas.microsoft.com/office/drawing/2014/main" id="{ED596803-C66F-2FFB-C58C-2F4A46302353}"/>
                    </a:ext>
                  </a:extLst>
                </p:cNvPr>
                <p:cNvSpPr/>
                <p:nvPr/>
              </p:nvSpPr>
              <p:spPr>
                <a:xfrm>
                  <a:off x="843718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: Shape 35">
                  <a:extLst>
                    <a:ext uri="{FF2B5EF4-FFF2-40B4-BE49-F238E27FC236}">
                      <a16:creationId xmlns:a16="http://schemas.microsoft.com/office/drawing/2014/main" id="{9FC5A271-A640-BEFB-5D64-160829BA4F9C}"/>
                    </a:ext>
                  </a:extLst>
                </p:cNvPr>
                <p:cNvSpPr/>
                <p:nvPr/>
              </p:nvSpPr>
              <p:spPr>
                <a:xfrm>
                  <a:off x="8394636" y="441451"/>
                  <a:ext cx="89281" cy="66548"/>
                </a:xfrm>
                <a:custGeom>
                  <a:avLst/>
                  <a:gdLst>
                    <a:gd name="connsiteX0" fmla="*/ 68707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: Shape 36">
                  <a:extLst>
                    <a:ext uri="{FF2B5EF4-FFF2-40B4-BE49-F238E27FC236}">
                      <a16:creationId xmlns:a16="http://schemas.microsoft.com/office/drawing/2014/main" id="{3FEEFA9A-6BCA-CA77-27CA-EDA67F716F2A}"/>
                    </a:ext>
                  </a:extLst>
                </p:cNvPr>
                <p:cNvSpPr/>
                <p:nvPr/>
              </p:nvSpPr>
              <p:spPr>
                <a:xfrm>
                  <a:off x="8352091" y="441451"/>
                  <a:ext cx="89280" cy="66548"/>
                </a:xfrm>
                <a:custGeom>
                  <a:avLst/>
                  <a:gdLst>
                    <a:gd name="connsiteX0" fmla="*/ 68707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Freeform: Shape 37">
                  <a:extLst>
                    <a:ext uri="{FF2B5EF4-FFF2-40B4-BE49-F238E27FC236}">
                      <a16:creationId xmlns:a16="http://schemas.microsoft.com/office/drawing/2014/main" id="{77A06DDC-D0F2-FAE3-D450-8DAACC70F695}"/>
                    </a:ext>
                  </a:extLst>
                </p:cNvPr>
                <p:cNvSpPr/>
                <p:nvPr/>
              </p:nvSpPr>
              <p:spPr>
                <a:xfrm>
                  <a:off x="813930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: Shape 38">
                  <a:extLst>
                    <a:ext uri="{FF2B5EF4-FFF2-40B4-BE49-F238E27FC236}">
                      <a16:creationId xmlns:a16="http://schemas.microsoft.com/office/drawing/2014/main" id="{56A6C680-F16E-2795-9319-2A5423243928}"/>
                    </a:ext>
                  </a:extLst>
                </p:cNvPr>
                <p:cNvSpPr/>
                <p:nvPr/>
              </p:nvSpPr>
              <p:spPr>
                <a:xfrm>
                  <a:off x="818184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: Shape 39">
                  <a:extLst>
                    <a:ext uri="{FF2B5EF4-FFF2-40B4-BE49-F238E27FC236}">
                      <a16:creationId xmlns:a16="http://schemas.microsoft.com/office/drawing/2014/main" id="{9FC13C3F-A8A8-857F-E25A-0149615CB959}"/>
                    </a:ext>
                  </a:extLst>
                </p:cNvPr>
                <p:cNvSpPr/>
                <p:nvPr/>
              </p:nvSpPr>
              <p:spPr>
                <a:xfrm>
                  <a:off x="8267001" y="441451"/>
                  <a:ext cx="89280" cy="66548"/>
                </a:xfrm>
                <a:custGeom>
                  <a:avLst/>
                  <a:gdLst>
                    <a:gd name="connsiteX0" fmla="*/ 68643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643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: Shape 40">
                  <a:extLst>
                    <a:ext uri="{FF2B5EF4-FFF2-40B4-BE49-F238E27FC236}">
                      <a16:creationId xmlns:a16="http://schemas.microsoft.com/office/drawing/2014/main" id="{DA8C2DCF-D346-B3F9-105D-927202486D53}"/>
                    </a:ext>
                  </a:extLst>
                </p:cNvPr>
                <p:cNvSpPr/>
                <p:nvPr/>
              </p:nvSpPr>
              <p:spPr>
                <a:xfrm>
                  <a:off x="822439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: Shape 41">
                  <a:extLst>
                    <a:ext uri="{FF2B5EF4-FFF2-40B4-BE49-F238E27FC236}">
                      <a16:creationId xmlns:a16="http://schemas.microsoft.com/office/drawing/2014/main" id="{34C337AB-D19B-0E29-15F4-301786E42A09}"/>
                    </a:ext>
                  </a:extLst>
                </p:cNvPr>
                <p:cNvSpPr/>
                <p:nvPr/>
              </p:nvSpPr>
              <p:spPr>
                <a:xfrm>
                  <a:off x="8309546" y="441451"/>
                  <a:ext cx="89281" cy="66548"/>
                </a:xfrm>
                <a:custGeom>
                  <a:avLst/>
                  <a:gdLst>
                    <a:gd name="connsiteX0" fmla="*/ 68644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644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: Shape 42">
                  <a:extLst>
                    <a:ext uri="{FF2B5EF4-FFF2-40B4-BE49-F238E27FC236}">
                      <a16:creationId xmlns:a16="http://schemas.microsoft.com/office/drawing/2014/main" id="{FD44BF94-7CB3-6F43-7797-E1FB2070865D}"/>
                    </a:ext>
                  </a:extLst>
                </p:cNvPr>
                <p:cNvSpPr/>
                <p:nvPr/>
              </p:nvSpPr>
              <p:spPr>
                <a:xfrm>
                  <a:off x="852227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: Shape 43">
                  <a:extLst>
                    <a:ext uri="{FF2B5EF4-FFF2-40B4-BE49-F238E27FC236}">
                      <a16:creationId xmlns:a16="http://schemas.microsoft.com/office/drawing/2014/main" id="{8F82EEDD-A82F-899A-4805-5D542C1BC81A}"/>
                    </a:ext>
                  </a:extLst>
                </p:cNvPr>
                <p:cNvSpPr/>
                <p:nvPr/>
              </p:nvSpPr>
              <p:spPr>
                <a:xfrm>
                  <a:off x="869397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: Shape 44">
                  <a:extLst>
                    <a:ext uri="{FF2B5EF4-FFF2-40B4-BE49-F238E27FC236}">
                      <a16:creationId xmlns:a16="http://schemas.microsoft.com/office/drawing/2014/main" id="{0260BA2E-97F7-F62E-112E-156B5EDC954D}"/>
                    </a:ext>
                  </a:extLst>
                </p:cNvPr>
                <p:cNvSpPr/>
                <p:nvPr/>
              </p:nvSpPr>
              <p:spPr>
                <a:xfrm>
                  <a:off x="8821610" y="508000"/>
                  <a:ext cx="6350" cy="6350"/>
                </a:xfrm>
                <a:custGeom>
                  <a:avLst/>
                  <a:gdLst>
                    <a:gd name="connsiteX0" fmla="*/ 0 w 6350"/>
                    <a:gd name="connsiteY0" fmla="*/ 0 h 6350"/>
                    <a:gd name="connsiteX1" fmla="*/ 0 w 6350"/>
                    <a:gd name="connsiteY1" fmla="*/ 0 h 6350"/>
                    <a:gd name="connsiteX2" fmla="*/ 0 w 6350"/>
                    <a:gd name="connsiteY2" fmla="*/ 0 h 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0" h="635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: Shape 45">
                  <a:extLst>
                    <a:ext uri="{FF2B5EF4-FFF2-40B4-BE49-F238E27FC236}">
                      <a16:creationId xmlns:a16="http://schemas.microsoft.com/office/drawing/2014/main" id="{A9F702D9-742A-B09B-0CC6-399789BD22F7}"/>
                    </a:ext>
                  </a:extLst>
                </p:cNvPr>
                <p:cNvSpPr/>
                <p:nvPr/>
              </p:nvSpPr>
              <p:spPr>
                <a:xfrm>
                  <a:off x="8564816" y="441451"/>
                  <a:ext cx="90868" cy="66548"/>
                </a:xfrm>
                <a:custGeom>
                  <a:avLst/>
                  <a:gdLst>
                    <a:gd name="connsiteX0" fmla="*/ 68707 w 90868"/>
                    <a:gd name="connsiteY0" fmla="*/ 0 h 66548"/>
                    <a:gd name="connsiteX1" fmla="*/ 0 w 90868"/>
                    <a:gd name="connsiteY1" fmla="*/ 66548 h 66548"/>
                    <a:gd name="connsiteX2" fmla="*/ 22161 w 90868"/>
                    <a:gd name="connsiteY2" fmla="*/ 66548 h 66548"/>
                    <a:gd name="connsiteX3" fmla="*/ 90868 w 90868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0868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2161" y="66548"/>
                      </a:lnTo>
                      <a:lnTo>
                        <a:pt x="90868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: Shape 46">
                  <a:extLst>
                    <a:ext uri="{FF2B5EF4-FFF2-40B4-BE49-F238E27FC236}">
                      <a16:creationId xmlns:a16="http://schemas.microsoft.com/office/drawing/2014/main" id="{413F6C73-7AA6-F78F-2D34-861D425F5EFC}"/>
                    </a:ext>
                  </a:extLst>
                </p:cNvPr>
                <p:cNvSpPr/>
                <p:nvPr/>
              </p:nvSpPr>
              <p:spPr>
                <a:xfrm>
                  <a:off x="8651430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: Shape 47">
                  <a:extLst>
                    <a:ext uri="{FF2B5EF4-FFF2-40B4-BE49-F238E27FC236}">
                      <a16:creationId xmlns:a16="http://schemas.microsoft.com/office/drawing/2014/main" id="{41927416-F8E4-B015-A9C0-73EA21589E9F}"/>
                    </a:ext>
                  </a:extLst>
                </p:cNvPr>
                <p:cNvSpPr/>
                <p:nvPr/>
              </p:nvSpPr>
              <p:spPr>
                <a:xfrm>
                  <a:off x="860888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: Shape 48">
                  <a:extLst>
                    <a:ext uri="{FF2B5EF4-FFF2-40B4-BE49-F238E27FC236}">
                      <a16:creationId xmlns:a16="http://schemas.microsoft.com/office/drawing/2014/main" id="{876A8016-C16D-DCD0-8DD5-BA18244BB28F}"/>
                    </a:ext>
                  </a:extLst>
                </p:cNvPr>
                <p:cNvSpPr/>
                <p:nvPr/>
              </p:nvSpPr>
              <p:spPr>
                <a:xfrm>
                  <a:off x="809675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: Shape 49">
                  <a:extLst>
                    <a:ext uri="{FF2B5EF4-FFF2-40B4-BE49-F238E27FC236}">
                      <a16:creationId xmlns:a16="http://schemas.microsoft.com/office/drawing/2014/main" id="{F1514961-2068-07C9-42FD-B104EE69608E}"/>
                    </a:ext>
                  </a:extLst>
                </p:cNvPr>
                <p:cNvSpPr/>
                <p:nvPr/>
              </p:nvSpPr>
              <p:spPr>
                <a:xfrm>
                  <a:off x="801166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: Shape 50">
                  <a:extLst>
                    <a:ext uri="{FF2B5EF4-FFF2-40B4-BE49-F238E27FC236}">
                      <a16:creationId xmlns:a16="http://schemas.microsoft.com/office/drawing/2014/main" id="{14FBF0A8-A6BA-5CBF-14C2-3E421FEFF66E}"/>
                    </a:ext>
                  </a:extLst>
                </p:cNvPr>
                <p:cNvSpPr/>
                <p:nvPr/>
              </p:nvSpPr>
              <p:spPr>
                <a:xfrm>
                  <a:off x="805421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: Shape 51">
                  <a:extLst>
                    <a:ext uri="{FF2B5EF4-FFF2-40B4-BE49-F238E27FC236}">
                      <a16:creationId xmlns:a16="http://schemas.microsoft.com/office/drawing/2014/main" id="{03422FE4-2981-109F-BCAD-807E3CD6173B}"/>
                    </a:ext>
                  </a:extLst>
                </p:cNvPr>
                <p:cNvSpPr/>
                <p:nvPr/>
              </p:nvSpPr>
              <p:spPr>
                <a:xfrm>
                  <a:off x="7969122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: Shape 52">
                  <a:extLst>
                    <a:ext uri="{FF2B5EF4-FFF2-40B4-BE49-F238E27FC236}">
                      <a16:creationId xmlns:a16="http://schemas.microsoft.com/office/drawing/2014/main" id="{E90DF328-C325-9F47-F793-154A7D5D7BB5}"/>
                    </a:ext>
                  </a:extLst>
                </p:cNvPr>
                <p:cNvSpPr/>
                <p:nvPr/>
              </p:nvSpPr>
              <p:spPr>
                <a:xfrm>
                  <a:off x="792657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82086F27-3796-53D2-7A4F-E42B99A6AF47}"/>
                  </a:ext>
                </a:extLst>
              </p:cNvPr>
              <p:cNvGrpSpPr/>
              <p:nvPr userDrawn="1"/>
            </p:nvGrpSpPr>
            <p:grpSpPr>
              <a:xfrm rot="10800000" flipV="1">
                <a:off x="2780760" y="2715971"/>
                <a:ext cx="53143" cy="379249"/>
                <a:chOff x="5390750" y="3681616"/>
                <a:chExt cx="73151" cy="522033"/>
              </a:xfrm>
            </p:grpSpPr>
            <p:sp>
              <p:nvSpPr>
                <p:cNvPr id="56" name="Freeform: Shape 26">
                  <a:extLst>
                    <a:ext uri="{FF2B5EF4-FFF2-40B4-BE49-F238E27FC236}">
                      <a16:creationId xmlns:a16="http://schemas.microsoft.com/office/drawing/2014/main" id="{007EC7D6-49C3-E77F-2680-34FC98113583}"/>
                    </a:ext>
                  </a:extLst>
                </p:cNvPr>
                <p:cNvSpPr/>
                <p:nvPr/>
              </p:nvSpPr>
              <p:spPr>
                <a:xfrm rot="16200000" flipH="1">
                  <a:off x="5405100" y="3681616"/>
                  <a:ext cx="43688" cy="43687"/>
                </a:xfrm>
                <a:custGeom>
                  <a:avLst/>
                  <a:gdLst>
                    <a:gd name="connsiteX0" fmla="*/ 0 w 43688"/>
                    <a:gd name="connsiteY0" fmla="*/ 0 h 43687"/>
                    <a:gd name="connsiteX1" fmla="*/ 43688 w 43688"/>
                    <a:gd name="connsiteY1" fmla="*/ 0 h 43687"/>
                    <a:gd name="connsiteX2" fmla="*/ 43688 w 43688"/>
                    <a:gd name="connsiteY2" fmla="*/ 43688 h 43687"/>
                    <a:gd name="connsiteX3" fmla="*/ 0 w 43688"/>
                    <a:gd name="connsiteY3" fmla="*/ 43688 h 43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88" h="43687">
                      <a:moveTo>
                        <a:pt x="0" y="0"/>
                      </a:moveTo>
                      <a:lnTo>
                        <a:pt x="43688" y="0"/>
                      </a:lnTo>
                      <a:lnTo>
                        <a:pt x="43688" y="43688"/>
                      </a:lnTo>
                      <a:lnTo>
                        <a:pt x="0" y="43688"/>
                      </a:lnTo>
                      <a:close/>
                    </a:path>
                  </a:pathLst>
                </a:custGeom>
                <a:noFill/>
                <a:ln w="3175" cap="flat">
                  <a:solidFill>
                    <a:schemeClr val="bg1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: Shape 27">
                  <a:extLst>
                    <a:ext uri="{FF2B5EF4-FFF2-40B4-BE49-F238E27FC236}">
                      <a16:creationId xmlns:a16="http://schemas.microsoft.com/office/drawing/2014/main" id="{93C2EAC3-FF27-24E8-D7AE-2618243EDCC4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81062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: Shape 28">
                  <a:extLst>
                    <a:ext uri="{FF2B5EF4-FFF2-40B4-BE49-F238E27FC236}">
                      <a16:creationId xmlns:a16="http://schemas.microsoft.com/office/drawing/2014/main" id="{2D73ABC3-D88E-AD24-1702-4E386314F74F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21394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reeform: Shape 29">
                  <a:extLst>
                    <a:ext uri="{FF2B5EF4-FFF2-40B4-BE49-F238E27FC236}">
                      <a16:creationId xmlns:a16="http://schemas.microsoft.com/office/drawing/2014/main" id="{9A6D17DB-3144-73DF-5BC0-3E0FAAC02176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02056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: Shape 30">
                  <a:extLst>
                    <a:ext uri="{FF2B5EF4-FFF2-40B4-BE49-F238E27FC236}">
                      <a16:creationId xmlns:a16="http://schemas.microsoft.com/office/drawing/2014/main" id="{FAB2A645-FB55-58EF-D59E-7D0D43DD40AC}"/>
                    </a:ext>
                  </a:extLst>
                </p:cNvPr>
                <p:cNvSpPr/>
                <p:nvPr/>
              </p:nvSpPr>
              <p:spPr>
                <a:xfrm rot="10800000" flipH="1">
                  <a:off x="5407069" y="4165549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: Shape 31">
                  <a:extLst>
                    <a:ext uri="{FF2B5EF4-FFF2-40B4-BE49-F238E27FC236}">
                      <a16:creationId xmlns:a16="http://schemas.microsoft.com/office/drawing/2014/main" id="{573C44F1-EA25-C85C-5D5B-F7B4D25592C5}"/>
                    </a:ext>
                  </a:extLst>
                </p:cNvPr>
                <p:cNvSpPr/>
                <p:nvPr/>
              </p:nvSpPr>
              <p:spPr>
                <a:xfrm rot="16200000" flipH="1">
                  <a:off x="5407387" y="3776295"/>
                  <a:ext cx="39878" cy="73151"/>
                </a:xfrm>
                <a:custGeom>
                  <a:avLst/>
                  <a:gdLst>
                    <a:gd name="connsiteX0" fmla="*/ 39878 w 39878"/>
                    <a:gd name="connsiteY0" fmla="*/ 38671 h 73151"/>
                    <a:gd name="connsiteX1" fmla="*/ 2413 w 39878"/>
                    <a:gd name="connsiteY1" fmla="*/ 73152 h 73151"/>
                    <a:gd name="connsiteX2" fmla="*/ 0 w 39878"/>
                    <a:gd name="connsiteY2" fmla="*/ 69913 h 73151"/>
                    <a:gd name="connsiteX3" fmla="*/ 36131 w 39878"/>
                    <a:gd name="connsiteY3" fmla="*/ 36576 h 73151"/>
                    <a:gd name="connsiteX4" fmla="*/ 0 w 39878"/>
                    <a:gd name="connsiteY4" fmla="*/ 3238 h 73151"/>
                    <a:gd name="connsiteX5" fmla="*/ 2413 w 39878"/>
                    <a:gd name="connsiteY5" fmla="*/ 0 h 73151"/>
                    <a:gd name="connsiteX6" fmla="*/ 39878 w 39878"/>
                    <a:gd name="connsiteY6" fmla="*/ 34481 h 73151"/>
                    <a:gd name="connsiteX7" fmla="*/ 39878 w 39878"/>
                    <a:gd name="connsiteY7" fmla="*/ 38671 h 73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878" h="73151">
                      <a:moveTo>
                        <a:pt x="39878" y="38671"/>
                      </a:moveTo>
                      <a:lnTo>
                        <a:pt x="2413" y="73152"/>
                      </a:lnTo>
                      <a:lnTo>
                        <a:pt x="0" y="69913"/>
                      </a:lnTo>
                      <a:lnTo>
                        <a:pt x="36131" y="36576"/>
                      </a:lnTo>
                      <a:lnTo>
                        <a:pt x="0" y="3238"/>
                      </a:lnTo>
                      <a:lnTo>
                        <a:pt x="2413" y="0"/>
                      </a:lnTo>
                      <a:lnTo>
                        <a:pt x="39878" y="34481"/>
                      </a:lnTo>
                      <a:lnTo>
                        <a:pt x="39878" y="38671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: Shape 32">
                  <a:extLst>
                    <a:ext uri="{FF2B5EF4-FFF2-40B4-BE49-F238E27FC236}">
                      <a16:creationId xmlns:a16="http://schemas.microsoft.com/office/drawing/2014/main" id="{999EF71C-D366-A42B-5BDC-142563B83178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61725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E9334C02-A525-26DF-BFBB-C169D9E1280D}"/>
                </a:ext>
              </a:extLst>
            </p:cNvPr>
            <p:cNvSpPr/>
            <p:nvPr userDrawn="1"/>
          </p:nvSpPr>
          <p:spPr>
            <a:xfrm>
              <a:off x="862265" y="1612232"/>
              <a:ext cx="2224760" cy="4162926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  <a:gd name="connsiteX0" fmla="*/ 102 w 1720704"/>
                <a:gd name="connsiteY0" fmla="*/ 0 h 4202853"/>
                <a:gd name="connsiteX1" fmla="*/ 212558 w 1720704"/>
                <a:gd name="connsiteY1" fmla="*/ 1544 h 4202853"/>
                <a:gd name="connsiteX2" fmla="*/ 1246205 w 1720704"/>
                <a:gd name="connsiteY2" fmla="*/ 2180 h 4202853"/>
                <a:gd name="connsiteX3" fmla="*/ 1700076 w 1720704"/>
                <a:gd name="connsiteY3" fmla="*/ 435885 h 4202853"/>
                <a:gd name="connsiteX4" fmla="*/ 1720704 w 1720704"/>
                <a:gd name="connsiteY4" fmla="*/ 4202853 h 4202853"/>
                <a:gd name="connsiteX5" fmla="*/ 1518326 w 1720704"/>
                <a:gd name="connsiteY5" fmla="*/ 4202853 h 4202853"/>
                <a:gd name="connsiteX6" fmla="*/ 0 w 1720704"/>
                <a:gd name="connsiteY6" fmla="*/ 4201611 h 4202853"/>
                <a:gd name="connsiteX0" fmla="*/ 212558 w 1720704"/>
                <a:gd name="connsiteY0" fmla="*/ 0 h 4201309"/>
                <a:gd name="connsiteX1" fmla="*/ 1246205 w 1720704"/>
                <a:gd name="connsiteY1" fmla="*/ 636 h 4201309"/>
                <a:gd name="connsiteX2" fmla="*/ 1700076 w 1720704"/>
                <a:gd name="connsiteY2" fmla="*/ 434341 h 4201309"/>
                <a:gd name="connsiteX3" fmla="*/ 1720704 w 1720704"/>
                <a:gd name="connsiteY3" fmla="*/ 4201309 h 4201309"/>
                <a:gd name="connsiteX4" fmla="*/ 1518326 w 1720704"/>
                <a:gd name="connsiteY4" fmla="*/ 4201309 h 4201309"/>
                <a:gd name="connsiteX5" fmla="*/ 0 w 1720704"/>
                <a:gd name="connsiteY5" fmla="*/ 4200067 h 4201309"/>
                <a:gd name="connsiteX0" fmla="*/ 212558 w 1720704"/>
                <a:gd name="connsiteY0" fmla="*/ 0 h 4205294"/>
                <a:gd name="connsiteX1" fmla="*/ 1246205 w 1720704"/>
                <a:gd name="connsiteY1" fmla="*/ 636 h 4205294"/>
                <a:gd name="connsiteX2" fmla="*/ 1700076 w 1720704"/>
                <a:gd name="connsiteY2" fmla="*/ 434341 h 4205294"/>
                <a:gd name="connsiteX3" fmla="*/ 1720704 w 1720704"/>
                <a:gd name="connsiteY3" fmla="*/ 4201309 h 4205294"/>
                <a:gd name="connsiteX4" fmla="*/ 1518326 w 1720704"/>
                <a:gd name="connsiteY4" fmla="*/ 4201309 h 4205294"/>
                <a:gd name="connsiteX5" fmla="*/ 217694 w 1720704"/>
                <a:gd name="connsiteY5" fmla="*/ 4205294 h 4205294"/>
                <a:gd name="connsiteX6" fmla="*/ 0 w 1720704"/>
                <a:gd name="connsiteY6" fmla="*/ 4200067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305768 w 1508146"/>
                <a:gd name="connsiteY4" fmla="*/ 4201309 h 4205294"/>
                <a:gd name="connsiteX5" fmla="*/ 5136 w 1508146"/>
                <a:gd name="connsiteY5" fmla="*/ 4205294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424134 w 1508146"/>
                <a:gd name="connsiteY4" fmla="*/ 4202255 h 4205294"/>
                <a:gd name="connsiteX5" fmla="*/ 1305768 w 1508146"/>
                <a:gd name="connsiteY5" fmla="*/ 4201309 h 4205294"/>
                <a:gd name="connsiteX6" fmla="*/ 5136 w 1508146"/>
                <a:gd name="connsiteY6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87518 w 1509361"/>
                <a:gd name="connsiteY2" fmla="*/ 434341 h 4205294"/>
                <a:gd name="connsiteX3" fmla="*/ 1424134 w 1509361"/>
                <a:gd name="connsiteY3" fmla="*/ 4202255 h 4205294"/>
                <a:gd name="connsiteX4" fmla="*/ 1305768 w 1509361"/>
                <a:gd name="connsiteY4" fmla="*/ 4201309 h 4205294"/>
                <a:gd name="connsiteX5" fmla="*/ 5136 w 1509361"/>
                <a:gd name="connsiteY5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22915 w 1509361"/>
                <a:gd name="connsiteY2" fmla="*/ 376572 h 4205294"/>
                <a:gd name="connsiteX3" fmla="*/ 1487518 w 1509361"/>
                <a:gd name="connsiteY3" fmla="*/ 434341 h 4205294"/>
                <a:gd name="connsiteX4" fmla="*/ 1424134 w 1509361"/>
                <a:gd name="connsiteY4" fmla="*/ 4202255 h 4205294"/>
                <a:gd name="connsiteX5" fmla="*/ 1305768 w 1509361"/>
                <a:gd name="connsiteY5" fmla="*/ 4201309 h 4205294"/>
                <a:gd name="connsiteX6" fmla="*/ 5136 w 1509361"/>
                <a:gd name="connsiteY6" fmla="*/ 4205294 h 4205294"/>
                <a:gd name="connsiteX0" fmla="*/ 0 w 1457094"/>
                <a:gd name="connsiteY0" fmla="*/ 50479 h 4255773"/>
                <a:gd name="connsiteX1" fmla="*/ 1033647 w 1457094"/>
                <a:gd name="connsiteY1" fmla="*/ 51115 h 4255773"/>
                <a:gd name="connsiteX2" fmla="*/ 1422915 w 1457094"/>
                <a:gd name="connsiteY2" fmla="*/ 427051 h 4255773"/>
                <a:gd name="connsiteX3" fmla="*/ 1424134 w 1457094"/>
                <a:gd name="connsiteY3" fmla="*/ 4252734 h 4255773"/>
                <a:gd name="connsiteX4" fmla="*/ 1305768 w 1457094"/>
                <a:gd name="connsiteY4" fmla="*/ 4251788 h 4255773"/>
                <a:gd name="connsiteX5" fmla="*/ 5136 w 1457094"/>
                <a:gd name="connsiteY5" fmla="*/ 4255773 h 4255773"/>
                <a:gd name="connsiteX0" fmla="*/ 0 w 1432100"/>
                <a:gd name="connsiteY0" fmla="*/ 50479 h 4255773"/>
                <a:gd name="connsiteX1" fmla="*/ 1033647 w 1432100"/>
                <a:gd name="connsiteY1" fmla="*/ 51115 h 4255773"/>
                <a:gd name="connsiteX2" fmla="*/ 1422915 w 1432100"/>
                <a:gd name="connsiteY2" fmla="*/ 427051 h 4255773"/>
                <a:gd name="connsiteX3" fmla="*/ 1424134 w 1432100"/>
                <a:gd name="connsiteY3" fmla="*/ 4252734 h 4255773"/>
                <a:gd name="connsiteX4" fmla="*/ 1305768 w 1432100"/>
                <a:gd name="connsiteY4" fmla="*/ 4251788 h 4255773"/>
                <a:gd name="connsiteX5" fmla="*/ 5136 w 1432100"/>
                <a:gd name="connsiteY5" fmla="*/ 4255773 h 4255773"/>
                <a:gd name="connsiteX0" fmla="*/ 0 w 1434720"/>
                <a:gd name="connsiteY0" fmla="*/ 50479 h 4255773"/>
                <a:gd name="connsiteX1" fmla="*/ 1033647 w 1434720"/>
                <a:gd name="connsiteY1" fmla="*/ 51115 h 4255773"/>
                <a:gd name="connsiteX2" fmla="*/ 1422915 w 1434720"/>
                <a:gd name="connsiteY2" fmla="*/ 427051 h 4255773"/>
                <a:gd name="connsiteX3" fmla="*/ 1424134 w 1434720"/>
                <a:gd name="connsiteY3" fmla="*/ 4252734 h 4255773"/>
                <a:gd name="connsiteX4" fmla="*/ 1305768 w 1434720"/>
                <a:gd name="connsiteY4" fmla="*/ 4251788 h 4255773"/>
                <a:gd name="connsiteX5" fmla="*/ 5136 w 1434720"/>
                <a:gd name="connsiteY5" fmla="*/ 4255773 h 4255773"/>
                <a:gd name="connsiteX0" fmla="*/ 0 w 1432860"/>
                <a:gd name="connsiteY0" fmla="*/ 50479 h 4255773"/>
                <a:gd name="connsiteX1" fmla="*/ 1033647 w 1432860"/>
                <a:gd name="connsiteY1" fmla="*/ 51115 h 4255773"/>
                <a:gd name="connsiteX2" fmla="*/ 1422915 w 1432860"/>
                <a:gd name="connsiteY2" fmla="*/ 427051 h 4255773"/>
                <a:gd name="connsiteX3" fmla="*/ 1424134 w 1432860"/>
                <a:gd name="connsiteY3" fmla="*/ 4252734 h 4255773"/>
                <a:gd name="connsiteX4" fmla="*/ 1305768 w 1432860"/>
                <a:gd name="connsiteY4" fmla="*/ 4251788 h 4255773"/>
                <a:gd name="connsiteX5" fmla="*/ 5136 w 1432860"/>
                <a:gd name="connsiteY5" fmla="*/ 4255773 h 4255773"/>
                <a:gd name="connsiteX0" fmla="*/ 0 w 1424727"/>
                <a:gd name="connsiteY0" fmla="*/ 50479 h 4255773"/>
                <a:gd name="connsiteX1" fmla="*/ 1033647 w 1424727"/>
                <a:gd name="connsiteY1" fmla="*/ 51115 h 4255773"/>
                <a:gd name="connsiteX2" fmla="*/ 1422915 w 1424727"/>
                <a:gd name="connsiteY2" fmla="*/ 427051 h 4255773"/>
                <a:gd name="connsiteX3" fmla="*/ 1424134 w 1424727"/>
                <a:gd name="connsiteY3" fmla="*/ 4252734 h 4255773"/>
                <a:gd name="connsiteX4" fmla="*/ 1305768 w 1424727"/>
                <a:gd name="connsiteY4" fmla="*/ 4251788 h 4255773"/>
                <a:gd name="connsiteX5" fmla="*/ 5136 w 1424727"/>
                <a:gd name="connsiteY5" fmla="*/ 4255773 h 4255773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4727" h="4205294">
                  <a:moveTo>
                    <a:pt x="0" y="0"/>
                  </a:moveTo>
                  <a:lnTo>
                    <a:pt x="1033647" y="636"/>
                  </a:lnTo>
                  <a:cubicBezTo>
                    <a:pt x="1263479" y="213500"/>
                    <a:pt x="1167521" y="115063"/>
                    <a:pt x="1422915" y="376572"/>
                  </a:cubicBezTo>
                  <a:cubicBezTo>
                    <a:pt x="1424558" y="1178834"/>
                    <a:pt x="1425359" y="3578270"/>
                    <a:pt x="1424134" y="4202255"/>
                  </a:cubicBezTo>
                  <a:lnTo>
                    <a:pt x="1305768" y="4201309"/>
                  </a:lnTo>
                  <a:lnTo>
                    <a:pt x="5136" y="4205294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</p:grpSp>
      <p:sp>
        <p:nvSpPr>
          <p:cNvPr id="97" name="Picture Placeholder 2">
            <a:extLst>
              <a:ext uri="{FF2B5EF4-FFF2-40B4-BE49-F238E27FC236}">
                <a16:creationId xmlns:a16="http://schemas.microsoft.com/office/drawing/2014/main" id="{D444B835-2C90-59D4-8A91-1D36BBF20B11}"/>
              </a:ext>
            </a:extLst>
          </p:cNvPr>
          <p:cNvSpPr>
            <a:spLocks noGrp="1"/>
          </p:cNvSpPr>
          <p:nvPr>
            <p:ph type="pic" idx="36" hasCustomPrompt="1"/>
          </p:nvPr>
        </p:nvSpPr>
        <p:spPr>
          <a:xfrm>
            <a:off x="6616304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6CBC48FF-4255-EE45-B7B0-ECB043E444FB}"/>
              </a:ext>
            </a:extLst>
          </p:cNvPr>
          <p:cNvCxnSpPr>
            <a:cxnSpLocks/>
          </p:cNvCxnSpPr>
          <p:nvPr userDrawn="1"/>
        </p:nvCxnSpPr>
        <p:spPr>
          <a:xfrm>
            <a:off x="864207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B9E6072C-BEA6-41B6-210C-D1D16F41401C}"/>
              </a:ext>
            </a:extLst>
          </p:cNvPr>
          <p:cNvCxnSpPr>
            <a:cxnSpLocks/>
          </p:cNvCxnSpPr>
          <p:nvPr userDrawn="1"/>
        </p:nvCxnSpPr>
        <p:spPr>
          <a:xfrm>
            <a:off x="3746324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6F25117A-C96A-767C-57F6-12199054FD2A}"/>
              </a:ext>
            </a:extLst>
          </p:cNvPr>
          <p:cNvGrpSpPr/>
          <p:nvPr userDrawn="1"/>
        </p:nvGrpSpPr>
        <p:grpSpPr>
          <a:xfrm>
            <a:off x="6603439" y="1612232"/>
            <a:ext cx="2338382" cy="4162926"/>
            <a:chOff x="6603439" y="1612232"/>
            <a:chExt cx="2338382" cy="4162926"/>
          </a:xfrm>
        </p:grpSpPr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B3919971-5242-DEC6-E44A-113A5A0E88CF}"/>
                </a:ext>
              </a:extLst>
            </p:cNvPr>
            <p:cNvGrpSpPr/>
            <p:nvPr userDrawn="1"/>
          </p:nvGrpSpPr>
          <p:grpSpPr>
            <a:xfrm>
              <a:off x="6603439" y="1612232"/>
              <a:ext cx="2338382" cy="4162926"/>
              <a:chOff x="862265" y="1612232"/>
              <a:chExt cx="2338382" cy="4162926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CE4E7000-6C6C-0255-BF4A-C21E26617D81}"/>
                  </a:ext>
                </a:extLst>
              </p:cNvPr>
              <p:cNvGrpSpPr/>
              <p:nvPr userDrawn="1"/>
            </p:nvGrpSpPr>
            <p:grpSpPr>
              <a:xfrm>
                <a:off x="3147504" y="2061539"/>
                <a:ext cx="53143" cy="1085389"/>
                <a:chOff x="2780760" y="2009831"/>
                <a:chExt cx="53143" cy="1085389"/>
              </a:xfrm>
            </p:grpSpPr>
            <p:grpSp>
              <p:nvGrpSpPr>
                <p:cNvPr id="101" name="Graphic 42">
                  <a:extLst>
                    <a:ext uri="{FF2B5EF4-FFF2-40B4-BE49-F238E27FC236}">
                      <a16:creationId xmlns:a16="http://schemas.microsoft.com/office/drawing/2014/main" id="{C93DC850-0E56-AF21-E227-30E3A511A41B}"/>
                    </a:ext>
                  </a:extLst>
                </p:cNvPr>
                <p:cNvGrpSpPr/>
                <p:nvPr userDrawn="1"/>
              </p:nvGrpSpPr>
              <p:grpSpPr>
                <a:xfrm rot="16200000" flipH="1" flipV="1">
                  <a:off x="2482218" y="2310772"/>
                  <a:ext cx="650227" cy="48346"/>
                  <a:chOff x="7926578" y="441451"/>
                  <a:chExt cx="895032" cy="66548"/>
                </a:xfrm>
                <a:solidFill>
                  <a:srgbClr val="75BF43">
                    <a:alpha val="57000"/>
                  </a:srgbClr>
                </a:solidFill>
              </p:grpSpPr>
              <p:sp>
                <p:nvSpPr>
                  <p:cNvPr id="110" name="Freeform: Shape 33">
                    <a:extLst>
                      <a:ext uri="{FF2B5EF4-FFF2-40B4-BE49-F238E27FC236}">
                        <a16:creationId xmlns:a16="http://schemas.microsoft.com/office/drawing/2014/main" id="{BF73F5A6-9BB1-6549-CCCC-A13044F7850A}"/>
                      </a:ext>
                    </a:extLst>
                  </p:cNvPr>
                  <p:cNvSpPr/>
                  <p:nvPr/>
                </p:nvSpPr>
                <p:spPr>
                  <a:xfrm>
                    <a:off x="8479726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1" name="Freeform: Shape 34">
                    <a:extLst>
                      <a:ext uri="{FF2B5EF4-FFF2-40B4-BE49-F238E27FC236}">
                        <a16:creationId xmlns:a16="http://schemas.microsoft.com/office/drawing/2014/main" id="{44DDAEEF-45F1-E03A-E5CE-A8F6A7E64C16}"/>
                      </a:ext>
                    </a:extLst>
                  </p:cNvPr>
                  <p:cNvSpPr/>
                  <p:nvPr/>
                </p:nvSpPr>
                <p:spPr>
                  <a:xfrm>
                    <a:off x="8437181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2" name="Freeform: Shape 35">
                    <a:extLst>
                      <a:ext uri="{FF2B5EF4-FFF2-40B4-BE49-F238E27FC236}">
                        <a16:creationId xmlns:a16="http://schemas.microsoft.com/office/drawing/2014/main" id="{A9252D01-81AC-DBA3-7D7E-0F7268A277D6}"/>
                      </a:ext>
                    </a:extLst>
                  </p:cNvPr>
                  <p:cNvSpPr/>
                  <p:nvPr/>
                </p:nvSpPr>
                <p:spPr>
                  <a:xfrm>
                    <a:off x="8394636" y="441451"/>
                    <a:ext cx="89281" cy="66548"/>
                  </a:xfrm>
                  <a:custGeom>
                    <a:avLst/>
                    <a:gdLst>
                      <a:gd name="connsiteX0" fmla="*/ 68707 w 89281"/>
                      <a:gd name="connsiteY0" fmla="*/ 0 h 66548"/>
                      <a:gd name="connsiteX1" fmla="*/ 0 w 89281"/>
                      <a:gd name="connsiteY1" fmla="*/ 66548 h 66548"/>
                      <a:gd name="connsiteX2" fmla="*/ 20574 w 89281"/>
                      <a:gd name="connsiteY2" fmla="*/ 66548 h 66548"/>
                      <a:gd name="connsiteX3" fmla="*/ 89281 w 89281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1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3" name="Freeform: Shape 36">
                    <a:extLst>
                      <a:ext uri="{FF2B5EF4-FFF2-40B4-BE49-F238E27FC236}">
                        <a16:creationId xmlns:a16="http://schemas.microsoft.com/office/drawing/2014/main" id="{A8AD8A7D-FFBC-DD50-8690-8B36D328A692}"/>
                      </a:ext>
                    </a:extLst>
                  </p:cNvPr>
                  <p:cNvSpPr/>
                  <p:nvPr/>
                </p:nvSpPr>
                <p:spPr>
                  <a:xfrm>
                    <a:off x="8352091" y="441451"/>
                    <a:ext cx="89280" cy="66548"/>
                  </a:xfrm>
                  <a:custGeom>
                    <a:avLst/>
                    <a:gdLst>
                      <a:gd name="connsiteX0" fmla="*/ 68707 w 89280"/>
                      <a:gd name="connsiteY0" fmla="*/ 0 h 66548"/>
                      <a:gd name="connsiteX1" fmla="*/ 0 w 89280"/>
                      <a:gd name="connsiteY1" fmla="*/ 66548 h 66548"/>
                      <a:gd name="connsiteX2" fmla="*/ 20574 w 89280"/>
                      <a:gd name="connsiteY2" fmla="*/ 66548 h 66548"/>
                      <a:gd name="connsiteX3" fmla="*/ 89281 w 89280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0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4" name="Freeform: Shape 37">
                    <a:extLst>
                      <a:ext uri="{FF2B5EF4-FFF2-40B4-BE49-F238E27FC236}">
                        <a16:creationId xmlns:a16="http://schemas.microsoft.com/office/drawing/2014/main" id="{A0A2B38E-1E95-9619-783E-ADF3BEE129D9}"/>
                      </a:ext>
                    </a:extLst>
                  </p:cNvPr>
                  <p:cNvSpPr/>
                  <p:nvPr/>
                </p:nvSpPr>
                <p:spPr>
                  <a:xfrm>
                    <a:off x="813930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5" name="Freeform: Shape 38">
                    <a:extLst>
                      <a:ext uri="{FF2B5EF4-FFF2-40B4-BE49-F238E27FC236}">
                        <a16:creationId xmlns:a16="http://schemas.microsoft.com/office/drawing/2014/main" id="{5E08C8E9-EB12-9B22-DB2A-510BB5DB7385}"/>
                      </a:ext>
                    </a:extLst>
                  </p:cNvPr>
                  <p:cNvSpPr/>
                  <p:nvPr/>
                </p:nvSpPr>
                <p:spPr>
                  <a:xfrm>
                    <a:off x="8181847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6" name="Freeform: Shape 39">
                    <a:extLst>
                      <a:ext uri="{FF2B5EF4-FFF2-40B4-BE49-F238E27FC236}">
                        <a16:creationId xmlns:a16="http://schemas.microsoft.com/office/drawing/2014/main" id="{B3C02560-DAFD-1E8B-FC71-7174C7D768D3}"/>
                      </a:ext>
                    </a:extLst>
                  </p:cNvPr>
                  <p:cNvSpPr/>
                  <p:nvPr/>
                </p:nvSpPr>
                <p:spPr>
                  <a:xfrm>
                    <a:off x="8267001" y="441451"/>
                    <a:ext cx="89280" cy="66548"/>
                  </a:xfrm>
                  <a:custGeom>
                    <a:avLst/>
                    <a:gdLst>
                      <a:gd name="connsiteX0" fmla="*/ 68643 w 89280"/>
                      <a:gd name="connsiteY0" fmla="*/ 0 h 66548"/>
                      <a:gd name="connsiteX1" fmla="*/ 0 w 89280"/>
                      <a:gd name="connsiteY1" fmla="*/ 66548 h 66548"/>
                      <a:gd name="connsiteX2" fmla="*/ 20574 w 89280"/>
                      <a:gd name="connsiteY2" fmla="*/ 66548 h 66548"/>
                      <a:gd name="connsiteX3" fmla="*/ 89281 w 89280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0" h="66548">
                        <a:moveTo>
                          <a:pt x="68643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7" name="Freeform: Shape 40">
                    <a:extLst>
                      <a:ext uri="{FF2B5EF4-FFF2-40B4-BE49-F238E27FC236}">
                        <a16:creationId xmlns:a16="http://schemas.microsoft.com/office/drawing/2014/main" id="{3CC571E0-1B2D-7E89-72BC-7226E05B57A9}"/>
                      </a:ext>
                    </a:extLst>
                  </p:cNvPr>
                  <p:cNvSpPr/>
                  <p:nvPr/>
                </p:nvSpPr>
                <p:spPr>
                  <a:xfrm>
                    <a:off x="822439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8" name="Freeform: Shape 41">
                    <a:extLst>
                      <a:ext uri="{FF2B5EF4-FFF2-40B4-BE49-F238E27FC236}">
                        <a16:creationId xmlns:a16="http://schemas.microsoft.com/office/drawing/2014/main" id="{06A899AE-DF57-E8DF-59C7-382B517E083B}"/>
                      </a:ext>
                    </a:extLst>
                  </p:cNvPr>
                  <p:cNvSpPr/>
                  <p:nvPr/>
                </p:nvSpPr>
                <p:spPr>
                  <a:xfrm>
                    <a:off x="8309546" y="441451"/>
                    <a:ext cx="89281" cy="66548"/>
                  </a:xfrm>
                  <a:custGeom>
                    <a:avLst/>
                    <a:gdLst>
                      <a:gd name="connsiteX0" fmla="*/ 68644 w 89281"/>
                      <a:gd name="connsiteY0" fmla="*/ 0 h 66548"/>
                      <a:gd name="connsiteX1" fmla="*/ 0 w 89281"/>
                      <a:gd name="connsiteY1" fmla="*/ 66548 h 66548"/>
                      <a:gd name="connsiteX2" fmla="*/ 20574 w 89281"/>
                      <a:gd name="connsiteY2" fmla="*/ 66548 h 66548"/>
                      <a:gd name="connsiteX3" fmla="*/ 89281 w 89281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1" h="66548">
                        <a:moveTo>
                          <a:pt x="68644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9" name="Freeform: Shape 42">
                    <a:extLst>
                      <a:ext uri="{FF2B5EF4-FFF2-40B4-BE49-F238E27FC236}">
                        <a16:creationId xmlns:a16="http://schemas.microsoft.com/office/drawing/2014/main" id="{730356B6-0677-C389-19A0-1BD3B4C58E69}"/>
                      </a:ext>
                    </a:extLst>
                  </p:cNvPr>
                  <p:cNvSpPr/>
                  <p:nvPr/>
                </p:nvSpPr>
                <p:spPr>
                  <a:xfrm>
                    <a:off x="8522271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2" name="Freeform: Shape 43">
                    <a:extLst>
                      <a:ext uri="{FF2B5EF4-FFF2-40B4-BE49-F238E27FC236}">
                        <a16:creationId xmlns:a16="http://schemas.microsoft.com/office/drawing/2014/main" id="{1DD83C8B-982F-6F8E-9373-891BFC52495C}"/>
                      </a:ext>
                    </a:extLst>
                  </p:cNvPr>
                  <p:cNvSpPr/>
                  <p:nvPr/>
                </p:nvSpPr>
                <p:spPr>
                  <a:xfrm>
                    <a:off x="8693975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3" name="Freeform: Shape 44">
                    <a:extLst>
                      <a:ext uri="{FF2B5EF4-FFF2-40B4-BE49-F238E27FC236}">
                        <a16:creationId xmlns:a16="http://schemas.microsoft.com/office/drawing/2014/main" id="{48604E3E-6E1D-C243-EBEA-CC52E9B01340}"/>
                      </a:ext>
                    </a:extLst>
                  </p:cNvPr>
                  <p:cNvSpPr/>
                  <p:nvPr/>
                </p:nvSpPr>
                <p:spPr>
                  <a:xfrm>
                    <a:off x="8821610" y="508000"/>
                    <a:ext cx="6350" cy="6350"/>
                  </a:xfrm>
                  <a:custGeom>
                    <a:avLst/>
                    <a:gdLst>
                      <a:gd name="connsiteX0" fmla="*/ 0 w 6350"/>
                      <a:gd name="connsiteY0" fmla="*/ 0 h 6350"/>
                      <a:gd name="connsiteX1" fmla="*/ 0 w 6350"/>
                      <a:gd name="connsiteY1" fmla="*/ 0 h 6350"/>
                      <a:gd name="connsiteX2" fmla="*/ 0 w 6350"/>
                      <a:gd name="connsiteY2" fmla="*/ 0 h 6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350" h="6350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4" name="Freeform: Shape 45">
                    <a:extLst>
                      <a:ext uri="{FF2B5EF4-FFF2-40B4-BE49-F238E27FC236}">
                        <a16:creationId xmlns:a16="http://schemas.microsoft.com/office/drawing/2014/main" id="{BFF081E7-5FE0-A25F-3BAC-B4F1472DCF36}"/>
                      </a:ext>
                    </a:extLst>
                  </p:cNvPr>
                  <p:cNvSpPr/>
                  <p:nvPr/>
                </p:nvSpPr>
                <p:spPr>
                  <a:xfrm>
                    <a:off x="8564816" y="441451"/>
                    <a:ext cx="90868" cy="66548"/>
                  </a:xfrm>
                  <a:custGeom>
                    <a:avLst/>
                    <a:gdLst>
                      <a:gd name="connsiteX0" fmla="*/ 68707 w 90868"/>
                      <a:gd name="connsiteY0" fmla="*/ 0 h 66548"/>
                      <a:gd name="connsiteX1" fmla="*/ 0 w 90868"/>
                      <a:gd name="connsiteY1" fmla="*/ 66548 h 66548"/>
                      <a:gd name="connsiteX2" fmla="*/ 22161 w 90868"/>
                      <a:gd name="connsiteY2" fmla="*/ 66548 h 66548"/>
                      <a:gd name="connsiteX3" fmla="*/ 90868 w 90868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0868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2161" y="66548"/>
                        </a:lnTo>
                        <a:lnTo>
                          <a:pt x="90868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: Shape 46">
                    <a:extLst>
                      <a:ext uri="{FF2B5EF4-FFF2-40B4-BE49-F238E27FC236}">
                        <a16:creationId xmlns:a16="http://schemas.microsoft.com/office/drawing/2014/main" id="{CFB01C3B-4079-CB09-810F-10B115C08277}"/>
                      </a:ext>
                    </a:extLst>
                  </p:cNvPr>
                  <p:cNvSpPr/>
                  <p:nvPr/>
                </p:nvSpPr>
                <p:spPr>
                  <a:xfrm>
                    <a:off x="8651430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reeform: Shape 47">
                    <a:extLst>
                      <a:ext uri="{FF2B5EF4-FFF2-40B4-BE49-F238E27FC236}">
                        <a16:creationId xmlns:a16="http://schemas.microsoft.com/office/drawing/2014/main" id="{AD2960A2-69C1-D917-5B5B-F0AE47B4D113}"/>
                      </a:ext>
                    </a:extLst>
                  </p:cNvPr>
                  <p:cNvSpPr/>
                  <p:nvPr/>
                </p:nvSpPr>
                <p:spPr>
                  <a:xfrm>
                    <a:off x="8608885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: Shape 48">
                    <a:extLst>
                      <a:ext uri="{FF2B5EF4-FFF2-40B4-BE49-F238E27FC236}">
                        <a16:creationId xmlns:a16="http://schemas.microsoft.com/office/drawing/2014/main" id="{126DB3C7-67EC-78EE-B18B-1682510FDB58}"/>
                      </a:ext>
                    </a:extLst>
                  </p:cNvPr>
                  <p:cNvSpPr/>
                  <p:nvPr/>
                </p:nvSpPr>
                <p:spPr>
                  <a:xfrm>
                    <a:off x="8096757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: Shape 49">
                    <a:extLst>
                      <a:ext uri="{FF2B5EF4-FFF2-40B4-BE49-F238E27FC236}">
                        <a16:creationId xmlns:a16="http://schemas.microsoft.com/office/drawing/2014/main" id="{1FB83E26-0C24-86CE-41E0-DD518451D4F1}"/>
                      </a:ext>
                    </a:extLst>
                  </p:cNvPr>
                  <p:cNvSpPr/>
                  <p:nvPr/>
                </p:nvSpPr>
                <p:spPr>
                  <a:xfrm>
                    <a:off x="8011668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" name="Freeform: Shape 50">
                    <a:extLst>
                      <a:ext uri="{FF2B5EF4-FFF2-40B4-BE49-F238E27FC236}">
                        <a16:creationId xmlns:a16="http://schemas.microsoft.com/office/drawing/2014/main" id="{5AD29198-7A4A-0C04-B1A3-881BDC486517}"/>
                      </a:ext>
                    </a:extLst>
                  </p:cNvPr>
                  <p:cNvSpPr/>
                  <p:nvPr/>
                </p:nvSpPr>
                <p:spPr>
                  <a:xfrm>
                    <a:off x="805421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Freeform: Shape 51">
                    <a:extLst>
                      <a:ext uri="{FF2B5EF4-FFF2-40B4-BE49-F238E27FC236}">
                        <a16:creationId xmlns:a16="http://schemas.microsoft.com/office/drawing/2014/main" id="{D1108AE3-3ADD-6F50-957C-AF6B4E3553B3}"/>
                      </a:ext>
                    </a:extLst>
                  </p:cNvPr>
                  <p:cNvSpPr/>
                  <p:nvPr/>
                </p:nvSpPr>
                <p:spPr>
                  <a:xfrm>
                    <a:off x="7969122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0" name="Freeform: Shape 52">
                    <a:extLst>
                      <a:ext uri="{FF2B5EF4-FFF2-40B4-BE49-F238E27FC236}">
                        <a16:creationId xmlns:a16="http://schemas.microsoft.com/office/drawing/2014/main" id="{7F46CB31-A77A-0F3E-F117-4C2587120757}"/>
                      </a:ext>
                    </a:extLst>
                  </p:cNvPr>
                  <p:cNvSpPr/>
                  <p:nvPr/>
                </p:nvSpPr>
                <p:spPr>
                  <a:xfrm>
                    <a:off x="7926578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02" name="Group 101">
                  <a:extLst>
                    <a:ext uri="{FF2B5EF4-FFF2-40B4-BE49-F238E27FC236}">
                      <a16:creationId xmlns:a16="http://schemas.microsoft.com/office/drawing/2014/main" id="{B80819A2-71D0-F114-F77A-83D7B90A6A09}"/>
                    </a:ext>
                  </a:extLst>
                </p:cNvPr>
                <p:cNvGrpSpPr/>
                <p:nvPr userDrawn="1"/>
              </p:nvGrpSpPr>
              <p:grpSpPr>
                <a:xfrm rot="10800000" flipV="1">
                  <a:off x="2780760" y="2715971"/>
                  <a:ext cx="53143" cy="379249"/>
                  <a:chOff x="5390750" y="3681616"/>
                  <a:chExt cx="73151" cy="522033"/>
                </a:xfrm>
              </p:grpSpPr>
              <p:sp>
                <p:nvSpPr>
                  <p:cNvPr id="103" name="Freeform: Shape 26">
                    <a:extLst>
                      <a:ext uri="{FF2B5EF4-FFF2-40B4-BE49-F238E27FC236}">
                        <a16:creationId xmlns:a16="http://schemas.microsoft.com/office/drawing/2014/main" id="{8B0F0C36-C3A4-8971-D8E0-D5FD697A7C8E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05100" y="3681616"/>
                    <a:ext cx="43688" cy="43687"/>
                  </a:xfrm>
                  <a:custGeom>
                    <a:avLst/>
                    <a:gdLst>
                      <a:gd name="connsiteX0" fmla="*/ 0 w 43688"/>
                      <a:gd name="connsiteY0" fmla="*/ 0 h 43687"/>
                      <a:gd name="connsiteX1" fmla="*/ 43688 w 43688"/>
                      <a:gd name="connsiteY1" fmla="*/ 0 h 43687"/>
                      <a:gd name="connsiteX2" fmla="*/ 43688 w 43688"/>
                      <a:gd name="connsiteY2" fmla="*/ 43688 h 43687"/>
                      <a:gd name="connsiteX3" fmla="*/ 0 w 43688"/>
                      <a:gd name="connsiteY3" fmla="*/ 43688 h 43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688" h="43687">
                        <a:moveTo>
                          <a:pt x="0" y="0"/>
                        </a:moveTo>
                        <a:lnTo>
                          <a:pt x="43688" y="0"/>
                        </a:lnTo>
                        <a:lnTo>
                          <a:pt x="43688" y="43688"/>
                        </a:lnTo>
                        <a:lnTo>
                          <a:pt x="0" y="43688"/>
                        </a:lnTo>
                        <a:close/>
                      </a:path>
                    </a:pathLst>
                  </a:custGeom>
                  <a:noFill/>
                  <a:ln w="3175" cap="flat">
                    <a:solidFill>
                      <a:schemeClr val="bg1">
                        <a:lumMod val="50000"/>
                      </a:schemeClr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Freeform: Shape 27">
                    <a:extLst>
                      <a:ext uri="{FF2B5EF4-FFF2-40B4-BE49-F238E27FC236}">
                        <a16:creationId xmlns:a16="http://schemas.microsoft.com/office/drawing/2014/main" id="{E25549F9-BB4F-E824-E49B-EBD369AB0095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4081062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5" name="Freeform: Shape 28">
                    <a:extLst>
                      <a:ext uri="{FF2B5EF4-FFF2-40B4-BE49-F238E27FC236}">
                        <a16:creationId xmlns:a16="http://schemas.microsoft.com/office/drawing/2014/main" id="{2F9E81C5-4E0E-EA93-A791-192C329435BC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4021394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6" name="Freeform: Shape 29">
                    <a:extLst>
                      <a:ext uri="{FF2B5EF4-FFF2-40B4-BE49-F238E27FC236}">
                        <a16:creationId xmlns:a16="http://schemas.microsoft.com/office/drawing/2014/main" id="{BB5478DC-9F7A-972A-90BC-F93F848CB0C5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3902056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7" name="Freeform: Shape 30">
                    <a:extLst>
                      <a:ext uri="{FF2B5EF4-FFF2-40B4-BE49-F238E27FC236}">
                        <a16:creationId xmlns:a16="http://schemas.microsoft.com/office/drawing/2014/main" id="{212D1BD4-1E14-32CA-CC32-A6A262486B11}"/>
                      </a:ext>
                    </a:extLst>
                  </p:cNvPr>
                  <p:cNvSpPr/>
                  <p:nvPr/>
                </p:nvSpPr>
                <p:spPr>
                  <a:xfrm rot="10800000" flipH="1">
                    <a:off x="5407069" y="4165549"/>
                    <a:ext cx="42418" cy="38100"/>
                  </a:xfrm>
                  <a:custGeom>
                    <a:avLst/>
                    <a:gdLst>
                      <a:gd name="connsiteX0" fmla="*/ 0 w 42418"/>
                      <a:gd name="connsiteY0" fmla="*/ 0 h 38100"/>
                      <a:gd name="connsiteX1" fmla="*/ 42418 w 42418"/>
                      <a:gd name="connsiteY1" fmla="*/ 0 h 38100"/>
                      <a:gd name="connsiteX2" fmla="*/ 42418 w 42418"/>
                      <a:gd name="connsiteY2" fmla="*/ 38100 h 38100"/>
                      <a:gd name="connsiteX3" fmla="*/ 0 w 42418"/>
                      <a:gd name="connsiteY3" fmla="*/ 38100 h 38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418" h="38100">
                        <a:moveTo>
                          <a:pt x="0" y="0"/>
                        </a:moveTo>
                        <a:lnTo>
                          <a:pt x="42418" y="0"/>
                        </a:lnTo>
                        <a:lnTo>
                          <a:pt x="42418" y="38100"/>
                        </a:lnTo>
                        <a:lnTo>
                          <a:pt x="0" y="3810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8" name="Freeform: Shape 31">
                    <a:extLst>
                      <a:ext uri="{FF2B5EF4-FFF2-40B4-BE49-F238E27FC236}">
                        <a16:creationId xmlns:a16="http://schemas.microsoft.com/office/drawing/2014/main" id="{92B4EFB4-0188-B584-C6B1-BAD1E2006EBF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07387" y="3776295"/>
                    <a:ext cx="39878" cy="73151"/>
                  </a:xfrm>
                  <a:custGeom>
                    <a:avLst/>
                    <a:gdLst>
                      <a:gd name="connsiteX0" fmla="*/ 39878 w 39878"/>
                      <a:gd name="connsiteY0" fmla="*/ 38671 h 73151"/>
                      <a:gd name="connsiteX1" fmla="*/ 2413 w 39878"/>
                      <a:gd name="connsiteY1" fmla="*/ 73152 h 73151"/>
                      <a:gd name="connsiteX2" fmla="*/ 0 w 39878"/>
                      <a:gd name="connsiteY2" fmla="*/ 69913 h 73151"/>
                      <a:gd name="connsiteX3" fmla="*/ 36131 w 39878"/>
                      <a:gd name="connsiteY3" fmla="*/ 36576 h 73151"/>
                      <a:gd name="connsiteX4" fmla="*/ 0 w 39878"/>
                      <a:gd name="connsiteY4" fmla="*/ 3238 h 73151"/>
                      <a:gd name="connsiteX5" fmla="*/ 2413 w 39878"/>
                      <a:gd name="connsiteY5" fmla="*/ 0 h 73151"/>
                      <a:gd name="connsiteX6" fmla="*/ 39878 w 39878"/>
                      <a:gd name="connsiteY6" fmla="*/ 34481 h 73151"/>
                      <a:gd name="connsiteX7" fmla="*/ 39878 w 39878"/>
                      <a:gd name="connsiteY7" fmla="*/ 38671 h 73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878" h="73151">
                        <a:moveTo>
                          <a:pt x="39878" y="38671"/>
                        </a:moveTo>
                        <a:lnTo>
                          <a:pt x="2413" y="73152"/>
                        </a:lnTo>
                        <a:lnTo>
                          <a:pt x="0" y="69913"/>
                        </a:lnTo>
                        <a:lnTo>
                          <a:pt x="36131" y="36576"/>
                        </a:lnTo>
                        <a:lnTo>
                          <a:pt x="0" y="3238"/>
                        </a:lnTo>
                        <a:lnTo>
                          <a:pt x="2413" y="0"/>
                        </a:lnTo>
                        <a:lnTo>
                          <a:pt x="39878" y="34481"/>
                        </a:lnTo>
                        <a:lnTo>
                          <a:pt x="39878" y="38671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Freeform: Shape 32">
                    <a:extLst>
                      <a:ext uri="{FF2B5EF4-FFF2-40B4-BE49-F238E27FC236}">
                        <a16:creationId xmlns:a16="http://schemas.microsoft.com/office/drawing/2014/main" id="{393FD982-A5A0-4231-39D7-D076B331BD2A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3961725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100" name="Freeform 13">
                <a:extLst>
                  <a:ext uri="{FF2B5EF4-FFF2-40B4-BE49-F238E27FC236}">
                    <a16:creationId xmlns:a16="http://schemas.microsoft.com/office/drawing/2014/main" id="{55910CD3-845E-B953-6854-18CBEE412135}"/>
                  </a:ext>
                </a:extLst>
              </p:cNvPr>
              <p:cNvSpPr/>
              <p:nvPr userDrawn="1"/>
            </p:nvSpPr>
            <p:spPr>
              <a:xfrm>
                <a:off x="862265" y="1612232"/>
                <a:ext cx="2224760" cy="4162926"/>
              </a:xfrm>
              <a:custGeom>
                <a:avLst/>
                <a:gdLst>
                  <a:gd name="connsiteX0" fmla="*/ 0 w 2317531"/>
                  <a:gd name="connsiteY0" fmla="*/ 0 h 4193627"/>
                  <a:gd name="connsiteX1" fmla="*/ 1923393 w 2317531"/>
                  <a:gd name="connsiteY1" fmla="*/ 0 h 4193627"/>
                  <a:gd name="connsiteX2" fmla="*/ 2317531 w 2317531"/>
                  <a:gd name="connsiteY2" fmla="*/ 394138 h 4193627"/>
                  <a:gd name="connsiteX3" fmla="*/ 2317531 w 2317531"/>
                  <a:gd name="connsiteY3" fmla="*/ 4193627 h 4193627"/>
                  <a:gd name="connsiteX4" fmla="*/ 2104696 w 2317531"/>
                  <a:gd name="connsiteY4" fmla="*/ 4193627 h 4193627"/>
                  <a:gd name="connsiteX5" fmla="*/ 23648 w 2317531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302286 w 2302286"/>
                  <a:gd name="connsiteY2" fmla="*/ 39413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7871 w 2302286"/>
                  <a:gd name="connsiteY2" fmla="*/ 352451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7872 w 2302286"/>
                  <a:gd name="connsiteY2" fmla="*/ 366347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0605 w 2302286"/>
                  <a:gd name="connsiteY2" fmla="*/ 352452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0606 w 2302286"/>
                  <a:gd name="connsiteY2" fmla="*/ 359400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898743 w 2302286"/>
                  <a:gd name="connsiteY1" fmla="*/ 2259 h 4193627"/>
                  <a:gd name="connsiteX2" fmla="*/ 2280606 w 2302286"/>
                  <a:gd name="connsiteY2" fmla="*/ 359400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898743 w 2302286"/>
                  <a:gd name="connsiteY1" fmla="*/ 2259 h 4193627"/>
                  <a:gd name="connsiteX2" fmla="*/ 2271202 w 2302286"/>
                  <a:gd name="connsiteY2" fmla="*/ 36617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71202 w 2302286"/>
                  <a:gd name="connsiteY2" fmla="*/ 36617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74687 w 2302286"/>
                  <a:gd name="connsiteY2" fmla="*/ 503634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291829"/>
                  <a:gd name="connsiteY0" fmla="*/ 0 h 4193627"/>
                  <a:gd name="connsiteX1" fmla="*/ 1954513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954513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1201 w 2291829"/>
                  <a:gd name="connsiteY2" fmla="*/ 41016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68239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49471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7046 h 4200673"/>
                  <a:gd name="connsiteX1" fmla="*/ 1856979 w 2291829"/>
                  <a:gd name="connsiteY1" fmla="*/ 0 h 4200673"/>
                  <a:gd name="connsiteX2" fmla="*/ 2271201 w 2291829"/>
                  <a:gd name="connsiteY2" fmla="*/ 433705 h 4200673"/>
                  <a:gd name="connsiteX3" fmla="*/ 2291829 w 2291829"/>
                  <a:gd name="connsiteY3" fmla="*/ 4200673 h 4200673"/>
                  <a:gd name="connsiteX4" fmla="*/ 2089451 w 2291829"/>
                  <a:gd name="connsiteY4" fmla="*/ 4200673 h 4200673"/>
                  <a:gd name="connsiteX5" fmla="*/ 8403 w 2291829"/>
                  <a:gd name="connsiteY5" fmla="*/ 4200673 h 4200673"/>
                  <a:gd name="connsiteX0" fmla="*/ 0 w 2291829"/>
                  <a:gd name="connsiteY0" fmla="*/ 7046 h 4200673"/>
                  <a:gd name="connsiteX1" fmla="*/ 1817330 w 2291829"/>
                  <a:gd name="connsiteY1" fmla="*/ 0 h 4200673"/>
                  <a:gd name="connsiteX2" fmla="*/ 2271201 w 2291829"/>
                  <a:gd name="connsiteY2" fmla="*/ 433705 h 4200673"/>
                  <a:gd name="connsiteX3" fmla="*/ 2291829 w 2291829"/>
                  <a:gd name="connsiteY3" fmla="*/ 4200673 h 4200673"/>
                  <a:gd name="connsiteX4" fmla="*/ 2089451 w 2291829"/>
                  <a:gd name="connsiteY4" fmla="*/ 4200673 h 4200673"/>
                  <a:gd name="connsiteX5" fmla="*/ 8403 w 2291829"/>
                  <a:gd name="connsiteY5" fmla="*/ 4200673 h 4200673"/>
                  <a:gd name="connsiteX0" fmla="*/ 0 w 2291829"/>
                  <a:gd name="connsiteY0" fmla="*/ 7046 h 4200673"/>
                  <a:gd name="connsiteX1" fmla="*/ 579941 w 2291829"/>
                  <a:gd name="connsiteY1" fmla="*/ 8817 h 4200673"/>
                  <a:gd name="connsiteX2" fmla="*/ 1817330 w 2291829"/>
                  <a:gd name="connsiteY2" fmla="*/ 0 h 4200673"/>
                  <a:gd name="connsiteX3" fmla="*/ 2271201 w 2291829"/>
                  <a:gd name="connsiteY3" fmla="*/ 433705 h 4200673"/>
                  <a:gd name="connsiteX4" fmla="*/ 2291829 w 2291829"/>
                  <a:gd name="connsiteY4" fmla="*/ 4200673 h 4200673"/>
                  <a:gd name="connsiteX5" fmla="*/ 2089451 w 2291829"/>
                  <a:gd name="connsiteY5" fmla="*/ 4200673 h 4200673"/>
                  <a:gd name="connsiteX6" fmla="*/ 8403 w 2291829"/>
                  <a:gd name="connsiteY6" fmla="*/ 4200673 h 4200673"/>
                  <a:gd name="connsiteX0" fmla="*/ 571538 w 2283426"/>
                  <a:gd name="connsiteY0" fmla="*/ 8817 h 4200673"/>
                  <a:gd name="connsiteX1" fmla="*/ 1808927 w 2283426"/>
                  <a:gd name="connsiteY1" fmla="*/ 0 h 4200673"/>
                  <a:gd name="connsiteX2" fmla="*/ 2262798 w 2283426"/>
                  <a:gd name="connsiteY2" fmla="*/ 433705 h 4200673"/>
                  <a:gd name="connsiteX3" fmla="*/ 2283426 w 2283426"/>
                  <a:gd name="connsiteY3" fmla="*/ 4200673 h 4200673"/>
                  <a:gd name="connsiteX4" fmla="*/ 2081048 w 2283426"/>
                  <a:gd name="connsiteY4" fmla="*/ 4200673 h 4200673"/>
                  <a:gd name="connsiteX5" fmla="*/ 0 w 2283426"/>
                  <a:gd name="connsiteY5" fmla="*/ 4200673 h 4200673"/>
                  <a:gd name="connsiteX0" fmla="*/ 571538 w 2283426"/>
                  <a:gd name="connsiteY0" fmla="*/ 8817 h 4200673"/>
                  <a:gd name="connsiteX1" fmla="*/ 1808927 w 2283426"/>
                  <a:gd name="connsiteY1" fmla="*/ 0 h 4200673"/>
                  <a:gd name="connsiteX2" fmla="*/ 2262798 w 2283426"/>
                  <a:gd name="connsiteY2" fmla="*/ 433705 h 4200673"/>
                  <a:gd name="connsiteX3" fmla="*/ 2283426 w 2283426"/>
                  <a:gd name="connsiteY3" fmla="*/ 4200673 h 4200673"/>
                  <a:gd name="connsiteX4" fmla="*/ 2081048 w 2283426"/>
                  <a:gd name="connsiteY4" fmla="*/ 4200673 h 4200673"/>
                  <a:gd name="connsiteX5" fmla="*/ 539006 w 2283426"/>
                  <a:gd name="connsiteY5" fmla="*/ 4196286 h 4200673"/>
                  <a:gd name="connsiteX6" fmla="*/ 0 w 2283426"/>
                  <a:gd name="connsiteY6" fmla="*/ 4200673 h 4200673"/>
                  <a:gd name="connsiteX0" fmla="*/ 32532 w 1744420"/>
                  <a:gd name="connsiteY0" fmla="*/ 8817 h 4200673"/>
                  <a:gd name="connsiteX1" fmla="*/ 1269921 w 1744420"/>
                  <a:gd name="connsiteY1" fmla="*/ 0 h 4200673"/>
                  <a:gd name="connsiteX2" fmla="*/ 1723792 w 1744420"/>
                  <a:gd name="connsiteY2" fmla="*/ 433705 h 4200673"/>
                  <a:gd name="connsiteX3" fmla="*/ 1744420 w 1744420"/>
                  <a:gd name="connsiteY3" fmla="*/ 4200673 h 4200673"/>
                  <a:gd name="connsiteX4" fmla="*/ 1542042 w 1744420"/>
                  <a:gd name="connsiteY4" fmla="*/ 4200673 h 4200673"/>
                  <a:gd name="connsiteX5" fmla="*/ 0 w 1744420"/>
                  <a:gd name="connsiteY5" fmla="*/ 4196286 h 4200673"/>
                  <a:gd name="connsiteX0" fmla="*/ 32532 w 1744420"/>
                  <a:gd name="connsiteY0" fmla="*/ 8817 h 4200673"/>
                  <a:gd name="connsiteX1" fmla="*/ 1269921 w 1744420"/>
                  <a:gd name="connsiteY1" fmla="*/ 0 h 4200673"/>
                  <a:gd name="connsiteX2" fmla="*/ 1723792 w 1744420"/>
                  <a:gd name="connsiteY2" fmla="*/ 433705 h 4200673"/>
                  <a:gd name="connsiteX3" fmla="*/ 1744420 w 1744420"/>
                  <a:gd name="connsiteY3" fmla="*/ 4200673 h 4200673"/>
                  <a:gd name="connsiteX4" fmla="*/ 1542042 w 1744420"/>
                  <a:gd name="connsiteY4" fmla="*/ 4200673 h 4200673"/>
                  <a:gd name="connsiteX5" fmla="*/ 23716 w 1744420"/>
                  <a:gd name="connsiteY5" fmla="*/ 4199431 h 4200673"/>
                  <a:gd name="connsiteX6" fmla="*/ 0 w 1744420"/>
                  <a:gd name="connsiteY6" fmla="*/ 4196286 h 4200673"/>
                  <a:gd name="connsiteX0" fmla="*/ 8816 w 1720704"/>
                  <a:gd name="connsiteY0" fmla="*/ 8817 h 4200673"/>
                  <a:gd name="connsiteX1" fmla="*/ 1246205 w 1720704"/>
                  <a:gd name="connsiteY1" fmla="*/ 0 h 4200673"/>
                  <a:gd name="connsiteX2" fmla="*/ 1700076 w 1720704"/>
                  <a:gd name="connsiteY2" fmla="*/ 433705 h 4200673"/>
                  <a:gd name="connsiteX3" fmla="*/ 1720704 w 1720704"/>
                  <a:gd name="connsiteY3" fmla="*/ 4200673 h 4200673"/>
                  <a:gd name="connsiteX4" fmla="*/ 1518326 w 1720704"/>
                  <a:gd name="connsiteY4" fmla="*/ 4200673 h 4200673"/>
                  <a:gd name="connsiteX5" fmla="*/ 0 w 1720704"/>
                  <a:gd name="connsiteY5" fmla="*/ 4199431 h 4200673"/>
                  <a:gd name="connsiteX0" fmla="*/ 102 w 1720704"/>
                  <a:gd name="connsiteY0" fmla="*/ 0 h 4202853"/>
                  <a:gd name="connsiteX1" fmla="*/ 1246205 w 1720704"/>
                  <a:gd name="connsiteY1" fmla="*/ 2180 h 4202853"/>
                  <a:gd name="connsiteX2" fmla="*/ 1700076 w 1720704"/>
                  <a:gd name="connsiteY2" fmla="*/ 435885 h 4202853"/>
                  <a:gd name="connsiteX3" fmla="*/ 1720704 w 1720704"/>
                  <a:gd name="connsiteY3" fmla="*/ 4202853 h 4202853"/>
                  <a:gd name="connsiteX4" fmla="*/ 1518326 w 1720704"/>
                  <a:gd name="connsiteY4" fmla="*/ 4202853 h 4202853"/>
                  <a:gd name="connsiteX5" fmla="*/ 0 w 1720704"/>
                  <a:gd name="connsiteY5" fmla="*/ 4201611 h 4202853"/>
                  <a:gd name="connsiteX0" fmla="*/ 102 w 1720704"/>
                  <a:gd name="connsiteY0" fmla="*/ 0 h 4202853"/>
                  <a:gd name="connsiteX1" fmla="*/ 212558 w 1720704"/>
                  <a:gd name="connsiteY1" fmla="*/ 1544 h 4202853"/>
                  <a:gd name="connsiteX2" fmla="*/ 1246205 w 1720704"/>
                  <a:gd name="connsiteY2" fmla="*/ 2180 h 4202853"/>
                  <a:gd name="connsiteX3" fmla="*/ 1700076 w 1720704"/>
                  <a:gd name="connsiteY3" fmla="*/ 435885 h 4202853"/>
                  <a:gd name="connsiteX4" fmla="*/ 1720704 w 1720704"/>
                  <a:gd name="connsiteY4" fmla="*/ 4202853 h 4202853"/>
                  <a:gd name="connsiteX5" fmla="*/ 1518326 w 1720704"/>
                  <a:gd name="connsiteY5" fmla="*/ 4202853 h 4202853"/>
                  <a:gd name="connsiteX6" fmla="*/ 0 w 1720704"/>
                  <a:gd name="connsiteY6" fmla="*/ 4201611 h 4202853"/>
                  <a:gd name="connsiteX0" fmla="*/ 212558 w 1720704"/>
                  <a:gd name="connsiteY0" fmla="*/ 0 h 4201309"/>
                  <a:gd name="connsiteX1" fmla="*/ 1246205 w 1720704"/>
                  <a:gd name="connsiteY1" fmla="*/ 636 h 4201309"/>
                  <a:gd name="connsiteX2" fmla="*/ 1700076 w 1720704"/>
                  <a:gd name="connsiteY2" fmla="*/ 434341 h 4201309"/>
                  <a:gd name="connsiteX3" fmla="*/ 1720704 w 1720704"/>
                  <a:gd name="connsiteY3" fmla="*/ 4201309 h 4201309"/>
                  <a:gd name="connsiteX4" fmla="*/ 1518326 w 1720704"/>
                  <a:gd name="connsiteY4" fmla="*/ 4201309 h 4201309"/>
                  <a:gd name="connsiteX5" fmla="*/ 0 w 1720704"/>
                  <a:gd name="connsiteY5" fmla="*/ 4200067 h 4201309"/>
                  <a:gd name="connsiteX0" fmla="*/ 212558 w 1720704"/>
                  <a:gd name="connsiteY0" fmla="*/ 0 h 4205294"/>
                  <a:gd name="connsiteX1" fmla="*/ 1246205 w 1720704"/>
                  <a:gd name="connsiteY1" fmla="*/ 636 h 4205294"/>
                  <a:gd name="connsiteX2" fmla="*/ 1700076 w 1720704"/>
                  <a:gd name="connsiteY2" fmla="*/ 434341 h 4205294"/>
                  <a:gd name="connsiteX3" fmla="*/ 1720704 w 1720704"/>
                  <a:gd name="connsiteY3" fmla="*/ 4201309 h 4205294"/>
                  <a:gd name="connsiteX4" fmla="*/ 1518326 w 1720704"/>
                  <a:gd name="connsiteY4" fmla="*/ 4201309 h 4205294"/>
                  <a:gd name="connsiteX5" fmla="*/ 217694 w 1720704"/>
                  <a:gd name="connsiteY5" fmla="*/ 4205294 h 4205294"/>
                  <a:gd name="connsiteX6" fmla="*/ 0 w 1720704"/>
                  <a:gd name="connsiteY6" fmla="*/ 4200067 h 4205294"/>
                  <a:gd name="connsiteX0" fmla="*/ 0 w 1508146"/>
                  <a:gd name="connsiteY0" fmla="*/ 0 h 4205294"/>
                  <a:gd name="connsiteX1" fmla="*/ 1033647 w 1508146"/>
                  <a:gd name="connsiteY1" fmla="*/ 636 h 4205294"/>
                  <a:gd name="connsiteX2" fmla="*/ 1487518 w 1508146"/>
                  <a:gd name="connsiteY2" fmla="*/ 434341 h 4205294"/>
                  <a:gd name="connsiteX3" fmla="*/ 1508146 w 1508146"/>
                  <a:gd name="connsiteY3" fmla="*/ 4201309 h 4205294"/>
                  <a:gd name="connsiteX4" fmla="*/ 1305768 w 1508146"/>
                  <a:gd name="connsiteY4" fmla="*/ 4201309 h 4205294"/>
                  <a:gd name="connsiteX5" fmla="*/ 5136 w 1508146"/>
                  <a:gd name="connsiteY5" fmla="*/ 4205294 h 4205294"/>
                  <a:gd name="connsiteX0" fmla="*/ 0 w 1508146"/>
                  <a:gd name="connsiteY0" fmla="*/ 0 h 4205294"/>
                  <a:gd name="connsiteX1" fmla="*/ 1033647 w 1508146"/>
                  <a:gd name="connsiteY1" fmla="*/ 636 h 4205294"/>
                  <a:gd name="connsiteX2" fmla="*/ 1487518 w 1508146"/>
                  <a:gd name="connsiteY2" fmla="*/ 434341 h 4205294"/>
                  <a:gd name="connsiteX3" fmla="*/ 1508146 w 1508146"/>
                  <a:gd name="connsiteY3" fmla="*/ 4201309 h 4205294"/>
                  <a:gd name="connsiteX4" fmla="*/ 1424134 w 1508146"/>
                  <a:gd name="connsiteY4" fmla="*/ 4202255 h 4205294"/>
                  <a:gd name="connsiteX5" fmla="*/ 1305768 w 1508146"/>
                  <a:gd name="connsiteY5" fmla="*/ 4201309 h 4205294"/>
                  <a:gd name="connsiteX6" fmla="*/ 5136 w 1508146"/>
                  <a:gd name="connsiteY6" fmla="*/ 4205294 h 4205294"/>
                  <a:gd name="connsiteX0" fmla="*/ 0 w 1509361"/>
                  <a:gd name="connsiteY0" fmla="*/ 0 h 4205294"/>
                  <a:gd name="connsiteX1" fmla="*/ 1033647 w 1509361"/>
                  <a:gd name="connsiteY1" fmla="*/ 636 h 4205294"/>
                  <a:gd name="connsiteX2" fmla="*/ 1487518 w 1509361"/>
                  <a:gd name="connsiteY2" fmla="*/ 434341 h 4205294"/>
                  <a:gd name="connsiteX3" fmla="*/ 1424134 w 1509361"/>
                  <a:gd name="connsiteY3" fmla="*/ 4202255 h 4205294"/>
                  <a:gd name="connsiteX4" fmla="*/ 1305768 w 1509361"/>
                  <a:gd name="connsiteY4" fmla="*/ 4201309 h 4205294"/>
                  <a:gd name="connsiteX5" fmla="*/ 5136 w 1509361"/>
                  <a:gd name="connsiteY5" fmla="*/ 4205294 h 4205294"/>
                  <a:gd name="connsiteX0" fmla="*/ 0 w 1509361"/>
                  <a:gd name="connsiteY0" fmla="*/ 0 h 4205294"/>
                  <a:gd name="connsiteX1" fmla="*/ 1033647 w 1509361"/>
                  <a:gd name="connsiteY1" fmla="*/ 636 h 4205294"/>
                  <a:gd name="connsiteX2" fmla="*/ 1422915 w 1509361"/>
                  <a:gd name="connsiteY2" fmla="*/ 376572 h 4205294"/>
                  <a:gd name="connsiteX3" fmla="*/ 1487518 w 1509361"/>
                  <a:gd name="connsiteY3" fmla="*/ 434341 h 4205294"/>
                  <a:gd name="connsiteX4" fmla="*/ 1424134 w 1509361"/>
                  <a:gd name="connsiteY4" fmla="*/ 4202255 h 4205294"/>
                  <a:gd name="connsiteX5" fmla="*/ 1305768 w 1509361"/>
                  <a:gd name="connsiteY5" fmla="*/ 4201309 h 4205294"/>
                  <a:gd name="connsiteX6" fmla="*/ 5136 w 1509361"/>
                  <a:gd name="connsiteY6" fmla="*/ 4205294 h 4205294"/>
                  <a:gd name="connsiteX0" fmla="*/ 0 w 1457094"/>
                  <a:gd name="connsiteY0" fmla="*/ 50479 h 4255773"/>
                  <a:gd name="connsiteX1" fmla="*/ 1033647 w 1457094"/>
                  <a:gd name="connsiteY1" fmla="*/ 51115 h 4255773"/>
                  <a:gd name="connsiteX2" fmla="*/ 1422915 w 1457094"/>
                  <a:gd name="connsiteY2" fmla="*/ 427051 h 4255773"/>
                  <a:gd name="connsiteX3" fmla="*/ 1424134 w 1457094"/>
                  <a:gd name="connsiteY3" fmla="*/ 4252734 h 4255773"/>
                  <a:gd name="connsiteX4" fmla="*/ 1305768 w 1457094"/>
                  <a:gd name="connsiteY4" fmla="*/ 4251788 h 4255773"/>
                  <a:gd name="connsiteX5" fmla="*/ 5136 w 1457094"/>
                  <a:gd name="connsiteY5" fmla="*/ 4255773 h 4255773"/>
                  <a:gd name="connsiteX0" fmla="*/ 0 w 1432100"/>
                  <a:gd name="connsiteY0" fmla="*/ 50479 h 4255773"/>
                  <a:gd name="connsiteX1" fmla="*/ 1033647 w 1432100"/>
                  <a:gd name="connsiteY1" fmla="*/ 51115 h 4255773"/>
                  <a:gd name="connsiteX2" fmla="*/ 1422915 w 1432100"/>
                  <a:gd name="connsiteY2" fmla="*/ 427051 h 4255773"/>
                  <a:gd name="connsiteX3" fmla="*/ 1424134 w 1432100"/>
                  <a:gd name="connsiteY3" fmla="*/ 4252734 h 4255773"/>
                  <a:gd name="connsiteX4" fmla="*/ 1305768 w 1432100"/>
                  <a:gd name="connsiteY4" fmla="*/ 4251788 h 4255773"/>
                  <a:gd name="connsiteX5" fmla="*/ 5136 w 1432100"/>
                  <a:gd name="connsiteY5" fmla="*/ 4255773 h 4255773"/>
                  <a:gd name="connsiteX0" fmla="*/ 0 w 1434720"/>
                  <a:gd name="connsiteY0" fmla="*/ 50479 h 4255773"/>
                  <a:gd name="connsiteX1" fmla="*/ 1033647 w 1434720"/>
                  <a:gd name="connsiteY1" fmla="*/ 51115 h 4255773"/>
                  <a:gd name="connsiteX2" fmla="*/ 1422915 w 1434720"/>
                  <a:gd name="connsiteY2" fmla="*/ 427051 h 4255773"/>
                  <a:gd name="connsiteX3" fmla="*/ 1424134 w 1434720"/>
                  <a:gd name="connsiteY3" fmla="*/ 4252734 h 4255773"/>
                  <a:gd name="connsiteX4" fmla="*/ 1305768 w 1434720"/>
                  <a:gd name="connsiteY4" fmla="*/ 4251788 h 4255773"/>
                  <a:gd name="connsiteX5" fmla="*/ 5136 w 1434720"/>
                  <a:gd name="connsiteY5" fmla="*/ 4255773 h 4255773"/>
                  <a:gd name="connsiteX0" fmla="*/ 0 w 1432860"/>
                  <a:gd name="connsiteY0" fmla="*/ 50479 h 4255773"/>
                  <a:gd name="connsiteX1" fmla="*/ 1033647 w 1432860"/>
                  <a:gd name="connsiteY1" fmla="*/ 51115 h 4255773"/>
                  <a:gd name="connsiteX2" fmla="*/ 1422915 w 1432860"/>
                  <a:gd name="connsiteY2" fmla="*/ 427051 h 4255773"/>
                  <a:gd name="connsiteX3" fmla="*/ 1424134 w 1432860"/>
                  <a:gd name="connsiteY3" fmla="*/ 4252734 h 4255773"/>
                  <a:gd name="connsiteX4" fmla="*/ 1305768 w 1432860"/>
                  <a:gd name="connsiteY4" fmla="*/ 4251788 h 4255773"/>
                  <a:gd name="connsiteX5" fmla="*/ 5136 w 1432860"/>
                  <a:gd name="connsiteY5" fmla="*/ 4255773 h 4255773"/>
                  <a:gd name="connsiteX0" fmla="*/ 0 w 1424727"/>
                  <a:gd name="connsiteY0" fmla="*/ 50479 h 4255773"/>
                  <a:gd name="connsiteX1" fmla="*/ 1033647 w 1424727"/>
                  <a:gd name="connsiteY1" fmla="*/ 51115 h 4255773"/>
                  <a:gd name="connsiteX2" fmla="*/ 1422915 w 1424727"/>
                  <a:gd name="connsiteY2" fmla="*/ 427051 h 4255773"/>
                  <a:gd name="connsiteX3" fmla="*/ 1424134 w 1424727"/>
                  <a:gd name="connsiteY3" fmla="*/ 4252734 h 4255773"/>
                  <a:gd name="connsiteX4" fmla="*/ 1305768 w 1424727"/>
                  <a:gd name="connsiteY4" fmla="*/ 4251788 h 4255773"/>
                  <a:gd name="connsiteX5" fmla="*/ 5136 w 1424727"/>
                  <a:gd name="connsiteY5" fmla="*/ 4255773 h 4255773"/>
                  <a:gd name="connsiteX0" fmla="*/ 0 w 1424727"/>
                  <a:gd name="connsiteY0" fmla="*/ 0 h 4205294"/>
                  <a:gd name="connsiteX1" fmla="*/ 1033647 w 1424727"/>
                  <a:gd name="connsiteY1" fmla="*/ 636 h 4205294"/>
                  <a:gd name="connsiteX2" fmla="*/ 1422915 w 1424727"/>
                  <a:gd name="connsiteY2" fmla="*/ 376572 h 4205294"/>
                  <a:gd name="connsiteX3" fmla="*/ 1424134 w 1424727"/>
                  <a:gd name="connsiteY3" fmla="*/ 4202255 h 4205294"/>
                  <a:gd name="connsiteX4" fmla="*/ 1305768 w 1424727"/>
                  <a:gd name="connsiteY4" fmla="*/ 4201309 h 4205294"/>
                  <a:gd name="connsiteX5" fmla="*/ 5136 w 1424727"/>
                  <a:gd name="connsiteY5" fmla="*/ 4205294 h 4205294"/>
                  <a:gd name="connsiteX0" fmla="*/ 0 w 1424727"/>
                  <a:gd name="connsiteY0" fmla="*/ 0 h 4205294"/>
                  <a:gd name="connsiteX1" fmla="*/ 1033647 w 1424727"/>
                  <a:gd name="connsiteY1" fmla="*/ 636 h 4205294"/>
                  <a:gd name="connsiteX2" fmla="*/ 1422915 w 1424727"/>
                  <a:gd name="connsiteY2" fmla="*/ 376572 h 4205294"/>
                  <a:gd name="connsiteX3" fmla="*/ 1424134 w 1424727"/>
                  <a:gd name="connsiteY3" fmla="*/ 4202255 h 4205294"/>
                  <a:gd name="connsiteX4" fmla="*/ 1305768 w 1424727"/>
                  <a:gd name="connsiteY4" fmla="*/ 4201309 h 4205294"/>
                  <a:gd name="connsiteX5" fmla="*/ 5136 w 1424727"/>
                  <a:gd name="connsiteY5" fmla="*/ 4205294 h 4205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4727" h="4205294">
                    <a:moveTo>
                      <a:pt x="0" y="0"/>
                    </a:moveTo>
                    <a:lnTo>
                      <a:pt x="1033647" y="636"/>
                    </a:lnTo>
                    <a:cubicBezTo>
                      <a:pt x="1263479" y="213500"/>
                      <a:pt x="1167521" y="115063"/>
                      <a:pt x="1422915" y="376572"/>
                    </a:cubicBezTo>
                    <a:cubicBezTo>
                      <a:pt x="1424558" y="1178834"/>
                      <a:pt x="1425359" y="3578270"/>
                      <a:pt x="1424134" y="4202255"/>
                    </a:cubicBezTo>
                    <a:lnTo>
                      <a:pt x="1305768" y="4201309"/>
                    </a:lnTo>
                    <a:lnTo>
                      <a:pt x="5136" y="4205294"/>
                    </a:lnTo>
                  </a:path>
                </a:pathLst>
              </a:custGeom>
              <a:noFill/>
              <a:ln w="9525" cap="sq">
                <a:solidFill>
                  <a:schemeClr val="bg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FontTx/>
                  <a:buNone/>
                </a:pPr>
                <a:endParaRPr lang="en-US" dirty="0"/>
              </a:p>
            </p:txBody>
          </p:sp>
        </p:grpSp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4954E923-BCDD-8FB0-E53A-F003085CB82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07131" y="5585531"/>
              <a:ext cx="0" cy="181971"/>
            </a:xfrm>
            <a:prstGeom prst="line">
              <a:avLst/>
            </a:prstGeom>
            <a:ln w="9525" cap="sq">
              <a:solidFill>
                <a:schemeClr val="bg2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5" name="Picture Placeholder 2">
            <a:extLst>
              <a:ext uri="{FF2B5EF4-FFF2-40B4-BE49-F238E27FC236}">
                <a16:creationId xmlns:a16="http://schemas.microsoft.com/office/drawing/2014/main" id="{64C9E9B6-9FB0-DB26-57F9-120FE6AFFA61}"/>
              </a:ext>
            </a:extLst>
          </p:cNvPr>
          <p:cNvSpPr>
            <a:spLocks noGrp="1"/>
          </p:cNvSpPr>
          <p:nvPr>
            <p:ph type="pic" idx="37" hasCustomPrompt="1"/>
          </p:nvPr>
        </p:nvSpPr>
        <p:spPr>
          <a:xfrm>
            <a:off x="9492560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783355F1-73EC-26D7-5888-043CA961DFD8}"/>
              </a:ext>
            </a:extLst>
          </p:cNvPr>
          <p:cNvGrpSpPr/>
          <p:nvPr userDrawn="1"/>
        </p:nvGrpSpPr>
        <p:grpSpPr>
          <a:xfrm>
            <a:off x="9479695" y="1612232"/>
            <a:ext cx="2338382" cy="4162926"/>
            <a:chOff x="6603439" y="1612232"/>
            <a:chExt cx="2338382" cy="4162926"/>
          </a:xfrm>
        </p:grpSpPr>
        <p:grpSp>
          <p:nvGrpSpPr>
            <p:cNvPr id="297" name="Group 296">
              <a:extLst>
                <a:ext uri="{FF2B5EF4-FFF2-40B4-BE49-F238E27FC236}">
                  <a16:creationId xmlns:a16="http://schemas.microsoft.com/office/drawing/2014/main" id="{749F5A03-34E6-9524-A50D-64260FB8E630}"/>
                </a:ext>
              </a:extLst>
            </p:cNvPr>
            <p:cNvGrpSpPr/>
            <p:nvPr userDrawn="1"/>
          </p:nvGrpSpPr>
          <p:grpSpPr>
            <a:xfrm>
              <a:off x="6603439" y="1612232"/>
              <a:ext cx="2338382" cy="4162926"/>
              <a:chOff x="862265" y="1612232"/>
              <a:chExt cx="2338382" cy="4162926"/>
            </a:xfrm>
          </p:grpSpPr>
          <p:grpSp>
            <p:nvGrpSpPr>
              <p:cNvPr id="299" name="Group 298">
                <a:extLst>
                  <a:ext uri="{FF2B5EF4-FFF2-40B4-BE49-F238E27FC236}">
                    <a16:creationId xmlns:a16="http://schemas.microsoft.com/office/drawing/2014/main" id="{DED3E377-E0BB-F294-8344-50F122694203}"/>
                  </a:ext>
                </a:extLst>
              </p:cNvPr>
              <p:cNvGrpSpPr/>
              <p:nvPr userDrawn="1"/>
            </p:nvGrpSpPr>
            <p:grpSpPr>
              <a:xfrm>
                <a:off x="3147504" y="2061539"/>
                <a:ext cx="53143" cy="1085389"/>
                <a:chOff x="2780760" y="2009831"/>
                <a:chExt cx="53143" cy="1085389"/>
              </a:xfrm>
            </p:grpSpPr>
            <p:grpSp>
              <p:nvGrpSpPr>
                <p:cNvPr id="301" name="Graphic 42">
                  <a:extLst>
                    <a:ext uri="{FF2B5EF4-FFF2-40B4-BE49-F238E27FC236}">
                      <a16:creationId xmlns:a16="http://schemas.microsoft.com/office/drawing/2014/main" id="{39A1C890-7A5D-C101-EA3A-6077A2CF3F33}"/>
                    </a:ext>
                  </a:extLst>
                </p:cNvPr>
                <p:cNvGrpSpPr/>
                <p:nvPr userDrawn="1"/>
              </p:nvGrpSpPr>
              <p:grpSpPr>
                <a:xfrm rot="16200000" flipH="1" flipV="1">
                  <a:off x="2482218" y="2310772"/>
                  <a:ext cx="650227" cy="48346"/>
                  <a:chOff x="7926578" y="441451"/>
                  <a:chExt cx="895032" cy="66548"/>
                </a:xfrm>
                <a:solidFill>
                  <a:srgbClr val="75BF43">
                    <a:alpha val="57000"/>
                  </a:srgbClr>
                </a:solidFill>
              </p:grpSpPr>
              <p:sp>
                <p:nvSpPr>
                  <p:cNvPr id="310" name="Freeform: Shape 33">
                    <a:extLst>
                      <a:ext uri="{FF2B5EF4-FFF2-40B4-BE49-F238E27FC236}">
                        <a16:creationId xmlns:a16="http://schemas.microsoft.com/office/drawing/2014/main" id="{55E319B1-A3B2-B14C-23B5-D5B1EFE16535}"/>
                      </a:ext>
                    </a:extLst>
                  </p:cNvPr>
                  <p:cNvSpPr/>
                  <p:nvPr/>
                </p:nvSpPr>
                <p:spPr>
                  <a:xfrm>
                    <a:off x="8479726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1" name="Freeform: Shape 34">
                    <a:extLst>
                      <a:ext uri="{FF2B5EF4-FFF2-40B4-BE49-F238E27FC236}">
                        <a16:creationId xmlns:a16="http://schemas.microsoft.com/office/drawing/2014/main" id="{EA453C38-F190-5862-FFC9-6D84266899A8}"/>
                      </a:ext>
                    </a:extLst>
                  </p:cNvPr>
                  <p:cNvSpPr/>
                  <p:nvPr/>
                </p:nvSpPr>
                <p:spPr>
                  <a:xfrm>
                    <a:off x="8437181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2" name="Freeform: Shape 35">
                    <a:extLst>
                      <a:ext uri="{FF2B5EF4-FFF2-40B4-BE49-F238E27FC236}">
                        <a16:creationId xmlns:a16="http://schemas.microsoft.com/office/drawing/2014/main" id="{6832A062-8CAC-79B2-0D97-9673A90ACD90}"/>
                      </a:ext>
                    </a:extLst>
                  </p:cNvPr>
                  <p:cNvSpPr/>
                  <p:nvPr/>
                </p:nvSpPr>
                <p:spPr>
                  <a:xfrm>
                    <a:off x="8394636" y="441451"/>
                    <a:ext cx="89281" cy="66548"/>
                  </a:xfrm>
                  <a:custGeom>
                    <a:avLst/>
                    <a:gdLst>
                      <a:gd name="connsiteX0" fmla="*/ 68707 w 89281"/>
                      <a:gd name="connsiteY0" fmla="*/ 0 h 66548"/>
                      <a:gd name="connsiteX1" fmla="*/ 0 w 89281"/>
                      <a:gd name="connsiteY1" fmla="*/ 66548 h 66548"/>
                      <a:gd name="connsiteX2" fmla="*/ 20574 w 89281"/>
                      <a:gd name="connsiteY2" fmla="*/ 66548 h 66548"/>
                      <a:gd name="connsiteX3" fmla="*/ 89281 w 89281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1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3" name="Freeform: Shape 36">
                    <a:extLst>
                      <a:ext uri="{FF2B5EF4-FFF2-40B4-BE49-F238E27FC236}">
                        <a16:creationId xmlns:a16="http://schemas.microsoft.com/office/drawing/2014/main" id="{BF21098E-692F-7BE5-53DB-EFAB31E92331}"/>
                      </a:ext>
                    </a:extLst>
                  </p:cNvPr>
                  <p:cNvSpPr/>
                  <p:nvPr/>
                </p:nvSpPr>
                <p:spPr>
                  <a:xfrm>
                    <a:off x="8352091" y="441451"/>
                    <a:ext cx="89280" cy="66548"/>
                  </a:xfrm>
                  <a:custGeom>
                    <a:avLst/>
                    <a:gdLst>
                      <a:gd name="connsiteX0" fmla="*/ 68707 w 89280"/>
                      <a:gd name="connsiteY0" fmla="*/ 0 h 66548"/>
                      <a:gd name="connsiteX1" fmla="*/ 0 w 89280"/>
                      <a:gd name="connsiteY1" fmla="*/ 66548 h 66548"/>
                      <a:gd name="connsiteX2" fmla="*/ 20574 w 89280"/>
                      <a:gd name="connsiteY2" fmla="*/ 66548 h 66548"/>
                      <a:gd name="connsiteX3" fmla="*/ 89281 w 89280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0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4" name="Freeform: Shape 37">
                    <a:extLst>
                      <a:ext uri="{FF2B5EF4-FFF2-40B4-BE49-F238E27FC236}">
                        <a16:creationId xmlns:a16="http://schemas.microsoft.com/office/drawing/2014/main" id="{FE8CBC63-047F-4380-F897-76EA954882C5}"/>
                      </a:ext>
                    </a:extLst>
                  </p:cNvPr>
                  <p:cNvSpPr/>
                  <p:nvPr/>
                </p:nvSpPr>
                <p:spPr>
                  <a:xfrm>
                    <a:off x="813930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5" name="Freeform: Shape 38">
                    <a:extLst>
                      <a:ext uri="{FF2B5EF4-FFF2-40B4-BE49-F238E27FC236}">
                        <a16:creationId xmlns:a16="http://schemas.microsoft.com/office/drawing/2014/main" id="{D4135910-5028-73F9-83D5-7F221DF1C947}"/>
                      </a:ext>
                    </a:extLst>
                  </p:cNvPr>
                  <p:cNvSpPr/>
                  <p:nvPr/>
                </p:nvSpPr>
                <p:spPr>
                  <a:xfrm>
                    <a:off x="8181847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6" name="Freeform: Shape 39">
                    <a:extLst>
                      <a:ext uri="{FF2B5EF4-FFF2-40B4-BE49-F238E27FC236}">
                        <a16:creationId xmlns:a16="http://schemas.microsoft.com/office/drawing/2014/main" id="{1D1B19DC-3430-D679-3738-B4DFDDB2C1BE}"/>
                      </a:ext>
                    </a:extLst>
                  </p:cNvPr>
                  <p:cNvSpPr/>
                  <p:nvPr/>
                </p:nvSpPr>
                <p:spPr>
                  <a:xfrm>
                    <a:off x="8267001" y="441451"/>
                    <a:ext cx="89280" cy="66548"/>
                  </a:xfrm>
                  <a:custGeom>
                    <a:avLst/>
                    <a:gdLst>
                      <a:gd name="connsiteX0" fmla="*/ 68643 w 89280"/>
                      <a:gd name="connsiteY0" fmla="*/ 0 h 66548"/>
                      <a:gd name="connsiteX1" fmla="*/ 0 w 89280"/>
                      <a:gd name="connsiteY1" fmla="*/ 66548 h 66548"/>
                      <a:gd name="connsiteX2" fmla="*/ 20574 w 89280"/>
                      <a:gd name="connsiteY2" fmla="*/ 66548 h 66548"/>
                      <a:gd name="connsiteX3" fmla="*/ 89281 w 89280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0" h="66548">
                        <a:moveTo>
                          <a:pt x="68643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7" name="Freeform: Shape 40">
                    <a:extLst>
                      <a:ext uri="{FF2B5EF4-FFF2-40B4-BE49-F238E27FC236}">
                        <a16:creationId xmlns:a16="http://schemas.microsoft.com/office/drawing/2014/main" id="{A81854D1-B5E7-A190-109D-FC31726E2A5F}"/>
                      </a:ext>
                    </a:extLst>
                  </p:cNvPr>
                  <p:cNvSpPr/>
                  <p:nvPr/>
                </p:nvSpPr>
                <p:spPr>
                  <a:xfrm>
                    <a:off x="822439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8" name="Freeform: Shape 41">
                    <a:extLst>
                      <a:ext uri="{FF2B5EF4-FFF2-40B4-BE49-F238E27FC236}">
                        <a16:creationId xmlns:a16="http://schemas.microsoft.com/office/drawing/2014/main" id="{9C64E827-AACB-C162-3431-C24DCA9664B9}"/>
                      </a:ext>
                    </a:extLst>
                  </p:cNvPr>
                  <p:cNvSpPr/>
                  <p:nvPr/>
                </p:nvSpPr>
                <p:spPr>
                  <a:xfrm>
                    <a:off x="8309546" y="441451"/>
                    <a:ext cx="89281" cy="66548"/>
                  </a:xfrm>
                  <a:custGeom>
                    <a:avLst/>
                    <a:gdLst>
                      <a:gd name="connsiteX0" fmla="*/ 68644 w 89281"/>
                      <a:gd name="connsiteY0" fmla="*/ 0 h 66548"/>
                      <a:gd name="connsiteX1" fmla="*/ 0 w 89281"/>
                      <a:gd name="connsiteY1" fmla="*/ 66548 h 66548"/>
                      <a:gd name="connsiteX2" fmla="*/ 20574 w 89281"/>
                      <a:gd name="connsiteY2" fmla="*/ 66548 h 66548"/>
                      <a:gd name="connsiteX3" fmla="*/ 89281 w 89281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1" h="66548">
                        <a:moveTo>
                          <a:pt x="68644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9" name="Freeform: Shape 42">
                    <a:extLst>
                      <a:ext uri="{FF2B5EF4-FFF2-40B4-BE49-F238E27FC236}">
                        <a16:creationId xmlns:a16="http://schemas.microsoft.com/office/drawing/2014/main" id="{10A85175-C092-E948-7D08-8AB1AB2D0F76}"/>
                      </a:ext>
                    </a:extLst>
                  </p:cNvPr>
                  <p:cNvSpPr/>
                  <p:nvPr/>
                </p:nvSpPr>
                <p:spPr>
                  <a:xfrm>
                    <a:off x="8522271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0" name="Freeform: Shape 43">
                    <a:extLst>
                      <a:ext uri="{FF2B5EF4-FFF2-40B4-BE49-F238E27FC236}">
                        <a16:creationId xmlns:a16="http://schemas.microsoft.com/office/drawing/2014/main" id="{AFDEB71B-C3D7-E5D2-5C72-45B38AA625FA}"/>
                      </a:ext>
                    </a:extLst>
                  </p:cNvPr>
                  <p:cNvSpPr/>
                  <p:nvPr/>
                </p:nvSpPr>
                <p:spPr>
                  <a:xfrm>
                    <a:off x="8693975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1" name="Freeform: Shape 44">
                    <a:extLst>
                      <a:ext uri="{FF2B5EF4-FFF2-40B4-BE49-F238E27FC236}">
                        <a16:creationId xmlns:a16="http://schemas.microsoft.com/office/drawing/2014/main" id="{000DD5EA-35E6-1E65-54F0-3A47E16AAC9C}"/>
                      </a:ext>
                    </a:extLst>
                  </p:cNvPr>
                  <p:cNvSpPr/>
                  <p:nvPr/>
                </p:nvSpPr>
                <p:spPr>
                  <a:xfrm>
                    <a:off x="8821610" y="508000"/>
                    <a:ext cx="6350" cy="6350"/>
                  </a:xfrm>
                  <a:custGeom>
                    <a:avLst/>
                    <a:gdLst>
                      <a:gd name="connsiteX0" fmla="*/ 0 w 6350"/>
                      <a:gd name="connsiteY0" fmla="*/ 0 h 6350"/>
                      <a:gd name="connsiteX1" fmla="*/ 0 w 6350"/>
                      <a:gd name="connsiteY1" fmla="*/ 0 h 6350"/>
                      <a:gd name="connsiteX2" fmla="*/ 0 w 6350"/>
                      <a:gd name="connsiteY2" fmla="*/ 0 h 6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350" h="6350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2" name="Freeform: Shape 45">
                    <a:extLst>
                      <a:ext uri="{FF2B5EF4-FFF2-40B4-BE49-F238E27FC236}">
                        <a16:creationId xmlns:a16="http://schemas.microsoft.com/office/drawing/2014/main" id="{E35E6EB3-F66B-C8E6-DFD4-6BF2326CC85F}"/>
                      </a:ext>
                    </a:extLst>
                  </p:cNvPr>
                  <p:cNvSpPr/>
                  <p:nvPr/>
                </p:nvSpPr>
                <p:spPr>
                  <a:xfrm>
                    <a:off x="8564816" y="441451"/>
                    <a:ext cx="90868" cy="66548"/>
                  </a:xfrm>
                  <a:custGeom>
                    <a:avLst/>
                    <a:gdLst>
                      <a:gd name="connsiteX0" fmla="*/ 68707 w 90868"/>
                      <a:gd name="connsiteY0" fmla="*/ 0 h 66548"/>
                      <a:gd name="connsiteX1" fmla="*/ 0 w 90868"/>
                      <a:gd name="connsiteY1" fmla="*/ 66548 h 66548"/>
                      <a:gd name="connsiteX2" fmla="*/ 22161 w 90868"/>
                      <a:gd name="connsiteY2" fmla="*/ 66548 h 66548"/>
                      <a:gd name="connsiteX3" fmla="*/ 90868 w 90868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0868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2161" y="66548"/>
                        </a:lnTo>
                        <a:lnTo>
                          <a:pt x="90868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3" name="Freeform: Shape 46">
                    <a:extLst>
                      <a:ext uri="{FF2B5EF4-FFF2-40B4-BE49-F238E27FC236}">
                        <a16:creationId xmlns:a16="http://schemas.microsoft.com/office/drawing/2014/main" id="{34A70CD7-1D10-633B-FCA6-DE18F07F3AFE}"/>
                      </a:ext>
                    </a:extLst>
                  </p:cNvPr>
                  <p:cNvSpPr/>
                  <p:nvPr/>
                </p:nvSpPr>
                <p:spPr>
                  <a:xfrm>
                    <a:off x="8651430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4" name="Freeform: Shape 47">
                    <a:extLst>
                      <a:ext uri="{FF2B5EF4-FFF2-40B4-BE49-F238E27FC236}">
                        <a16:creationId xmlns:a16="http://schemas.microsoft.com/office/drawing/2014/main" id="{2FA5D3BC-D954-52B6-3C85-6D2B434EA21A}"/>
                      </a:ext>
                    </a:extLst>
                  </p:cNvPr>
                  <p:cNvSpPr/>
                  <p:nvPr/>
                </p:nvSpPr>
                <p:spPr>
                  <a:xfrm>
                    <a:off x="8608885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5" name="Freeform: Shape 48">
                    <a:extLst>
                      <a:ext uri="{FF2B5EF4-FFF2-40B4-BE49-F238E27FC236}">
                        <a16:creationId xmlns:a16="http://schemas.microsoft.com/office/drawing/2014/main" id="{01B72E5E-EE8F-6426-9341-3171833610F7}"/>
                      </a:ext>
                    </a:extLst>
                  </p:cNvPr>
                  <p:cNvSpPr/>
                  <p:nvPr/>
                </p:nvSpPr>
                <p:spPr>
                  <a:xfrm>
                    <a:off x="8096757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6" name="Freeform: Shape 49">
                    <a:extLst>
                      <a:ext uri="{FF2B5EF4-FFF2-40B4-BE49-F238E27FC236}">
                        <a16:creationId xmlns:a16="http://schemas.microsoft.com/office/drawing/2014/main" id="{9A06CF65-FDCB-ECB6-4D0A-781D21AC206A}"/>
                      </a:ext>
                    </a:extLst>
                  </p:cNvPr>
                  <p:cNvSpPr/>
                  <p:nvPr/>
                </p:nvSpPr>
                <p:spPr>
                  <a:xfrm>
                    <a:off x="8011668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7" name="Freeform: Shape 50">
                    <a:extLst>
                      <a:ext uri="{FF2B5EF4-FFF2-40B4-BE49-F238E27FC236}">
                        <a16:creationId xmlns:a16="http://schemas.microsoft.com/office/drawing/2014/main" id="{2D274FD1-4CCA-85EB-EB6B-051E882D0ABA}"/>
                      </a:ext>
                    </a:extLst>
                  </p:cNvPr>
                  <p:cNvSpPr/>
                  <p:nvPr/>
                </p:nvSpPr>
                <p:spPr>
                  <a:xfrm>
                    <a:off x="805421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8" name="Freeform: Shape 51">
                    <a:extLst>
                      <a:ext uri="{FF2B5EF4-FFF2-40B4-BE49-F238E27FC236}">
                        <a16:creationId xmlns:a16="http://schemas.microsoft.com/office/drawing/2014/main" id="{666EBB35-C55E-722D-1E8E-9628924D9BDF}"/>
                      </a:ext>
                    </a:extLst>
                  </p:cNvPr>
                  <p:cNvSpPr/>
                  <p:nvPr/>
                </p:nvSpPr>
                <p:spPr>
                  <a:xfrm>
                    <a:off x="7969122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9" name="Freeform: Shape 52">
                    <a:extLst>
                      <a:ext uri="{FF2B5EF4-FFF2-40B4-BE49-F238E27FC236}">
                        <a16:creationId xmlns:a16="http://schemas.microsoft.com/office/drawing/2014/main" id="{EAACA669-9B2A-8F06-2CDA-87BCAB11F491}"/>
                      </a:ext>
                    </a:extLst>
                  </p:cNvPr>
                  <p:cNvSpPr/>
                  <p:nvPr/>
                </p:nvSpPr>
                <p:spPr>
                  <a:xfrm>
                    <a:off x="7926578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02" name="Group 301">
                  <a:extLst>
                    <a:ext uri="{FF2B5EF4-FFF2-40B4-BE49-F238E27FC236}">
                      <a16:creationId xmlns:a16="http://schemas.microsoft.com/office/drawing/2014/main" id="{F7EE04BF-D1BF-4612-8673-FDE750B685BE}"/>
                    </a:ext>
                  </a:extLst>
                </p:cNvPr>
                <p:cNvGrpSpPr/>
                <p:nvPr userDrawn="1"/>
              </p:nvGrpSpPr>
              <p:grpSpPr>
                <a:xfrm rot="10800000" flipV="1">
                  <a:off x="2780760" y="2715971"/>
                  <a:ext cx="53143" cy="379249"/>
                  <a:chOff x="5390750" y="3681616"/>
                  <a:chExt cx="73151" cy="522033"/>
                </a:xfrm>
              </p:grpSpPr>
              <p:sp>
                <p:nvSpPr>
                  <p:cNvPr id="303" name="Freeform: Shape 26">
                    <a:extLst>
                      <a:ext uri="{FF2B5EF4-FFF2-40B4-BE49-F238E27FC236}">
                        <a16:creationId xmlns:a16="http://schemas.microsoft.com/office/drawing/2014/main" id="{7BC1CF32-04D0-5CCB-3FCD-900526F182C6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05100" y="3681616"/>
                    <a:ext cx="43688" cy="43687"/>
                  </a:xfrm>
                  <a:custGeom>
                    <a:avLst/>
                    <a:gdLst>
                      <a:gd name="connsiteX0" fmla="*/ 0 w 43688"/>
                      <a:gd name="connsiteY0" fmla="*/ 0 h 43687"/>
                      <a:gd name="connsiteX1" fmla="*/ 43688 w 43688"/>
                      <a:gd name="connsiteY1" fmla="*/ 0 h 43687"/>
                      <a:gd name="connsiteX2" fmla="*/ 43688 w 43688"/>
                      <a:gd name="connsiteY2" fmla="*/ 43688 h 43687"/>
                      <a:gd name="connsiteX3" fmla="*/ 0 w 43688"/>
                      <a:gd name="connsiteY3" fmla="*/ 43688 h 43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688" h="43687">
                        <a:moveTo>
                          <a:pt x="0" y="0"/>
                        </a:moveTo>
                        <a:lnTo>
                          <a:pt x="43688" y="0"/>
                        </a:lnTo>
                        <a:lnTo>
                          <a:pt x="43688" y="43688"/>
                        </a:lnTo>
                        <a:lnTo>
                          <a:pt x="0" y="43688"/>
                        </a:lnTo>
                        <a:close/>
                      </a:path>
                    </a:pathLst>
                  </a:custGeom>
                  <a:noFill/>
                  <a:ln w="3175" cap="flat">
                    <a:solidFill>
                      <a:schemeClr val="bg1">
                        <a:lumMod val="50000"/>
                      </a:schemeClr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4" name="Freeform: Shape 27">
                    <a:extLst>
                      <a:ext uri="{FF2B5EF4-FFF2-40B4-BE49-F238E27FC236}">
                        <a16:creationId xmlns:a16="http://schemas.microsoft.com/office/drawing/2014/main" id="{A88DF581-81A4-3C2A-C228-A4D5A593EE08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4081062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5" name="Freeform: Shape 28">
                    <a:extLst>
                      <a:ext uri="{FF2B5EF4-FFF2-40B4-BE49-F238E27FC236}">
                        <a16:creationId xmlns:a16="http://schemas.microsoft.com/office/drawing/2014/main" id="{5680C2F6-5DD0-B105-8740-580A9827E891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4021394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6" name="Freeform: Shape 29">
                    <a:extLst>
                      <a:ext uri="{FF2B5EF4-FFF2-40B4-BE49-F238E27FC236}">
                        <a16:creationId xmlns:a16="http://schemas.microsoft.com/office/drawing/2014/main" id="{1DD26439-9E61-323C-830D-2D3145C6317B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3902056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7" name="Freeform: Shape 30">
                    <a:extLst>
                      <a:ext uri="{FF2B5EF4-FFF2-40B4-BE49-F238E27FC236}">
                        <a16:creationId xmlns:a16="http://schemas.microsoft.com/office/drawing/2014/main" id="{1203A586-196F-670D-4A4B-BE27CBBA7CB4}"/>
                      </a:ext>
                    </a:extLst>
                  </p:cNvPr>
                  <p:cNvSpPr/>
                  <p:nvPr/>
                </p:nvSpPr>
                <p:spPr>
                  <a:xfrm rot="10800000" flipH="1">
                    <a:off x="5407069" y="4165549"/>
                    <a:ext cx="42418" cy="38100"/>
                  </a:xfrm>
                  <a:custGeom>
                    <a:avLst/>
                    <a:gdLst>
                      <a:gd name="connsiteX0" fmla="*/ 0 w 42418"/>
                      <a:gd name="connsiteY0" fmla="*/ 0 h 38100"/>
                      <a:gd name="connsiteX1" fmla="*/ 42418 w 42418"/>
                      <a:gd name="connsiteY1" fmla="*/ 0 h 38100"/>
                      <a:gd name="connsiteX2" fmla="*/ 42418 w 42418"/>
                      <a:gd name="connsiteY2" fmla="*/ 38100 h 38100"/>
                      <a:gd name="connsiteX3" fmla="*/ 0 w 42418"/>
                      <a:gd name="connsiteY3" fmla="*/ 38100 h 38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418" h="38100">
                        <a:moveTo>
                          <a:pt x="0" y="0"/>
                        </a:moveTo>
                        <a:lnTo>
                          <a:pt x="42418" y="0"/>
                        </a:lnTo>
                        <a:lnTo>
                          <a:pt x="42418" y="38100"/>
                        </a:lnTo>
                        <a:lnTo>
                          <a:pt x="0" y="3810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8" name="Freeform: Shape 31">
                    <a:extLst>
                      <a:ext uri="{FF2B5EF4-FFF2-40B4-BE49-F238E27FC236}">
                        <a16:creationId xmlns:a16="http://schemas.microsoft.com/office/drawing/2014/main" id="{7F4FFCCA-190E-D42F-227F-3E075C34F03F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07387" y="3776295"/>
                    <a:ext cx="39878" cy="73151"/>
                  </a:xfrm>
                  <a:custGeom>
                    <a:avLst/>
                    <a:gdLst>
                      <a:gd name="connsiteX0" fmla="*/ 39878 w 39878"/>
                      <a:gd name="connsiteY0" fmla="*/ 38671 h 73151"/>
                      <a:gd name="connsiteX1" fmla="*/ 2413 w 39878"/>
                      <a:gd name="connsiteY1" fmla="*/ 73152 h 73151"/>
                      <a:gd name="connsiteX2" fmla="*/ 0 w 39878"/>
                      <a:gd name="connsiteY2" fmla="*/ 69913 h 73151"/>
                      <a:gd name="connsiteX3" fmla="*/ 36131 w 39878"/>
                      <a:gd name="connsiteY3" fmla="*/ 36576 h 73151"/>
                      <a:gd name="connsiteX4" fmla="*/ 0 w 39878"/>
                      <a:gd name="connsiteY4" fmla="*/ 3238 h 73151"/>
                      <a:gd name="connsiteX5" fmla="*/ 2413 w 39878"/>
                      <a:gd name="connsiteY5" fmla="*/ 0 h 73151"/>
                      <a:gd name="connsiteX6" fmla="*/ 39878 w 39878"/>
                      <a:gd name="connsiteY6" fmla="*/ 34481 h 73151"/>
                      <a:gd name="connsiteX7" fmla="*/ 39878 w 39878"/>
                      <a:gd name="connsiteY7" fmla="*/ 38671 h 73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878" h="73151">
                        <a:moveTo>
                          <a:pt x="39878" y="38671"/>
                        </a:moveTo>
                        <a:lnTo>
                          <a:pt x="2413" y="73152"/>
                        </a:lnTo>
                        <a:lnTo>
                          <a:pt x="0" y="69913"/>
                        </a:lnTo>
                        <a:lnTo>
                          <a:pt x="36131" y="36576"/>
                        </a:lnTo>
                        <a:lnTo>
                          <a:pt x="0" y="3238"/>
                        </a:lnTo>
                        <a:lnTo>
                          <a:pt x="2413" y="0"/>
                        </a:lnTo>
                        <a:lnTo>
                          <a:pt x="39878" y="34481"/>
                        </a:lnTo>
                        <a:lnTo>
                          <a:pt x="39878" y="38671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9" name="Freeform: Shape 32">
                    <a:extLst>
                      <a:ext uri="{FF2B5EF4-FFF2-40B4-BE49-F238E27FC236}">
                        <a16:creationId xmlns:a16="http://schemas.microsoft.com/office/drawing/2014/main" id="{34A0F86B-C6DE-975F-3D3A-3D25178E9A51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3961725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300" name="Freeform 13">
                <a:extLst>
                  <a:ext uri="{FF2B5EF4-FFF2-40B4-BE49-F238E27FC236}">
                    <a16:creationId xmlns:a16="http://schemas.microsoft.com/office/drawing/2014/main" id="{B6ADA8B0-F03D-6550-CAD4-259475E705EE}"/>
                  </a:ext>
                </a:extLst>
              </p:cNvPr>
              <p:cNvSpPr/>
              <p:nvPr userDrawn="1"/>
            </p:nvSpPr>
            <p:spPr>
              <a:xfrm>
                <a:off x="862265" y="1612232"/>
                <a:ext cx="2224760" cy="4162926"/>
              </a:xfrm>
              <a:custGeom>
                <a:avLst/>
                <a:gdLst>
                  <a:gd name="connsiteX0" fmla="*/ 0 w 2317531"/>
                  <a:gd name="connsiteY0" fmla="*/ 0 h 4193627"/>
                  <a:gd name="connsiteX1" fmla="*/ 1923393 w 2317531"/>
                  <a:gd name="connsiteY1" fmla="*/ 0 h 4193627"/>
                  <a:gd name="connsiteX2" fmla="*/ 2317531 w 2317531"/>
                  <a:gd name="connsiteY2" fmla="*/ 394138 h 4193627"/>
                  <a:gd name="connsiteX3" fmla="*/ 2317531 w 2317531"/>
                  <a:gd name="connsiteY3" fmla="*/ 4193627 h 4193627"/>
                  <a:gd name="connsiteX4" fmla="*/ 2104696 w 2317531"/>
                  <a:gd name="connsiteY4" fmla="*/ 4193627 h 4193627"/>
                  <a:gd name="connsiteX5" fmla="*/ 23648 w 2317531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302286 w 2302286"/>
                  <a:gd name="connsiteY2" fmla="*/ 39413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7871 w 2302286"/>
                  <a:gd name="connsiteY2" fmla="*/ 352451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7872 w 2302286"/>
                  <a:gd name="connsiteY2" fmla="*/ 366347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0605 w 2302286"/>
                  <a:gd name="connsiteY2" fmla="*/ 352452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0606 w 2302286"/>
                  <a:gd name="connsiteY2" fmla="*/ 359400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898743 w 2302286"/>
                  <a:gd name="connsiteY1" fmla="*/ 2259 h 4193627"/>
                  <a:gd name="connsiteX2" fmla="*/ 2280606 w 2302286"/>
                  <a:gd name="connsiteY2" fmla="*/ 359400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898743 w 2302286"/>
                  <a:gd name="connsiteY1" fmla="*/ 2259 h 4193627"/>
                  <a:gd name="connsiteX2" fmla="*/ 2271202 w 2302286"/>
                  <a:gd name="connsiteY2" fmla="*/ 36617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71202 w 2302286"/>
                  <a:gd name="connsiteY2" fmla="*/ 36617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74687 w 2302286"/>
                  <a:gd name="connsiteY2" fmla="*/ 503634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291829"/>
                  <a:gd name="connsiteY0" fmla="*/ 0 h 4193627"/>
                  <a:gd name="connsiteX1" fmla="*/ 1954513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954513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1201 w 2291829"/>
                  <a:gd name="connsiteY2" fmla="*/ 41016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68239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49471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7046 h 4200673"/>
                  <a:gd name="connsiteX1" fmla="*/ 1856979 w 2291829"/>
                  <a:gd name="connsiteY1" fmla="*/ 0 h 4200673"/>
                  <a:gd name="connsiteX2" fmla="*/ 2271201 w 2291829"/>
                  <a:gd name="connsiteY2" fmla="*/ 433705 h 4200673"/>
                  <a:gd name="connsiteX3" fmla="*/ 2291829 w 2291829"/>
                  <a:gd name="connsiteY3" fmla="*/ 4200673 h 4200673"/>
                  <a:gd name="connsiteX4" fmla="*/ 2089451 w 2291829"/>
                  <a:gd name="connsiteY4" fmla="*/ 4200673 h 4200673"/>
                  <a:gd name="connsiteX5" fmla="*/ 8403 w 2291829"/>
                  <a:gd name="connsiteY5" fmla="*/ 4200673 h 4200673"/>
                  <a:gd name="connsiteX0" fmla="*/ 0 w 2291829"/>
                  <a:gd name="connsiteY0" fmla="*/ 7046 h 4200673"/>
                  <a:gd name="connsiteX1" fmla="*/ 1817330 w 2291829"/>
                  <a:gd name="connsiteY1" fmla="*/ 0 h 4200673"/>
                  <a:gd name="connsiteX2" fmla="*/ 2271201 w 2291829"/>
                  <a:gd name="connsiteY2" fmla="*/ 433705 h 4200673"/>
                  <a:gd name="connsiteX3" fmla="*/ 2291829 w 2291829"/>
                  <a:gd name="connsiteY3" fmla="*/ 4200673 h 4200673"/>
                  <a:gd name="connsiteX4" fmla="*/ 2089451 w 2291829"/>
                  <a:gd name="connsiteY4" fmla="*/ 4200673 h 4200673"/>
                  <a:gd name="connsiteX5" fmla="*/ 8403 w 2291829"/>
                  <a:gd name="connsiteY5" fmla="*/ 4200673 h 4200673"/>
                  <a:gd name="connsiteX0" fmla="*/ 0 w 2291829"/>
                  <a:gd name="connsiteY0" fmla="*/ 7046 h 4200673"/>
                  <a:gd name="connsiteX1" fmla="*/ 579941 w 2291829"/>
                  <a:gd name="connsiteY1" fmla="*/ 8817 h 4200673"/>
                  <a:gd name="connsiteX2" fmla="*/ 1817330 w 2291829"/>
                  <a:gd name="connsiteY2" fmla="*/ 0 h 4200673"/>
                  <a:gd name="connsiteX3" fmla="*/ 2271201 w 2291829"/>
                  <a:gd name="connsiteY3" fmla="*/ 433705 h 4200673"/>
                  <a:gd name="connsiteX4" fmla="*/ 2291829 w 2291829"/>
                  <a:gd name="connsiteY4" fmla="*/ 4200673 h 4200673"/>
                  <a:gd name="connsiteX5" fmla="*/ 2089451 w 2291829"/>
                  <a:gd name="connsiteY5" fmla="*/ 4200673 h 4200673"/>
                  <a:gd name="connsiteX6" fmla="*/ 8403 w 2291829"/>
                  <a:gd name="connsiteY6" fmla="*/ 4200673 h 4200673"/>
                  <a:gd name="connsiteX0" fmla="*/ 571538 w 2283426"/>
                  <a:gd name="connsiteY0" fmla="*/ 8817 h 4200673"/>
                  <a:gd name="connsiteX1" fmla="*/ 1808927 w 2283426"/>
                  <a:gd name="connsiteY1" fmla="*/ 0 h 4200673"/>
                  <a:gd name="connsiteX2" fmla="*/ 2262798 w 2283426"/>
                  <a:gd name="connsiteY2" fmla="*/ 433705 h 4200673"/>
                  <a:gd name="connsiteX3" fmla="*/ 2283426 w 2283426"/>
                  <a:gd name="connsiteY3" fmla="*/ 4200673 h 4200673"/>
                  <a:gd name="connsiteX4" fmla="*/ 2081048 w 2283426"/>
                  <a:gd name="connsiteY4" fmla="*/ 4200673 h 4200673"/>
                  <a:gd name="connsiteX5" fmla="*/ 0 w 2283426"/>
                  <a:gd name="connsiteY5" fmla="*/ 4200673 h 4200673"/>
                  <a:gd name="connsiteX0" fmla="*/ 571538 w 2283426"/>
                  <a:gd name="connsiteY0" fmla="*/ 8817 h 4200673"/>
                  <a:gd name="connsiteX1" fmla="*/ 1808927 w 2283426"/>
                  <a:gd name="connsiteY1" fmla="*/ 0 h 4200673"/>
                  <a:gd name="connsiteX2" fmla="*/ 2262798 w 2283426"/>
                  <a:gd name="connsiteY2" fmla="*/ 433705 h 4200673"/>
                  <a:gd name="connsiteX3" fmla="*/ 2283426 w 2283426"/>
                  <a:gd name="connsiteY3" fmla="*/ 4200673 h 4200673"/>
                  <a:gd name="connsiteX4" fmla="*/ 2081048 w 2283426"/>
                  <a:gd name="connsiteY4" fmla="*/ 4200673 h 4200673"/>
                  <a:gd name="connsiteX5" fmla="*/ 539006 w 2283426"/>
                  <a:gd name="connsiteY5" fmla="*/ 4196286 h 4200673"/>
                  <a:gd name="connsiteX6" fmla="*/ 0 w 2283426"/>
                  <a:gd name="connsiteY6" fmla="*/ 4200673 h 4200673"/>
                  <a:gd name="connsiteX0" fmla="*/ 32532 w 1744420"/>
                  <a:gd name="connsiteY0" fmla="*/ 8817 h 4200673"/>
                  <a:gd name="connsiteX1" fmla="*/ 1269921 w 1744420"/>
                  <a:gd name="connsiteY1" fmla="*/ 0 h 4200673"/>
                  <a:gd name="connsiteX2" fmla="*/ 1723792 w 1744420"/>
                  <a:gd name="connsiteY2" fmla="*/ 433705 h 4200673"/>
                  <a:gd name="connsiteX3" fmla="*/ 1744420 w 1744420"/>
                  <a:gd name="connsiteY3" fmla="*/ 4200673 h 4200673"/>
                  <a:gd name="connsiteX4" fmla="*/ 1542042 w 1744420"/>
                  <a:gd name="connsiteY4" fmla="*/ 4200673 h 4200673"/>
                  <a:gd name="connsiteX5" fmla="*/ 0 w 1744420"/>
                  <a:gd name="connsiteY5" fmla="*/ 4196286 h 4200673"/>
                  <a:gd name="connsiteX0" fmla="*/ 32532 w 1744420"/>
                  <a:gd name="connsiteY0" fmla="*/ 8817 h 4200673"/>
                  <a:gd name="connsiteX1" fmla="*/ 1269921 w 1744420"/>
                  <a:gd name="connsiteY1" fmla="*/ 0 h 4200673"/>
                  <a:gd name="connsiteX2" fmla="*/ 1723792 w 1744420"/>
                  <a:gd name="connsiteY2" fmla="*/ 433705 h 4200673"/>
                  <a:gd name="connsiteX3" fmla="*/ 1744420 w 1744420"/>
                  <a:gd name="connsiteY3" fmla="*/ 4200673 h 4200673"/>
                  <a:gd name="connsiteX4" fmla="*/ 1542042 w 1744420"/>
                  <a:gd name="connsiteY4" fmla="*/ 4200673 h 4200673"/>
                  <a:gd name="connsiteX5" fmla="*/ 23716 w 1744420"/>
                  <a:gd name="connsiteY5" fmla="*/ 4199431 h 4200673"/>
                  <a:gd name="connsiteX6" fmla="*/ 0 w 1744420"/>
                  <a:gd name="connsiteY6" fmla="*/ 4196286 h 4200673"/>
                  <a:gd name="connsiteX0" fmla="*/ 8816 w 1720704"/>
                  <a:gd name="connsiteY0" fmla="*/ 8817 h 4200673"/>
                  <a:gd name="connsiteX1" fmla="*/ 1246205 w 1720704"/>
                  <a:gd name="connsiteY1" fmla="*/ 0 h 4200673"/>
                  <a:gd name="connsiteX2" fmla="*/ 1700076 w 1720704"/>
                  <a:gd name="connsiteY2" fmla="*/ 433705 h 4200673"/>
                  <a:gd name="connsiteX3" fmla="*/ 1720704 w 1720704"/>
                  <a:gd name="connsiteY3" fmla="*/ 4200673 h 4200673"/>
                  <a:gd name="connsiteX4" fmla="*/ 1518326 w 1720704"/>
                  <a:gd name="connsiteY4" fmla="*/ 4200673 h 4200673"/>
                  <a:gd name="connsiteX5" fmla="*/ 0 w 1720704"/>
                  <a:gd name="connsiteY5" fmla="*/ 4199431 h 4200673"/>
                  <a:gd name="connsiteX0" fmla="*/ 102 w 1720704"/>
                  <a:gd name="connsiteY0" fmla="*/ 0 h 4202853"/>
                  <a:gd name="connsiteX1" fmla="*/ 1246205 w 1720704"/>
                  <a:gd name="connsiteY1" fmla="*/ 2180 h 4202853"/>
                  <a:gd name="connsiteX2" fmla="*/ 1700076 w 1720704"/>
                  <a:gd name="connsiteY2" fmla="*/ 435885 h 4202853"/>
                  <a:gd name="connsiteX3" fmla="*/ 1720704 w 1720704"/>
                  <a:gd name="connsiteY3" fmla="*/ 4202853 h 4202853"/>
                  <a:gd name="connsiteX4" fmla="*/ 1518326 w 1720704"/>
                  <a:gd name="connsiteY4" fmla="*/ 4202853 h 4202853"/>
                  <a:gd name="connsiteX5" fmla="*/ 0 w 1720704"/>
                  <a:gd name="connsiteY5" fmla="*/ 4201611 h 4202853"/>
                  <a:gd name="connsiteX0" fmla="*/ 102 w 1720704"/>
                  <a:gd name="connsiteY0" fmla="*/ 0 h 4202853"/>
                  <a:gd name="connsiteX1" fmla="*/ 212558 w 1720704"/>
                  <a:gd name="connsiteY1" fmla="*/ 1544 h 4202853"/>
                  <a:gd name="connsiteX2" fmla="*/ 1246205 w 1720704"/>
                  <a:gd name="connsiteY2" fmla="*/ 2180 h 4202853"/>
                  <a:gd name="connsiteX3" fmla="*/ 1700076 w 1720704"/>
                  <a:gd name="connsiteY3" fmla="*/ 435885 h 4202853"/>
                  <a:gd name="connsiteX4" fmla="*/ 1720704 w 1720704"/>
                  <a:gd name="connsiteY4" fmla="*/ 4202853 h 4202853"/>
                  <a:gd name="connsiteX5" fmla="*/ 1518326 w 1720704"/>
                  <a:gd name="connsiteY5" fmla="*/ 4202853 h 4202853"/>
                  <a:gd name="connsiteX6" fmla="*/ 0 w 1720704"/>
                  <a:gd name="connsiteY6" fmla="*/ 4201611 h 4202853"/>
                  <a:gd name="connsiteX0" fmla="*/ 212558 w 1720704"/>
                  <a:gd name="connsiteY0" fmla="*/ 0 h 4201309"/>
                  <a:gd name="connsiteX1" fmla="*/ 1246205 w 1720704"/>
                  <a:gd name="connsiteY1" fmla="*/ 636 h 4201309"/>
                  <a:gd name="connsiteX2" fmla="*/ 1700076 w 1720704"/>
                  <a:gd name="connsiteY2" fmla="*/ 434341 h 4201309"/>
                  <a:gd name="connsiteX3" fmla="*/ 1720704 w 1720704"/>
                  <a:gd name="connsiteY3" fmla="*/ 4201309 h 4201309"/>
                  <a:gd name="connsiteX4" fmla="*/ 1518326 w 1720704"/>
                  <a:gd name="connsiteY4" fmla="*/ 4201309 h 4201309"/>
                  <a:gd name="connsiteX5" fmla="*/ 0 w 1720704"/>
                  <a:gd name="connsiteY5" fmla="*/ 4200067 h 4201309"/>
                  <a:gd name="connsiteX0" fmla="*/ 212558 w 1720704"/>
                  <a:gd name="connsiteY0" fmla="*/ 0 h 4205294"/>
                  <a:gd name="connsiteX1" fmla="*/ 1246205 w 1720704"/>
                  <a:gd name="connsiteY1" fmla="*/ 636 h 4205294"/>
                  <a:gd name="connsiteX2" fmla="*/ 1700076 w 1720704"/>
                  <a:gd name="connsiteY2" fmla="*/ 434341 h 4205294"/>
                  <a:gd name="connsiteX3" fmla="*/ 1720704 w 1720704"/>
                  <a:gd name="connsiteY3" fmla="*/ 4201309 h 4205294"/>
                  <a:gd name="connsiteX4" fmla="*/ 1518326 w 1720704"/>
                  <a:gd name="connsiteY4" fmla="*/ 4201309 h 4205294"/>
                  <a:gd name="connsiteX5" fmla="*/ 217694 w 1720704"/>
                  <a:gd name="connsiteY5" fmla="*/ 4205294 h 4205294"/>
                  <a:gd name="connsiteX6" fmla="*/ 0 w 1720704"/>
                  <a:gd name="connsiteY6" fmla="*/ 4200067 h 4205294"/>
                  <a:gd name="connsiteX0" fmla="*/ 0 w 1508146"/>
                  <a:gd name="connsiteY0" fmla="*/ 0 h 4205294"/>
                  <a:gd name="connsiteX1" fmla="*/ 1033647 w 1508146"/>
                  <a:gd name="connsiteY1" fmla="*/ 636 h 4205294"/>
                  <a:gd name="connsiteX2" fmla="*/ 1487518 w 1508146"/>
                  <a:gd name="connsiteY2" fmla="*/ 434341 h 4205294"/>
                  <a:gd name="connsiteX3" fmla="*/ 1508146 w 1508146"/>
                  <a:gd name="connsiteY3" fmla="*/ 4201309 h 4205294"/>
                  <a:gd name="connsiteX4" fmla="*/ 1305768 w 1508146"/>
                  <a:gd name="connsiteY4" fmla="*/ 4201309 h 4205294"/>
                  <a:gd name="connsiteX5" fmla="*/ 5136 w 1508146"/>
                  <a:gd name="connsiteY5" fmla="*/ 4205294 h 4205294"/>
                  <a:gd name="connsiteX0" fmla="*/ 0 w 1508146"/>
                  <a:gd name="connsiteY0" fmla="*/ 0 h 4205294"/>
                  <a:gd name="connsiteX1" fmla="*/ 1033647 w 1508146"/>
                  <a:gd name="connsiteY1" fmla="*/ 636 h 4205294"/>
                  <a:gd name="connsiteX2" fmla="*/ 1487518 w 1508146"/>
                  <a:gd name="connsiteY2" fmla="*/ 434341 h 4205294"/>
                  <a:gd name="connsiteX3" fmla="*/ 1508146 w 1508146"/>
                  <a:gd name="connsiteY3" fmla="*/ 4201309 h 4205294"/>
                  <a:gd name="connsiteX4" fmla="*/ 1424134 w 1508146"/>
                  <a:gd name="connsiteY4" fmla="*/ 4202255 h 4205294"/>
                  <a:gd name="connsiteX5" fmla="*/ 1305768 w 1508146"/>
                  <a:gd name="connsiteY5" fmla="*/ 4201309 h 4205294"/>
                  <a:gd name="connsiteX6" fmla="*/ 5136 w 1508146"/>
                  <a:gd name="connsiteY6" fmla="*/ 4205294 h 4205294"/>
                  <a:gd name="connsiteX0" fmla="*/ 0 w 1509361"/>
                  <a:gd name="connsiteY0" fmla="*/ 0 h 4205294"/>
                  <a:gd name="connsiteX1" fmla="*/ 1033647 w 1509361"/>
                  <a:gd name="connsiteY1" fmla="*/ 636 h 4205294"/>
                  <a:gd name="connsiteX2" fmla="*/ 1487518 w 1509361"/>
                  <a:gd name="connsiteY2" fmla="*/ 434341 h 4205294"/>
                  <a:gd name="connsiteX3" fmla="*/ 1424134 w 1509361"/>
                  <a:gd name="connsiteY3" fmla="*/ 4202255 h 4205294"/>
                  <a:gd name="connsiteX4" fmla="*/ 1305768 w 1509361"/>
                  <a:gd name="connsiteY4" fmla="*/ 4201309 h 4205294"/>
                  <a:gd name="connsiteX5" fmla="*/ 5136 w 1509361"/>
                  <a:gd name="connsiteY5" fmla="*/ 4205294 h 4205294"/>
                  <a:gd name="connsiteX0" fmla="*/ 0 w 1509361"/>
                  <a:gd name="connsiteY0" fmla="*/ 0 h 4205294"/>
                  <a:gd name="connsiteX1" fmla="*/ 1033647 w 1509361"/>
                  <a:gd name="connsiteY1" fmla="*/ 636 h 4205294"/>
                  <a:gd name="connsiteX2" fmla="*/ 1422915 w 1509361"/>
                  <a:gd name="connsiteY2" fmla="*/ 376572 h 4205294"/>
                  <a:gd name="connsiteX3" fmla="*/ 1487518 w 1509361"/>
                  <a:gd name="connsiteY3" fmla="*/ 434341 h 4205294"/>
                  <a:gd name="connsiteX4" fmla="*/ 1424134 w 1509361"/>
                  <a:gd name="connsiteY4" fmla="*/ 4202255 h 4205294"/>
                  <a:gd name="connsiteX5" fmla="*/ 1305768 w 1509361"/>
                  <a:gd name="connsiteY5" fmla="*/ 4201309 h 4205294"/>
                  <a:gd name="connsiteX6" fmla="*/ 5136 w 1509361"/>
                  <a:gd name="connsiteY6" fmla="*/ 4205294 h 4205294"/>
                  <a:gd name="connsiteX0" fmla="*/ 0 w 1457094"/>
                  <a:gd name="connsiteY0" fmla="*/ 50479 h 4255773"/>
                  <a:gd name="connsiteX1" fmla="*/ 1033647 w 1457094"/>
                  <a:gd name="connsiteY1" fmla="*/ 51115 h 4255773"/>
                  <a:gd name="connsiteX2" fmla="*/ 1422915 w 1457094"/>
                  <a:gd name="connsiteY2" fmla="*/ 427051 h 4255773"/>
                  <a:gd name="connsiteX3" fmla="*/ 1424134 w 1457094"/>
                  <a:gd name="connsiteY3" fmla="*/ 4252734 h 4255773"/>
                  <a:gd name="connsiteX4" fmla="*/ 1305768 w 1457094"/>
                  <a:gd name="connsiteY4" fmla="*/ 4251788 h 4255773"/>
                  <a:gd name="connsiteX5" fmla="*/ 5136 w 1457094"/>
                  <a:gd name="connsiteY5" fmla="*/ 4255773 h 4255773"/>
                  <a:gd name="connsiteX0" fmla="*/ 0 w 1432100"/>
                  <a:gd name="connsiteY0" fmla="*/ 50479 h 4255773"/>
                  <a:gd name="connsiteX1" fmla="*/ 1033647 w 1432100"/>
                  <a:gd name="connsiteY1" fmla="*/ 51115 h 4255773"/>
                  <a:gd name="connsiteX2" fmla="*/ 1422915 w 1432100"/>
                  <a:gd name="connsiteY2" fmla="*/ 427051 h 4255773"/>
                  <a:gd name="connsiteX3" fmla="*/ 1424134 w 1432100"/>
                  <a:gd name="connsiteY3" fmla="*/ 4252734 h 4255773"/>
                  <a:gd name="connsiteX4" fmla="*/ 1305768 w 1432100"/>
                  <a:gd name="connsiteY4" fmla="*/ 4251788 h 4255773"/>
                  <a:gd name="connsiteX5" fmla="*/ 5136 w 1432100"/>
                  <a:gd name="connsiteY5" fmla="*/ 4255773 h 4255773"/>
                  <a:gd name="connsiteX0" fmla="*/ 0 w 1434720"/>
                  <a:gd name="connsiteY0" fmla="*/ 50479 h 4255773"/>
                  <a:gd name="connsiteX1" fmla="*/ 1033647 w 1434720"/>
                  <a:gd name="connsiteY1" fmla="*/ 51115 h 4255773"/>
                  <a:gd name="connsiteX2" fmla="*/ 1422915 w 1434720"/>
                  <a:gd name="connsiteY2" fmla="*/ 427051 h 4255773"/>
                  <a:gd name="connsiteX3" fmla="*/ 1424134 w 1434720"/>
                  <a:gd name="connsiteY3" fmla="*/ 4252734 h 4255773"/>
                  <a:gd name="connsiteX4" fmla="*/ 1305768 w 1434720"/>
                  <a:gd name="connsiteY4" fmla="*/ 4251788 h 4255773"/>
                  <a:gd name="connsiteX5" fmla="*/ 5136 w 1434720"/>
                  <a:gd name="connsiteY5" fmla="*/ 4255773 h 4255773"/>
                  <a:gd name="connsiteX0" fmla="*/ 0 w 1432860"/>
                  <a:gd name="connsiteY0" fmla="*/ 50479 h 4255773"/>
                  <a:gd name="connsiteX1" fmla="*/ 1033647 w 1432860"/>
                  <a:gd name="connsiteY1" fmla="*/ 51115 h 4255773"/>
                  <a:gd name="connsiteX2" fmla="*/ 1422915 w 1432860"/>
                  <a:gd name="connsiteY2" fmla="*/ 427051 h 4255773"/>
                  <a:gd name="connsiteX3" fmla="*/ 1424134 w 1432860"/>
                  <a:gd name="connsiteY3" fmla="*/ 4252734 h 4255773"/>
                  <a:gd name="connsiteX4" fmla="*/ 1305768 w 1432860"/>
                  <a:gd name="connsiteY4" fmla="*/ 4251788 h 4255773"/>
                  <a:gd name="connsiteX5" fmla="*/ 5136 w 1432860"/>
                  <a:gd name="connsiteY5" fmla="*/ 4255773 h 4255773"/>
                  <a:gd name="connsiteX0" fmla="*/ 0 w 1424727"/>
                  <a:gd name="connsiteY0" fmla="*/ 50479 h 4255773"/>
                  <a:gd name="connsiteX1" fmla="*/ 1033647 w 1424727"/>
                  <a:gd name="connsiteY1" fmla="*/ 51115 h 4255773"/>
                  <a:gd name="connsiteX2" fmla="*/ 1422915 w 1424727"/>
                  <a:gd name="connsiteY2" fmla="*/ 427051 h 4255773"/>
                  <a:gd name="connsiteX3" fmla="*/ 1424134 w 1424727"/>
                  <a:gd name="connsiteY3" fmla="*/ 4252734 h 4255773"/>
                  <a:gd name="connsiteX4" fmla="*/ 1305768 w 1424727"/>
                  <a:gd name="connsiteY4" fmla="*/ 4251788 h 4255773"/>
                  <a:gd name="connsiteX5" fmla="*/ 5136 w 1424727"/>
                  <a:gd name="connsiteY5" fmla="*/ 4255773 h 4255773"/>
                  <a:gd name="connsiteX0" fmla="*/ 0 w 1424727"/>
                  <a:gd name="connsiteY0" fmla="*/ 0 h 4205294"/>
                  <a:gd name="connsiteX1" fmla="*/ 1033647 w 1424727"/>
                  <a:gd name="connsiteY1" fmla="*/ 636 h 4205294"/>
                  <a:gd name="connsiteX2" fmla="*/ 1422915 w 1424727"/>
                  <a:gd name="connsiteY2" fmla="*/ 376572 h 4205294"/>
                  <a:gd name="connsiteX3" fmla="*/ 1424134 w 1424727"/>
                  <a:gd name="connsiteY3" fmla="*/ 4202255 h 4205294"/>
                  <a:gd name="connsiteX4" fmla="*/ 1305768 w 1424727"/>
                  <a:gd name="connsiteY4" fmla="*/ 4201309 h 4205294"/>
                  <a:gd name="connsiteX5" fmla="*/ 5136 w 1424727"/>
                  <a:gd name="connsiteY5" fmla="*/ 4205294 h 4205294"/>
                  <a:gd name="connsiteX0" fmla="*/ 0 w 1424727"/>
                  <a:gd name="connsiteY0" fmla="*/ 0 h 4205294"/>
                  <a:gd name="connsiteX1" fmla="*/ 1033647 w 1424727"/>
                  <a:gd name="connsiteY1" fmla="*/ 636 h 4205294"/>
                  <a:gd name="connsiteX2" fmla="*/ 1422915 w 1424727"/>
                  <a:gd name="connsiteY2" fmla="*/ 376572 h 4205294"/>
                  <a:gd name="connsiteX3" fmla="*/ 1424134 w 1424727"/>
                  <a:gd name="connsiteY3" fmla="*/ 4202255 h 4205294"/>
                  <a:gd name="connsiteX4" fmla="*/ 1305768 w 1424727"/>
                  <a:gd name="connsiteY4" fmla="*/ 4201309 h 4205294"/>
                  <a:gd name="connsiteX5" fmla="*/ 5136 w 1424727"/>
                  <a:gd name="connsiteY5" fmla="*/ 4205294 h 4205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4727" h="4205294">
                    <a:moveTo>
                      <a:pt x="0" y="0"/>
                    </a:moveTo>
                    <a:lnTo>
                      <a:pt x="1033647" y="636"/>
                    </a:lnTo>
                    <a:cubicBezTo>
                      <a:pt x="1263479" y="213500"/>
                      <a:pt x="1167521" y="115063"/>
                      <a:pt x="1422915" y="376572"/>
                    </a:cubicBezTo>
                    <a:cubicBezTo>
                      <a:pt x="1424558" y="1178834"/>
                      <a:pt x="1425359" y="3578270"/>
                      <a:pt x="1424134" y="4202255"/>
                    </a:cubicBezTo>
                    <a:lnTo>
                      <a:pt x="1305768" y="4201309"/>
                    </a:lnTo>
                    <a:lnTo>
                      <a:pt x="5136" y="4205294"/>
                    </a:lnTo>
                  </a:path>
                </a:pathLst>
              </a:custGeom>
              <a:noFill/>
              <a:ln w="9525" cap="sq">
                <a:solidFill>
                  <a:schemeClr val="bg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FontTx/>
                  <a:buNone/>
                </a:pPr>
                <a:endParaRPr lang="en-US" dirty="0"/>
              </a:p>
            </p:txBody>
          </p:sp>
        </p:grpSp>
        <p:cxnSp>
          <p:nvCxnSpPr>
            <p:cNvPr id="298" name="Straight Connector 297">
              <a:extLst>
                <a:ext uri="{FF2B5EF4-FFF2-40B4-BE49-F238E27FC236}">
                  <a16:creationId xmlns:a16="http://schemas.microsoft.com/office/drawing/2014/main" id="{D10D6B42-A417-8FFD-63BE-102F2A786A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07131" y="5585531"/>
              <a:ext cx="0" cy="181971"/>
            </a:xfrm>
            <a:prstGeom prst="line">
              <a:avLst/>
            </a:prstGeom>
            <a:ln w="9525" cap="sq">
              <a:solidFill>
                <a:schemeClr val="bg2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848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icture Placeholder 108">
            <a:extLst>
              <a:ext uri="{FF2B5EF4-FFF2-40B4-BE49-F238E27FC236}">
                <a16:creationId xmlns:a16="http://schemas.microsoft.com/office/drawing/2014/main" id="{8A5C2643-7BA8-5DEF-43AB-3AEC806D621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-9525" y="111125"/>
            <a:ext cx="5797296" cy="6746875"/>
          </a:xfrm>
          <a:custGeom>
            <a:avLst/>
            <a:gdLst>
              <a:gd name="connsiteX0" fmla="*/ 0 w 5803554"/>
              <a:gd name="connsiteY0" fmla="*/ 0 h 6746875"/>
              <a:gd name="connsiteX1" fmla="*/ 5803554 w 5803554"/>
              <a:gd name="connsiteY1" fmla="*/ 0 h 6746875"/>
              <a:gd name="connsiteX2" fmla="*/ 5803554 w 5803554"/>
              <a:gd name="connsiteY2" fmla="*/ 6746875 h 6746875"/>
              <a:gd name="connsiteX3" fmla="*/ 0 w 5803554"/>
              <a:gd name="connsiteY3" fmla="*/ 6746875 h 6746875"/>
              <a:gd name="connsiteX4" fmla="*/ 0 w 5803554"/>
              <a:gd name="connsiteY4" fmla="*/ 0 h 6746875"/>
              <a:gd name="connsiteX0" fmla="*/ 0 w 5803554"/>
              <a:gd name="connsiteY0" fmla="*/ 0 h 6746875"/>
              <a:gd name="connsiteX1" fmla="*/ 5227220 w 5803554"/>
              <a:gd name="connsiteY1" fmla="*/ 1170 h 6746875"/>
              <a:gd name="connsiteX2" fmla="*/ 5803554 w 5803554"/>
              <a:gd name="connsiteY2" fmla="*/ 0 h 6746875"/>
              <a:gd name="connsiteX3" fmla="*/ 5803554 w 5803554"/>
              <a:gd name="connsiteY3" fmla="*/ 6746875 h 6746875"/>
              <a:gd name="connsiteX4" fmla="*/ 0 w 5803554"/>
              <a:gd name="connsiteY4" fmla="*/ 6746875 h 6746875"/>
              <a:gd name="connsiteX5" fmla="*/ 0 w 5803554"/>
              <a:gd name="connsiteY5" fmla="*/ 0 h 6746875"/>
              <a:gd name="connsiteX0" fmla="*/ 0 w 5803554"/>
              <a:gd name="connsiteY0" fmla="*/ 0 h 6746875"/>
              <a:gd name="connsiteX1" fmla="*/ 5227220 w 5803554"/>
              <a:gd name="connsiteY1" fmla="*/ 1170 h 6746875"/>
              <a:gd name="connsiteX2" fmla="*/ 5803554 w 5803554"/>
              <a:gd name="connsiteY2" fmla="*/ 0 h 6746875"/>
              <a:gd name="connsiteX3" fmla="*/ 5796714 w 5803554"/>
              <a:gd name="connsiteY3" fmla="*/ 334043 h 6746875"/>
              <a:gd name="connsiteX4" fmla="*/ 5803554 w 5803554"/>
              <a:gd name="connsiteY4" fmla="*/ 6746875 h 6746875"/>
              <a:gd name="connsiteX5" fmla="*/ 0 w 5803554"/>
              <a:gd name="connsiteY5" fmla="*/ 6746875 h 6746875"/>
              <a:gd name="connsiteX6" fmla="*/ 0 w 5803554"/>
              <a:gd name="connsiteY6" fmla="*/ 0 h 6746875"/>
              <a:gd name="connsiteX0" fmla="*/ 0 w 5803554"/>
              <a:gd name="connsiteY0" fmla="*/ 0 h 6746875"/>
              <a:gd name="connsiteX1" fmla="*/ 5227220 w 5803554"/>
              <a:gd name="connsiteY1" fmla="*/ 1170 h 6746875"/>
              <a:gd name="connsiteX2" fmla="*/ 5796714 w 5803554"/>
              <a:gd name="connsiteY2" fmla="*/ 334043 h 6746875"/>
              <a:gd name="connsiteX3" fmla="*/ 5803554 w 5803554"/>
              <a:gd name="connsiteY3" fmla="*/ 6746875 h 6746875"/>
              <a:gd name="connsiteX4" fmla="*/ 0 w 5803554"/>
              <a:gd name="connsiteY4" fmla="*/ 6746875 h 6746875"/>
              <a:gd name="connsiteX5" fmla="*/ 0 w 5803554"/>
              <a:gd name="connsiteY5" fmla="*/ 0 h 6746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03554" h="6746875">
                <a:moveTo>
                  <a:pt x="0" y="0"/>
                </a:moveTo>
                <a:lnTo>
                  <a:pt x="5227220" y="1170"/>
                </a:lnTo>
                <a:lnTo>
                  <a:pt x="5796714" y="334043"/>
                </a:lnTo>
                <a:lnTo>
                  <a:pt x="5803554" y="6746875"/>
                </a:lnTo>
                <a:lnTo>
                  <a:pt x="0" y="6746875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9345" y="4773308"/>
            <a:ext cx="3560922" cy="1107295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  <a:gd name="connsiteX0" fmla="*/ 0 w 3653537"/>
              <a:gd name="connsiteY0" fmla="*/ 1249154 h 1249946"/>
              <a:gd name="connsiteX1" fmla="*/ 3934 w 3653537"/>
              <a:gd name="connsiteY1" fmla="*/ 1677 h 1249946"/>
              <a:gd name="connsiteX2" fmla="*/ 2601911 w 3653537"/>
              <a:gd name="connsiteY2" fmla="*/ 0 h 1249946"/>
              <a:gd name="connsiteX3" fmla="*/ 3150718 w 3653537"/>
              <a:gd name="connsiteY3" fmla="*/ 266682 h 1249946"/>
              <a:gd name="connsiteX4" fmla="*/ 3653537 w 3653537"/>
              <a:gd name="connsiteY4" fmla="*/ 269460 h 1249946"/>
              <a:gd name="connsiteX5" fmla="*/ 3066332 w 3653537"/>
              <a:gd name="connsiteY5" fmla="*/ 1249946 h 1249946"/>
              <a:gd name="connsiteX6" fmla="*/ 0 w 3653537"/>
              <a:gd name="connsiteY6" fmla="*/ 1249154 h 1249946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178092 w 3653537"/>
              <a:gd name="connsiteY5" fmla="*/ 1244866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259372 w 3653537"/>
              <a:gd name="connsiteY5" fmla="*/ 1239786 h 1249154"/>
              <a:gd name="connsiteX6" fmla="*/ 0 w 3653537"/>
              <a:gd name="connsiteY6" fmla="*/ 1249154 h 1249154"/>
              <a:gd name="connsiteX0" fmla="*/ 0 w 3653537"/>
              <a:gd name="connsiteY0" fmla="*/ 1249154 h 1249311"/>
              <a:gd name="connsiteX1" fmla="*/ 3934 w 3653537"/>
              <a:gd name="connsiteY1" fmla="*/ 1677 h 1249311"/>
              <a:gd name="connsiteX2" fmla="*/ 2601911 w 3653537"/>
              <a:gd name="connsiteY2" fmla="*/ 0 h 1249311"/>
              <a:gd name="connsiteX3" fmla="*/ 3150718 w 3653537"/>
              <a:gd name="connsiteY3" fmla="*/ 266682 h 1249311"/>
              <a:gd name="connsiteX4" fmla="*/ 3653537 w 3653537"/>
              <a:gd name="connsiteY4" fmla="*/ 269460 h 1249311"/>
              <a:gd name="connsiteX5" fmla="*/ 3549884 w 3653537"/>
              <a:gd name="connsiteY5" fmla="*/ 1249311 h 1249311"/>
              <a:gd name="connsiteX6" fmla="*/ 0 w 3653537"/>
              <a:gd name="connsiteY6" fmla="*/ 1249154 h 1249311"/>
              <a:gd name="connsiteX0" fmla="*/ 0 w 3553525"/>
              <a:gd name="connsiteY0" fmla="*/ 1249154 h 1249311"/>
              <a:gd name="connsiteX1" fmla="*/ 3934 w 3553525"/>
              <a:gd name="connsiteY1" fmla="*/ 1677 h 1249311"/>
              <a:gd name="connsiteX2" fmla="*/ 2601911 w 3553525"/>
              <a:gd name="connsiteY2" fmla="*/ 0 h 1249311"/>
              <a:gd name="connsiteX3" fmla="*/ 3150718 w 3553525"/>
              <a:gd name="connsiteY3" fmla="*/ 266682 h 1249311"/>
              <a:gd name="connsiteX4" fmla="*/ 3553525 w 3553525"/>
              <a:gd name="connsiteY4" fmla="*/ 264698 h 1249311"/>
              <a:gd name="connsiteX5" fmla="*/ 3549884 w 3553525"/>
              <a:gd name="connsiteY5" fmla="*/ 1249311 h 1249311"/>
              <a:gd name="connsiteX6" fmla="*/ 0 w 3553525"/>
              <a:gd name="connsiteY6" fmla="*/ 1249154 h 1249311"/>
              <a:gd name="connsiteX0" fmla="*/ 0 w 3553525"/>
              <a:gd name="connsiteY0" fmla="*/ 1249154 h 1249311"/>
              <a:gd name="connsiteX1" fmla="*/ 3934 w 3553525"/>
              <a:gd name="connsiteY1" fmla="*/ 1677 h 1249311"/>
              <a:gd name="connsiteX2" fmla="*/ 2601911 w 3553525"/>
              <a:gd name="connsiteY2" fmla="*/ 0 h 1249311"/>
              <a:gd name="connsiteX3" fmla="*/ 3150718 w 3553525"/>
              <a:gd name="connsiteY3" fmla="*/ 266682 h 1249311"/>
              <a:gd name="connsiteX4" fmla="*/ 3553525 w 3553525"/>
              <a:gd name="connsiteY4" fmla="*/ 278985 h 1249311"/>
              <a:gd name="connsiteX5" fmla="*/ 3549884 w 3553525"/>
              <a:gd name="connsiteY5" fmla="*/ 1249311 h 1249311"/>
              <a:gd name="connsiteX6" fmla="*/ 0 w 3553525"/>
              <a:gd name="connsiteY6" fmla="*/ 1249154 h 1249311"/>
              <a:gd name="connsiteX0" fmla="*/ 0 w 3553525"/>
              <a:gd name="connsiteY0" fmla="*/ 1249154 h 1249311"/>
              <a:gd name="connsiteX1" fmla="*/ 3934 w 3553525"/>
              <a:gd name="connsiteY1" fmla="*/ 1677 h 1249311"/>
              <a:gd name="connsiteX2" fmla="*/ 2601911 w 3553525"/>
              <a:gd name="connsiteY2" fmla="*/ 0 h 1249311"/>
              <a:gd name="connsiteX3" fmla="*/ 3150718 w 3553525"/>
              <a:gd name="connsiteY3" fmla="*/ 266682 h 1249311"/>
              <a:gd name="connsiteX4" fmla="*/ 3553525 w 3553525"/>
              <a:gd name="connsiteY4" fmla="*/ 274223 h 1249311"/>
              <a:gd name="connsiteX5" fmla="*/ 3549884 w 3553525"/>
              <a:gd name="connsiteY5" fmla="*/ 1249311 h 1249311"/>
              <a:gd name="connsiteX6" fmla="*/ 0 w 3553525"/>
              <a:gd name="connsiteY6" fmla="*/ 1249154 h 1249311"/>
              <a:gd name="connsiteX0" fmla="*/ 0 w 3553525"/>
              <a:gd name="connsiteY0" fmla="*/ 1249154 h 1249311"/>
              <a:gd name="connsiteX1" fmla="*/ 3934 w 3553525"/>
              <a:gd name="connsiteY1" fmla="*/ 1677 h 1249311"/>
              <a:gd name="connsiteX2" fmla="*/ 2854323 w 3553525"/>
              <a:gd name="connsiteY2" fmla="*/ 0 h 1249311"/>
              <a:gd name="connsiteX3" fmla="*/ 3150718 w 3553525"/>
              <a:gd name="connsiteY3" fmla="*/ 266682 h 1249311"/>
              <a:gd name="connsiteX4" fmla="*/ 3553525 w 3553525"/>
              <a:gd name="connsiteY4" fmla="*/ 274223 h 1249311"/>
              <a:gd name="connsiteX5" fmla="*/ 3549884 w 3553525"/>
              <a:gd name="connsiteY5" fmla="*/ 1249311 h 1249311"/>
              <a:gd name="connsiteX6" fmla="*/ 0 w 3553525"/>
              <a:gd name="connsiteY6" fmla="*/ 1249154 h 1249311"/>
              <a:gd name="connsiteX0" fmla="*/ 0 w 3553525"/>
              <a:gd name="connsiteY0" fmla="*/ 1249154 h 1249311"/>
              <a:gd name="connsiteX1" fmla="*/ 3934 w 3553525"/>
              <a:gd name="connsiteY1" fmla="*/ 1677 h 1249311"/>
              <a:gd name="connsiteX2" fmla="*/ 2854323 w 3553525"/>
              <a:gd name="connsiteY2" fmla="*/ 0 h 1249311"/>
              <a:gd name="connsiteX3" fmla="*/ 3188818 w 3553525"/>
              <a:gd name="connsiteY3" fmla="*/ 271444 h 1249311"/>
              <a:gd name="connsiteX4" fmla="*/ 3553525 w 3553525"/>
              <a:gd name="connsiteY4" fmla="*/ 274223 h 1249311"/>
              <a:gd name="connsiteX5" fmla="*/ 3549884 w 3553525"/>
              <a:gd name="connsiteY5" fmla="*/ 1249311 h 1249311"/>
              <a:gd name="connsiteX6" fmla="*/ 0 w 3553525"/>
              <a:gd name="connsiteY6" fmla="*/ 1249154 h 1249311"/>
              <a:gd name="connsiteX0" fmla="*/ 5733 w 3559258"/>
              <a:gd name="connsiteY0" fmla="*/ 1249154 h 1249311"/>
              <a:gd name="connsiteX1" fmla="*/ 142 w 3559258"/>
              <a:gd name="connsiteY1" fmla="*/ 1677 h 1249311"/>
              <a:gd name="connsiteX2" fmla="*/ 2860056 w 3559258"/>
              <a:gd name="connsiteY2" fmla="*/ 0 h 1249311"/>
              <a:gd name="connsiteX3" fmla="*/ 3194551 w 3559258"/>
              <a:gd name="connsiteY3" fmla="*/ 271444 h 1249311"/>
              <a:gd name="connsiteX4" fmla="*/ 3559258 w 3559258"/>
              <a:gd name="connsiteY4" fmla="*/ 274223 h 1249311"/>
              <a:gd name="connsiteX5" fmla="*/ 3555617 w 3559258"/>
              <a:gd name="connsiteY5" fmla="*/ 1249311 h 1249311"/>
              <a:gd name="connsiteX6" fmla="*/ 5733 w 3559258"/>
              <a:gd name="connsiteY6" fmla="*/ 1249154 h 1249311"/>
              <a:gd name="connsiteX0" fmla="*/ 5733 w 3559258"/>
              <a:gd name="connsiteY0" fmla="*/ 1249154 h 1249311"/>
              <a:gd name="connsiteX1" fmla="*/ 142 w 3559258"/>
              <a:gd name="connsiteY1" fmla="*/ 1677 h 1249311"/>
              <a:gd name="connsiteX2" fmla="*/ 2860056 w 3559258"/>
              <a:gd name="connsiteY2" fmla="*/ 0 h 1249311"/>
              <a:gd name="connsiteX3" fmla="*/ 3194551 w 3559258"/>
              <a:gd name="connsiteY3" fmla="*/ 271444 h 1249311"/>
              <a:gd name="connsiteX4" fmla="*/ 3559258 w 3559258"/>
              <a:gd name="connsiteY4" fmla="*/ 274223 h 1249311"/>
              <a:gd name="connsiteX5" fmla="*/ 3555617 w 3559258"/>
              <a:gd name="connsiteY5" fmla="*/ 1249311 h 1249311"/>
              <a:gd name="connsiteX6" fmla="*/ 5733 w 3559258"/>
              <a:gd name="connsiteY6" fmla="*/ 1249154 h 1249311"/>
              <a:gd name="connsiteX0" fmla="*/ 5733 w 3559258"/>
              <a:gd name="connsiteY0" fmla="*/ 1249154 h 1249311"/>
              <a:gd name="connsiteX1" fmla="*/ 142 w 3559258"/>
              <a:gd name="connsiteY1" fmla="*/ 1677 h 1249311"/>
              <a:gd name="connsiteX2" fmla="*/ 2860056 w 3559258"/>
              <a:gd name="connsiteY2" fmla="*/ 0 h 1249311"/>
              <a:gd name="connsiteX3" fmla="*/ 3194551 w 3559258"/>
              <a:gd name="connsiteY3" fmla="*/ 271444 h 1249311"/>
              <a:gd name="connsiteX4" fmla="*/ 3559258 w 3559258"/>
              <a:gd name="connsiteY4" fmla="*/ 274223 h 1249311"/>
              <a:gd name="connsiteX5" fmla="*/ 3555617 w 3559258"/>
              <a:gd name="connsiteY5" fmla="*/ 1249311 h 1249311"/>
              <a:gd name="connsiteX6" fmla="*/ 5733 w 3559258"/>
              <a:gd name="connsiteY6" fmla="*/ 1249154 h 1249311"/>
              <a:gd name="connsiteX0" fmla="*/ 5733 w 3559258"/>
              <a:gd name="connsiteY0" fmla="*/ 1249154 h 1249311"/>
              <a:gd name="connsiteX1" fmla="*/ 142 w 3559258"/>
              <a:gd name="connsiteY1" fmla="*/ 1677 h 1249311"/>
              <a:gd name="connsiteX2" fmla="*/ 2860056 w 3559258"/>
              <a:gd name="connsiteY2" fmla="*/ 0 h 1249311"/>
              <a:gd name="connsiteX3" fmla="*/ 3194551 w 3559258"/>
              <a:gd name="connsiteY3" fmla="*/ 271444 h 1249311"/>
              <a:gd name="connsiteX4" fmla="*/ 3559258 w 3559258"/>
              <a:gd name="connsiteY4" fmla="*/ 274223 h 1249311"/>
              <a:gd name="connsiteX5" fmla="*/ 3555617 w 3559258"/>
              <a:gd name="connsiteY5" fmla="*/ 1249311 h 1249311"/>
              <a:gd name="connsiteX6" fmla="*/ 5733 w 3559258"/>
              <a:gd name="connsiteY6" fmla="*/ 1249154 h 1249311"/>
              <a:gd name="connsiteX0" fmla="*/ 5733 w 3559258"/>
              <a:gd name="connsiteY0" fmla="*/ 1249154 h 1249311"/>
              <a:gd name="connsiteX1" fmla="*/ 142 w 3559258"/>
              <a:gd name="connsiteY1" fmla="*/ 1677 h 1249311"/>
              <a:gd name="connsiteX2" fmla="*/ 2860056 w 3559258"/>
              <a:gd name="connsiteY2" fmla="*/ 0 h 1249311"/>
              <a:gd name="connsiteX3" fmla="*/ 3009594 w 3559258"/>
              <a:gd name="connsiteY3" fmla="*/ 123057 h 1249311"/>
              <a:gd name="connsiteX4" fmla="*/ 3194551 w 3559258"/>
              <a:gd name="connsiteY4" fmla="*/ 271444 h 1249311"/>
              <a:gd name="connsiteX5" fmla="*/ 3559258 w 3559258"/>
              <a:gd name="connsiteY5" fmla="*/ 274223 h 1249311"/>
              <a:gd name="connsiteX6" fmla="*/ 3555617 w 3559258"/>
              <a:gd name="connsiteY6" fmla="*/ 1249311 h 1249311"/>
              <a:gd name="connsiteX7" fmla="*/ 5733 w 3559258"/>
              <a:gd name="connsiteY7" fmla="*/ 1249154 h 1249311"/>
              <a:gd name="connsiteX0" fmla="*/ 5733 w 3559258"/>
              <a:gd name="connsiteY0" fmla="*/ 1247477 h 1247634"/>
              <a:gd name="connsiteX1" fmla="*/ 142 w 3559258"/>
              <a:gd name="connsiteY1" fmla="*/ 0 h 1247634"/>
              <a:gd name="connsiteX2" fmla="*/ 3009594 w 3559258"/>
              <a:gd name="connsiteY2" fmla="*/ 121380 h 1247634"/>
              <a:gd name="connsiteX3" fmla="*/ 3194551 w 3559258"/>
              <a:gd name="connsiteY3" fmla="*/ 269767 h 1247634"/>
              <a:gd name="connsiteX4" fmla="*/ 3559258 w 3559258"/>
              <a:gd name="connsiteY4" fmla="*/ 272546 h 1247634"/>
              <a:gd name="connsiteX5" fmla="*/ 3555617 w 3559258"/>
              <a:gd name="connsiteY5" fmla="*/ 1247634 h 1247634"/>
              <a:gd name="connsiteX6" fmla="*/ 5733 w 3559258"/>
              <a:gd name="connsiteY6" fmla="*/ 1247477 h 1247634"/>
              <a:gd name="connsiteX0" fmla="*/ 265934 w 3819459"/>
              <a:gd name="connsiteY0" fmla="*/ 1255838 h 1255995"/>
              <a:gd name="connsiteX1" fmla="*/ 256431 w 3819459"/>
              <a:gd name="connsiteY1" fmla="*/ 150521 h 1255995"/>
              <a:gd name="connsiteX2" fmla="*/ 260343 w 3819459"/>
              <a:gd name="connsiteY2" fmla="*/ 8361 h 1255995"/>
              <a:gd name="connsiteX3" fmla="*/ 3269795 w 3819459"/>
              <a:gd name="connsiteY3" fmla="*/ 129741 h 1255995"/>
              <a:gd name="connsiteX4" fmla="*/ 3454752 w 3819459"/>
              <a:gd name="connsiteY4" fmla="*/ 278128 h 1255995"/>
              <a:gd name="connsiteX5" fmla="*/ 3819459 w 3819459"/>
              <a:gd name="connsiteY5" fmla="*/ 280907 h 1255995"/>
              <a:gd name="connsiteX6" fmla="*/ 3815818 w 3819459"/>
              <a:gd name="connsiteY6" fmla="*/ 1255995 h 1255995"/>
              <a:gd name="connsiteX7" fmla="*/ 265934 w 3819459"/>
              <a:gd name="connsiteY7" fmla="*/ 1255838 h 1255995"/>
              <a:gd name="connsiteX0" fmla="*/ 415417 w 3968942"/>
              <a:gd name="connsiteY0" fmla="*/ 1199998 h 1200155"/>
              <a:gd name="connsiteX1" fmla="*/ 405914 w 3968942"/>
              <a:gd name="connsiteY1" fmla="*/ 94681 h 1200155"/>
              <a:gd name="connsiteX2" fmla="*/ 3419278 w 3968942"/>
              <a:gd name="connsiteY2" fmla="*/ 73901 h 1200155"/>
              <a:gd name="connsiteX3" fmla="*/ 3604235 w 3968942"/>
              <a:gd name="connsiteY3" fmla="*/ 222288 h 1200155"/>
              <a:gd name="connsiteX4" fmla="*/ 3968942 w 3968942"/>
              <a:gd name="connsiteY4" fmla="*/ 225067 h 1200155"/>
              <a:gd name="connsiteX5" fmla="*/ 3965301 w 3968942"/>
              <a:gd name="connsiteY5" fmla="*/ 1200155 h 1200155"/>
              <a:gd name="connsiteX6" fmla="*/ 415417 w 3968942"/>
              <a:gd name="connsiteY6" fmla="*/ 1199998 h 1200155"/>
              <a:gd name="connsiteX0" fmla="*/ 232068 w 3785593"/>
              <a:gd name="connsiteY0" fmla="*/ 1199998 h 1200155"/>
              <a:gd name="connsiteX1" fmla="*/ 222565 w 3785593"/>
              <a:gd name="connsiteY1" fmla="*/ 94681 h 1200155"/>
              <a:gd name="connsiteX2" fmla="*/ 3235929 w 3785593"/>
              <a:gd name="connsiteY2" fmla="*/ 73901 h 1200155"/>
              <a:gd name="connsiteX3" fmla="*/ 3420886 w 3785593"/>
              <a:gd name="connsiteY3" fmla="*/ 222288 h 1200155"/>
              <a:gd name="connsiteX4" fmla="*/ 3785593 w 3785593"/>
              <a:gd name="connsiteY4" fmla="*/ 225067 h 1200155"/>
              <a:gd name="connsiteX5" fmla="*/ 3781952 w 3785593"/>
              <a:gd name="connsiteY5" fmla="*/ 1200155 h 1200155"/>
              <a:gd name="connsiteX6" fmla="*/ 232068 w 3785593"/>
              <a:gd name="connsiteY6" fmla="*/ 1199998 h 1200155"/>
              <a:gd name="connsiteX0" fmla="*/ 16560 w 3570085"/>
              <a:gd name="connsiteY0" fmla="*/ 1199998 h 1200155"/>
              <a:gd name="connsiteX1" fmla="*/ 7057 w 3570085"/>
              <a:gd name="connsiteY1" fmla="*/ 94681 h 1200155"/>
              <a:gd name="connsiteX2" fmla="*/ 3020421 w 3570085"/>
              <a:gd name="connsiteY2" fmla="*/ 73901 h 1200155"/>
              <a:gd name="connsiteX3" fmla="*/ 3205378 w 3570085"/>
              <a:gd name="connsiteY3" fmla="*/ 222288 h 1200155"/>
              <a:gd name="connsiteX4" fmla="*/ 3570085 w 3570085"/>
              <a:gd name="connsiteY4" fmla="*/ 225067 h 1200155"/>
              <a:gd name="connsiteX5" fmla="*/ 3566444 w 3570085"/>
              <a:gd name="connsiteY5" fmla="*/ 1200155 h 1200155"/>
              <a:gd name="connsiteX6" fmla="*/ 16560 w 3570085"/>
              <a:gd name="connsiteY6" fmla="*/ 1199998 h 1200155"/>
              <a:gd name="connsiteX0" fmla="*/ 16560 w 3570085"/>
              <a:gd name="connsiteY0" fmla="*/ 1133874 h 1134031"/>
              <a:gd name="connsiteX1" fmla="*/ 7057 w 3570085"/>
              <a:gd name="connsiteY1" fmla="*/ 28557 h 1134031"/>
              <a:gd name="connsiteX2" fmla="*/ 3020421 w 3570085"/>
              <a:gd name="connsiteY2" fmla="*/ 7777 h 1134031"/>
              <a:gd name="connsiteX3" fmla="*/ 3205378 w 3570085"/>
              <a:gd name="connsiteY3" fmla="*/ 156164 h 1134031"/>
              <a:gd name="connsiteX4" fmla="*/ 3570085 w 3570085"/>
              <a:gd name="connsiteY4" fmla="*/ 158943 h 1134031"/>
              <a:gd name="connsiteX5" fmla="*/ 3566444 w 3570085"/>
              <a:gd name="connsiteY5" fmla="*/ 1134031 h 1134031"/>
              <a:gd name="connsiteX6" fmla="*/ 16560 w 3570085"/>
              <a:gd name="connsiteY6" fmla="*/ 1133874 h 1134031"/>
              <a:gd name="connsiteX0" fmla="*/ 16560 w 3570085"/>
              <a:gd name="connsiteY0" fmla="*/ 1109331 h 1109488"/>
              <a:gd name="connsiteX1" fmla="*/ 7057 w 3570085"/>
              <a:gd name="connsiteY1" fmla="*/ 4014 h 1109488"/>
              <a:gd name="connsiteX2" fmla="*/ 3048130 w 3570085"/>
              <a:gd name="connsiteY2" fmla="*/ 38652 h 1109488"/>
              <a:gd name="connsiteX3" fmla="*/ 3205378 w 3570085"/>
              <a:gd name="connsiteY3" fmla="*/ 131621 h 1109488"/>
              <a:gd name="connsiteX4" fmla="*/ 3570085 w 3570085"/>
              <a:gd name="connsiteY4" fmla="*/ 134400 h 1109488"/>
              <a:gd name="connsiteX5" fmla="*/ 3566444 w 3570085"/>
              <a:gd name="connsiteY5" fmla="*/ 1109488 h 1109488"/>
              <a:gd name="connsiteX6" fmla="*/ 16560 w 3570085"/>
              <a:gd name="connsiteY6" fmla="*/ 1109331 h 1109488"/>
              <a:gd name="connsiteX0" fmla="*/ 16560 w 3570085"/>
              <a:gd name="connsiteY0" fmla="*/ 1107515 h 1107672"/>
              <a:gd name="connsiteX1" fmla="*/ 7057 w 3570085"/>
              <a:gd name="connsiteY1" fmla="*/ 2198 h 1107672"/>
              <a:gd name="connsiteX2" fmla="*/ 3048130 w 3570085"/>
              <a:gd name="connsiteY2" fmla="*/ 36836 h 1107672"/>
              <a:gd name="connsiteX3" fmla="*/ 3205378 w 3570085"/>
              <a:gd name="connsiteY3" fmla="*/ 129805 h 1107672"/>
              <a:gd name="connsiteX4" fmla="*/ 3570085 w 3570085"/>
              <a:gd name="connsiteY4" fmla="*/ 132584 h 1107672"/>
              <a:gd name="connsiteX5" fmla="*/ 3566444 w 3570085"/>
              <a:gd name="connsiteY5" fmla="*/ 1107672 h 1107672"/>
              <a:gd name="connsiteX6" fmla="*/ 16560 w 3570085"/>
              <a:gd name="connsiteY6" fmla="*/ 1107515 h 1107672"/>
              <a:gd name="connsiteX0" fmla="*/ 16560 w 3570085"/>
              <a:gd name="connsiteY0" fmla="*/ 1112243 h 1112400"/>
              <a:gd name="connsiteX1" fmla="*/ 7057 w 3570085"/>
              <a:gd name="connsiteY1" fmla="*/ 6926 h 1112400"/>
              <a:gd name="connsiteX2" fmla="*/ 2992712 w 3570085"/>
              <a:gd name="connsiteY2" fmla="*/ 0 h 1112400"/>
              <a:gd name="connsiteX3" fmla="*/ 3205378 w 3570085"/>
              <a:gd name="connsiteY3" fmla="*/ 134533 h 1112400"/>
              <a:gd name="connsiteX4" fmla="*/ 3570085 w 3570085"/>
              <a:gd name="connsiteY4" fmla="*/ 137312 h 1112400"/>
              <a:gd name="connsiteX5" fmla="*/ 3566444 w 3570085"/>
              <a:gd name="connsiteY5" fmla="*/ 1112400 h 1112400"/>
              <a:gd name="connsiteX6" fmla="*/ 16560 w 3570085"/>
              <a:gd name="connsiteY6" fmla="*/ 1112243 h 1112400"/>
              <a:gd name="connsiteX0" fmla="*/ 22098 w 3575623"/>
              <a:gd name="connsiteY0" fmla="*/ 1112243 h 1112400"/>
              <a:gd name="connsiteX1" fmla="*/ 5668 w 3575623"/>
              <a:gd name="connsiteY1" fmla="*/ 34635 h 1112400"/>
              <a:gd name="connsiteX2" fmla="*/ 2998250 w 3575623"/>
              <a:gd name="connsiteY2" fmla="*/ 0 h 1112400"/>
              <a:gd name="connsiteX3" fmla="*/ 3210916 w 3575623"/>
              <a:gd name="connsiteY3" fmla="*/ 134533 h 1112400"/>
              <a:gd name="connsiteX4" fmla="*/ 3575623 w 3575623"/>
              <a:gd name="connsiteY4" fmla="*/ 137312 h 1112400"/>
              <a:gd name="connsiteX5" fmla="*/ 3571982 w 3575623"/>
              <a:gd name="connsiteY5" fmla="*/ 1112400 h 1112400"/>
              <a:gd name="connsiteX6" fmla="*/ 22098 w 3575623"/>
              <a:gd name="connsiteY6" fmla="*/ 1112243 h 1112400"/>
              <a:gd name="connsiteX0" fmla="*/ 22098 w 3575623"/>
              <a:gd name="connsiteY0" fmla="*/ 1112243 h 1112400"/>
              <a:gd name="connsiteX1" fmla="*/ 5668 w 3575623"/>
              <a:gd name="connsiteY1" fmla="*/ 13854 h 1112400"/>
              <a:gd name="connsiteX2" fmla="*/ 2998250 w 3575623"/>
              <a:gd name="connsiteY2" fmla="*/ 0 h 1112400"/>
              <a:gd name="connsiteX3" fmla="*/ 3210916 w 3575623"/>
              <a:gd name="connsiteY3" fmla="*/ 134533 h 1112400"/>
              <a:gd name="connsiteX4" fmla="*/ 3575623 w 3575623"/>
              <a:gd name="connsiteY4" fmla="*/ 137312 h 1112400"/>
              <a:gd name="connsiteX5" fmla="*/ 3571982 w 3575623"/>
              <a:gd name="connsiteY5" fmla="*/ 1112400 h 1112400"/>
              <a:gd name="connsiteX6" fmla="*/ 22098 w 3575623"/>
              <a:gd name="connsiteY6" fmla="*/ 1112243 h 1112400"/>
              <a:gd name="connsiteX0" fmla="*/ 20024 w 3573549"/>
              <a:gd name="connsiteY0" fmla="*/ 1112243 h 1112400"/>
              <a:gd name="connsiteX1" fmla="*/ 3594 w 3573549"/>
              <a:gd name="connsiteY1" fmla="*/ 13854 h 1112400"/>
              <a:gd name="connsiteX2" fmla="*/ 2996176 w 3573549"/>
              <a:gd name="connsiteY2" fmla="*/ 0 h 1112400"/>
              <a:gd name="connsiteX3" fmla="*/ 3208842 w 3573549"/>
              <a:gd name="connsiteY3" fmla="*/ 134533 h 1112400"/>
              <a:gd name="connsiteX4" fmla="*/ 3573549 w 3573549"/>
              <a:gd name="connsiteY4" fmla="*/ 137312 h 1112400"/>
              <a:gd name="connsiteX5" fmla="*/ 3569908 w 3573549"/>
              <a:gd name="connsiteY5" fmla="*/ 1112400 h 1112400"/>
              <a:gd name="connsiteX6" fmla="*/ 20024 w 3573549"/>
              <a:gd name="connsiteY6" fmla="*/ 1112243 h 1112400"/>
              <a:gd name="connsiteX0" fmla="*/ 16430 w 3569955"/>
              <a:gd name="connsiteY0" fmla="*/ 1112243 h 1112400"/>
              <a:gd name="connsiteX1" fmla="*/ 0 w 3569955"/>
              <a:gd name="connsiteY1" fmla="*/ 13854 h 1112400"/>
              <a:gd name="connsiteX2" fmla="*/ 2992582 w 3569955"/>
              <a:gd name="connsiteY2" fmla="*/ 0 h 1112400"/>
              <a:gd name="connsiteX3" fmla="*/ 3205248 w 3569955"/>
              <a:gd name="connsiteY3" fmla="*/ 134533 h 1112400"/>
              <a:gd name="connsiteX4" fmla="*/ 3569955 w 3569955"/>
              <a:gd name="connsiteY4" fmla="*/ 137312 h 1112400"/>
              <a:gd name="connsiteX5" fmla="*/ 3566314 w 3569955"/>
              <a:gd name="connsiteY5" fmla="*/ 1112400 h 1112400"/>
              <a:gd name="connsiteX6" fmla="*/ 16430 w 3569955"/>
              <a:gd name="connsiteY6" fmla="*/ 1112243 h 1112400"/>
              <a:gd name="connsiteX0" fmla="*/ 2575 w 3556100"/>
              <a:gd name="connsiteY0" fmla="*/ 1116552 h 1116709"/>
              <a:gd name="connsiteX1" fmla="*/ 0 w 3556100"/>
              <a:gd name="connsiteY1" fmla="*/ 4308 h 1116709"/>
              <a:gd name="connsiteX2" fmla="*/ 2978727 w 3556100"/>
              <a:gd name="connsiteY2" fmla="*/ 4309 h 1116709"/>
              <a:gd name="connsiteX3" fmla="*/ 3191393 w 3556100"/>
              <a:gd name="connsiteY3" fmla="*/ 138842 h 1116709"/>
              <a:gd name="connsiteX4" fmla="*/ 3556100 w 3556100"/>
              <a:gd name="connsiteY4" fmla="*/ 141621 h 1116709"/>
              <a:gd name="connsiteX5" fmla="*/ 3552459 w 3556100"/>
              <a:gd name="connsiteY5" fmla="*/ 1116709 h 1116709"/>
              <a:gd name="connsiteX6" fmla="*/ 2575 w 3556100"/>
              <a:gd name="connsiteY6" fmla="*/ 1116552 h 1116709"/>
              <a:gd name="connsiteX0" fmla="*/ 2575 w 3556100"/>
              <a:gd name="connsiteY0" fmla="*/ 1116552 h 1116709"/>
              <a:gd name="connsiteX1" fmla="*/ 0 w 3556100"/>
              <a:gd name="connsiteY1" fmla="*/ 4308 h 1116709"/>
              <a:gd name="connsiteX2" fmla="*/ 2971799 w 3556100"/>
              <a:gd name="connsiteY2" fmla="*/ 4309 h 1116709"/>
              <a:gd name="connsiteX3" fmla="*/ 3191393 w 3556100"/>
              <a:gd name="connsiteY3" fmla="*/ 138842 h 1116709"/>
              <a:gd name="connsiteX4" fmla="*/ 3556100 w 3556100"/>
              <a:gd name="connsiteY4" fmla="*/ 141621 h 1116709"/>
              <a:gd name="connsiteX5" fmla="*/ 3552459 w 3556100"/>
              <a:gd name="connsiteY5" fmla="*/ 1116709 h 1116709"/>
              <a:gd name="connsiteX6" fmla="*/ 2575 w 3556100"/>
              <a:gd name="connsiteY6" fmla="*/ 1116552 h 1116709"/>
              <a:gd name="connsiteX0" fmla="*/ 2575 w 3556100"/>
              <a:gd name="connsiteY0" fmla="*/ 1115351 h 1115508"/>
              <a:gd name="connsiteX1" fmla="*/ 0 w 3556100"/>
              <a:gd name="connsiteY1" fmla="*/ 3107 h 1115508"/>
              <a:gd name="connsiteX2" fmla="*/ 2964872 w 3556100"/>
              <a:gd name="connsiteY2" fmla="*/ 16963 h 1115508"/>
              <a:gd name="connsiteX3" fmla="*/ 3191393 w 3556100"/>
              <a:gd name="connsiteY3" fmla="*/ 137641 h 1115508"/>
              <a:gd name="connsiteX4" fmla="*/ 3556100 w 3556100"/>
              <a:gd name="connsiteY4" fmla="*/ 140420 h 1115508"/>
              <a:gd name="connsiteX5" fmla="*/ 3552459 w 3556100"/>
              <a:gd name="connsiteY5" fmla="*/ 1115508 h 1115508"/>
              <a:gd name="connsiteX6" fmla="*/ 2575 w 3556100"/>
              <a:gd name="connsiteY6" fmla="*/ 1115351 h 1115508"/>
              <a:gd name="connsiteX0" fmla="*/ 2575 w 3556100"/>
              <a:gd name="connsiteY0" fmla="*/ 1119170 h 1119327"/>
              <a:gd name="connsiteX1" fmla="*/ 0 w 3556100"/>
              <a:gd name="connsiteY1" fmla="*/ 6926 h 1119327"/>
              <a:gd name="connsiteX2" fmla="*/ 2971800 w 3556100"/>
              <a:gd name="connsiteY2" fmla="*/ 0 h 1119327"/>
              <a:gd name="connsiteX3" fmla="*/ 3191393 w 3556100"/>
              <a:gd name="connsiteY3" fmla="*/ 141460 h 1119327"/>
              <a:gd name="connsiteX4" fmla="*/ 3556100 w 3556100"/>
              <a:gd name="connsiteY4" fmla="*/ 144239 h 1119327"/>
              <a:gd name="connsiteX5" fmla="*/ 3552459 w 3556100"/>
              <a:gd name="connsiteY5" fmla="*/ 1119327 h 1119327"/>
              <a:gd name="connsiteX6" fmla="*/ 2575 w 3556100"/>
              <a:gd name="connsiteY6" fmla="*/ 1119170 h 1119327"/>
              <a:gd name="connsiteX0" fmla="*/ 5397 w 3558922"/>
              <a:gd name="connsiteY0" fmla="*/ 1127370 h 1127527"/>
              <a:gd name="connsiteX1" fmla="*/ 0 w 3558922"/>
              <a:gd name="connsiteY1" fmla="*/ 3837 h 1127527"/>
              <a:gd name="connsiteX2" fmla="*/ 2974622 w 3558922"/>
              <a:gd name="connsiteY2" fmla="*/ 8200 h 1127527"/>
              <a:gd name="connsiteX3" fmla="*/ 3194215 w 3558922"/>
              <a:gd name="connsiteY3" fmla="*/ 149660 h 1127527"/>
              <a:gd name="connsiteX4" fmla="*/ 3558922 w 3558922"/>
              <a:gd name="connsiteY4" fmla="*/ 152439 h 1127527"/>
              <a:gd name="connsiteX5" fmla="*/ 3555281 w 3558922"/>
              <a:gd name="connsiteY5" fmla="*/ 1127527 h 1127527"/>
              <a:gd name="connsiteX6" fmla="*/ 5397 w 3558922"/>
              <a:gd name="connsiteY6" fmla="*/ 1127370 h 1127527"/>
              <a:gd name="connsiteX0" fmla="*/ 5397 w 3558922"/>
              <a:gd name="connsiteY0" fmla="*/ 1123533 h 1123690"/>
              <a:gd name="connsiteX1" fmla="*/ 0 w 3558922"/>
              <a:gd name="connsiteY1" fmla="*/ 0 h 1123690"/>
              <a:gd name="connsiteX2" fmla="*/ 2974622 w 3558922"/>
              <a:gd name="connsiteY2" fmla="*/ 4363 h 1123690"/>
              <a:gd name="connsiteX3" fmla="*/ 3194215 w 3558922"/>
              <a:gd name="connsiteY3" fmla="*/ 145823 h 1123690"/>
              <a:gd name="connsiteX4" fmla="*/ 3558922 w 3558922"/>
              <a:gd name="connsiteY4" fmla="*/ 148602 h 1123690"/>
              <a:gd name="connsiteX5" fmla="*/ 3555281 w 3558922"/>
              <a:gd name="connsiteY5" fmla="*/ 1123690 h 1123690"/>
              <a:gd name="connsiteX6" fmla="*/ 5397 w 3558922"/>
              <a:gd name="connsiteY6" fmla="*/ 1123533 h 1123690"/>
              <a:gd name="connsiteX0" fmla="*/ 5397 w 3558922"/>
              <a:gd name="connsiteY0" fmla="*/ 1123533 h 1123690"/>
              <a:gd name="connsiteX1" fmla="*/ 0 w 3558922"/>
              <a:gd name="connsiteY1" fmla="*/ 0 h 1123690"/>
              <a:gd name="connsiteX2" fmla="*/ 2962591 w 3558922"/>
              <a:gd name="connsiteY2" fmla="*/ 16395 h 1123690"/>
              <a:gd name="connsiteX3" fmla="*/ 3194215 w 3558922"/>
              <a:gd name="connsiteY3" fmla="*/ 145823 h 1123690"/>
              <a:gd name="connsiteX4" fmla="*/ 3558922 w 3558922"/>
              <a:gd name="connsiteY4" fmla="*/ 148602 h 1123690"/>
              <a:gd name="connsiteX5" fmla="*/ 3555281 w 3558922"/>
              <a:gd name="connsiteY5" fmla="*/ 1123690 h 1123690"/>
              <a:gd name="connsiteX6" fmla="*/ 5397 w 3558922"/>
              <a:gd name="connsiteY6" fmla="*/ 1123533 h 1123690"/>
              <a:gd name="connsiteX0" fmla="*/ 10477 w 3564002"/>
              <a:gd name="connsiteY0" fmla="*/ 1108293 h 1108450"/>
              <a:gd name="connsiteX1" fmla="*/ 0 w 3564002"/>
              <a:gd name="connsiteY1" fmla="*/ 0 h 1108450"/>
              <a:gd name="connsiteX2" fmla="*/ 2967671 w 3564002"/>
              <a:gd name="connsiteY2" fmla="*/ 1155 h 1108450"/>
              <a:gd name="connsiteX3" fmla="*/ 3199295 w 3564002"/>
              <a:gd name="connsiteY3" fmla="*/ 130583 h 1108450"/>
              <a:gd name="connsiteX4" fmla="*/ 3564002 w 3564002"/>
              <a:gd name="connsiteY4" fmla="*/ 133362 h 1108450"/>
              <a:gd name="connsiteX5" fmla="*/ 3560361 w 3564002"/>
              <a:gd name="connsiteY5" fmla="*/ 1108450 h 1108450"/>
              <a:gd name="connsiteX6" fmla="*/ 10477 w 3564002"/>
              <a:gd name="connsiteY6" fmla="*/ 1108293 h 1108450"/>
              <a:gd name="connsiteX0" fmla="*/ 5397 w 3558922"/>
              <a:gd name="connsiteY0" fmla="*/ 1107138 h 1107295"/>
              <a:gd name="connsiteX1" fmla="*/ 0 w 3558922"/>
              <a:gd name="connsiteY1" fmla="*/ 3925 h 1107295"/>
              <a:gd name="connsiteX2" fmla="*/ 2962591 w 3558922"/>
              <a:gd name="connsiteY2" fmla="*/ 0 h 1107295"/>
              <a:gd name="connsiteX3" fmla="*/ 3194215 w 3558922"/>
              <a:gd name="connsiteY3" fmla="*/ 129428 h 1107295"/>
              <a:gd name="connsiteX4" fmla="*/ 3558922 w 3558922"/>
              <a:gd name="connsiteY4" fmla="*/ 132207 h 1107295"/>
              <a:gd name="connsiteX5" fmla="*/ 3555281 w 3558922"/>
              <a:gd name="connsiteY5" fmla="*/ 1107295 h 1107295"/>
              <a:gd name="connsiteX6" fmla="*/ 5397 w 3558922"/>
              <a:gd name="connsiteY6" fmla="*/ 1107138 h 1107295"/>
              <a:gd name="connsiteX0" fmla="*/ 7397 w 3560922"/>
              <a:gd name="connsiteY0" fmla="*/ 1107138 h 1107295"/>
              <a:gd name="connsiteX1" fmla="*/ 2000 w 3560922"/>
              <a:gd name="connsiteY1" fmla="*/ 3925 h 1107295"/>
              <a:gd name="connsiteX2" fmla="*/ 2964591 w 3560922"/>
              <a:gd name="connsiteY2" fmla="*/ 0 h 1107295"/>
              <a:gd name="connsiteX3" fmla="*/ 3196215 w 3560922"/>
              <a:gd name="connsiteY3" fmla="*/ 129428 h 1107295"/>
              <a:gd name="connsiteX4" fmla="*/ 3560922 w 3560922"/>
              <a:gd name="connsiteY4" fmla="*/ 132207 h 1107295"/>
              <a:gd name="connsiteX5" fmla="*/ 3557281 w 3560922"/>
              <a:gd name="connsiteY5" fmla="*/ 1107295 h 1107295"/>
              <a:gd name="connsiteX6" fmla="*/ 7397 w 3560922"/>
              <a:gd name="connsiteY6" fmla="*/ 1107138 h 11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60922" h="1107295">
                <a:moveTo>
                  <a:pt x="7397" y="1107138"/>
                </a:moveTo>
                <a:cubicBezTo>
                  <a:pt x="-8561" y="635179"/>
                  <a:pt x="7048" y="669590"/>
                  <a:pt x="2000" y="3925"/>
                </a:cubicBezTo>
                <a:lnTo>
                  <a:pt x="2964591" y="0"/>
                </a:lnTo>
                <a:lnTo>
                  <a:pt x="3196215" y="129428"/>
                </a:lnTo>
                <a:lnTo>
                  <a:pt x="3560922" y="132207"/>
                </a:lnTo>
                <a:cubicBezTo>
                  <a:pt x="3559708" y="460411"/>
                  <a:pt x="3561670" y="779091"/>
                  <a:pt x="3557281" y="1107295"/>
                </a:cubicBezTo>
                <a:lnTo>
                  <a:pt x="7397" y="1107138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3135" y="4903195"/>
            <a:ext cx="5344068" cy="1042416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183655 w 5344068"/>
              <a:gd name="connsiteY2" fmla="*/ 96335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259855 w 5344068"/>
              <a:gd name="connsiteY2" fmla="*/ 95827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45605 w 5344068"/>
              <a:gd name="connsiteY2" fmla="*/ 95827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45605 w 5344068"/>
              <a:gd name="connsiteY2" fmla="*/ 958278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59893 w 5344068"/>
              <a:gd name="connsiteY2" fmla="*/ 963040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59893 w 5344068"/>
              <a:gd name="connsiteY2" fmla="*/ 977327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59893 w 5344068"/>
              <a:gd name="connsiteY2" fmla="*/ 977327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59893 w 5344068"/>
              <a:gd name="connsiteY2" fmla="*/ 977327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52965 w 5344068"/>
              <a:gd name="connsiteY2" fmla="*/ 977327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8067 h 1070462"/>
              <a:gd name="connsiteX2" fmla="*/ 3552965 w 5344068"/>
              <a:gd name="connsiteY2" fmla="*/ 977327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20056"/>
                  <a:pt x="1336" y="988067"/>
                </a:cubicBezTo>
                <a:lnTo>
                  <a:pt x="3552965" y="977327"/>
                </a:lnTo>
                <a:cubicBezTo>
                  <a:pt x="3550551" y="657901"/>
                  <a:pt x="3555066" y="324189"/>
                  <a:pt x="3552652" y="4763"/>
                </a:cubicBez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50008" y="4975225"/>
            <a:ext cx="3271178" cy="82296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80340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61100" y="3163874"/>
            <a:ext cx="5486400" cy="140243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7" name="Rectangle 6">
            <a:extLst>
              <a:ext uri="{FF2B5EF4-FFF2-40B4-BE49-F238E27FC236}">
                <a16:creationId xmlns:a16="http://schemas.microsoft.com/office/drawing/2014/main" id="{66869BB4-81C8-4935-AA15-82CB480F24D6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1631421" y="6681543"/>
            <a:ext cx="38856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29108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5361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5044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8997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659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71291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870974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604973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79958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980903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709928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0204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9986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0219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198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82692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2474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71648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71430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160544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26253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431988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343032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709928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8507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8507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95408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95408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92309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292309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689210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689210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99089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387800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181602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784701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709928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A443D19A-1751-43D6-A160-5296A53060F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578504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D8C84A-E732-4EA8-8388-80FC2F2F60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86112" y="2864755"/>
            <a:ext cx="1600200" cy="221599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73FB3A0-2394-412A-B5B0-D0E4A63CD9B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86112" y="4784343"/>
            <a:ext cx="1600200" cy="55778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en-US" dirty="0"/>
              <a:t>Add a short paragraph – not too long – or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225164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 Image (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309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310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2944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342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D242E68-DB69-0BDE-8CFA-EE8E56F3857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3103" y="442968"/>
            <a:ext cx="1898903" cy="72961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38FCC23-BDD1-F710-B482-0FABFC7EB531}"/>
              </a:ext>
            </a:extLst>
          </p:cNvPr>
          <p:cNvGrpSpPr/>
          <p:nvPr userDrawn="1"/>
        </p:nvGrpSpPr>
        <p:grpSpPr>
          <a:xfrm>
            <a:off x="5098163" y="-455836"/>
            <a:ext cx="8421905" cy="7945936"/>
            <a:chOff x="5098163" y="-455836"/>
            <a:chExt cx="8421905" cy="7945936"/>
          </a:xfrm>
          <a:blipFill>
            <a:blip r:embed="rId6"/>
            <a:stretch>
              <a:fillRect/>
            </a:stretch>
          </a:blip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4EDEC61-755F-847C-3A1C-15F6C4CEE1CD}"/>
                </a:ext>
              </a:extLst>
            </p:cNvPr>
            <p:cNvSpPr/>
            <p:nvPr userDrawn="1"/>
          </p:nvSpPr>
          <p:spPr>
            <a:xfrm rot="13821780">
              <a:off x="5239135" y="-596808"/>
              <a:ext cx="5190684" cy="5472628"/>
            </a:xfrm>
            <a:custGeom>
              <a:avLst/>
              <a:gdLst>
                <a:gd name="connsiteX0" fmla="*/ 5190684 w 5190684"/>
                <a:gd name="connsiteY0" fmla="*/ 2965814 h 5472628"/>
                <a:gd name="connsiteX1" fmla="*/ 3114139 w 5190684"/>
                <a:gd name="connsiteY1" fmla="*/ 5472628 h 5472628"/>
                <a:gd name="connsiteX2" fmla="*/ 0 w 5190684"/>
                <a:gd name="connsiteY2" fmla="*/ 0 h 5472628"/>
                <a:gd name="connsiteX3" fmla="*/ 3133747 w 5190684"/>
                <a:gd name="connsiteY3" fmla="*/ 0 h 5472628"/>
                <a:gd name="connsiteX4" fmla="*/ 3518511 w 5190684"/>
                <a:gd name="connsiteY4" fmla="*/ 169 h 5472628"/>
                <a:gd name="connsiteX5" fmla="*/ 5190684 w 5190684"/>
                <a:gd name="connsiteY5" fmla="*/ 2965814 h 54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0684" h="5472628">
                  <a:moveTo>
                    <a:pt x="5190684" y="2965814"/>
                  </a:moveTo>
                  <a:lnTo>
                    <a:pt x="3114139" y="5472628"/>
                  </a:lnTo>
                  <a:lnTo>
                    <a:pt x="0" y="0"/>
                  </a:lnTo>
                  <a:lnTo>
                    <a:pt x="3133747" y="0"/>
                  </a:lnTo>
                  <a:lnTo>
                    <a:pt x="3518511" y="169"/>
                  </a:lnTo>
                  <a:lnTo>
                    <a:pt x="5190684" y="2965814"/>
                  </a:lnTo>
                  <a:close/>
                </a:path>
              </a:pathLst>
            </a:cu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50952AD-C5FA-6E40-C6D7-55FCAC2EDF0B}"/>
                </a:ext>
              </a:extLst>
            </p:cNvPr>
            <p:cNvSpPr/>
            <p:nvPr userDrawn="1"/>
          </p:nvSpPr>
          <p:spPr>
            <a:xfrm rot="13821780">
              <a:off x="8007792" y="1977824"/>
              <a:ext cx="5029645" cy="5994907"/>
            </a:xfrm>
            <a:custGeom>
              <a:avLst/>
              <a:gdLst>
                <a:gd name="connsiteX0" fmla="*/ 3516449 w 5029645"/>
                <a:gd name="connsiteY0" fmla="*/ 5994907 h 5994907"/>
                <a:gd name="connsiteX1" fmla="*/ 1394416 w 5029645"/>
                <a:gd name="connsiteY1" fmla="*/ 4237097 h 5994907"/>
                <a:gd name="connsiteX2" fmla="*/ 1677138 w 5029645"/>
                <a:gd name="connsiteY2" fmla="*/ 3756672 h 5994907"/>
                <a:gd name="connsiteX3" fmla="*/ 1317698 w 5029645"/>
                <a:gd name="connsiteY3" fmla="*/ 3124534 h 5994907"/>
                <a:gd name="connsiteX4" fmla="*/ 920847 w 5029645"/>
                <a:gd name="connsiteY4" fmla="*/ 3844814 h 5994907"/>
                <a:gd name="connsiteX5" fmla="*/ 280815 w 5029645"/>
                <a:gd name="connsiteY5" fmla="*/ 3314638 h 5994907"/>
                <a:gd name="connsiteX6" fmla="*/ 280817 w 5029645"/>
                <a:gd name="connsiteY6" fmla="*/ 3314636 h 5994907"/>
                <a:gd name="connsiteX7" fmla="*/ 0 w 5029645"/>
                <a:gd name="connsiteY7" fmla="*/ 3082019 h 5994907"/>
                <a:gd name="connsiteX8" fmla="*/ 2553021 w 5029645"/>
                <a:gd name="connsiteY8" fmla="*/ 0 h 5994907"/>
                <a:gd name="connsiteX9" fmla="*/ 3082168 w 5029645"/>
                <a:gd name="connsiteY9" fmla="*/ 0 h 5994907"/>
                <a:gd name="connsiteX10" fmla="*/ 3870352 w 5029645"/>
                <a:gd name="connsiteY10" fmla="*/ 1377053 h 5994907"/>
                <a:gd name="connsiteX11" fmla="*/ 5029645 w 5029645"/>
                <a:gd name="connsiteY11" fmla="*/ 3437574 h 5994907"/>
                <a:gd name="connsiteX12" fmla="*/ 3516449 w 5029645"/>
                <a:gd name="connsiteY12" fmla="*/ 5994907 h 599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9645" h="5994907">
                  <a:moveTo>
                    <a:pt x="3516449" y="5994907"/>
                  </a:moveTo>
                  <a:lnTo>
                    <a:pt x="1394416" y="4237097"/>
                  </a:lnTo>
                  <a:lnTo>
                    <a:pt x="1677138" y="3756672"/>
                  </a:lnTo>
                  <a:lnTo>
                    <a:pt x="1317698" y="3124534"/>
                  </a:lnTo>
                  <a:lnTo>
                    <a:pt x="920847" y="3844814"/>
                  </a:lnTo>
                  <a:lnTo>
                    <a:pt x="280815" y="3314638"/>
                  </a:lnTo>
                  <a:lnTo>
                    <a:pt x="280817" y="3314636"/>
                  </a:lnTo>
                  <a:lnTo>
                    <a:pt x="0" y="3082019"/>
                  </a:lnTo>
                  <a:lnTo>
                    <a:pt x="2553021" y="0"/>
                  </a:lnTo>
                  <a:lnTo>
                    <a:pt x="3082168" y="0"/>
                  </a:lnTo>
                  <a:lnTo>
                    <a:pt x="3870352" y="1377053"/>
                  </a:lnTo>
                  <a:lnTo>
                    <a:pt x="5029645" y="3437574"/>
                  </a:lnTo>
                  <a:lnTo>
                    <a:pt x="3516449" y="5994907"/>
                  </a:lnTo>
                  <a:close/>
                </a:path>
              </a:pathLst>
            </a:cu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1D634A7-584F-529A-3A17-000833E3576C}"/>
                </a:ext>
              </a:extLst>
            </p:cNvPr>
            <p:cNvSpPr/>
            <p:nvPr userDrawn="1"/>
          </p:nvSpPr>
          <p:spPr>
            <a:xfrm>
              <a:off x="9497710" y="0"/>
              <a:ext cx="2694290" cy="2106092"/>
            </a:xfrm>
            <a:custGeom>
              <a:avLst/>
              <a:gdLst>
                <a:gd name="connsiteX0" fmla="*/ 802401 w 2694290"/>
                <a:gd name="connsiteY0" fmla="*/ 0 h 2106092"/>
                <a:gd name="connsiteX1" fmla="*/ 2694290 w 2694290"/>
                <a:gd name="connsiteY1" fmla="*/ 0 h 2106092"/>
                <a:gd name="connsiteX2" fmla="*/ 2694290 w 2694290"/>
                <a:gd name="connsiteY2" fmla="*/ 1678210 h 2106092"/>
                <a:gd name="connsiteX3" fmla="*/ 0 w 2694290"/>
                <a:gd name="connsiteY3" fmla="*/ 2106092 h 2106092"/>
                <a:gd name="connsiteX4" fmla="*/ 802401 w 2694290"/>
                <a:gd name="connsiteY4" fmla="*/ 0 h 2106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4290" h="2106092">
                  <a:moveTo>
                    <a:pt x="802401" y="0"/>
                  </a:moveTo>
                  <a:lnTo>
                    <a:pt x="2694290" y="0"/>
                  </a:lnTo>
                  <a:lnTo>
                    <a:pt x="2694290" y="1678210"/>
                  </a:lnTo>
                  <a:lnTo>
                    <a:pt x="0" y="2106092"/>
                  </a:lnTo>
                  <a:lnTo>
                    <a:pt x="80240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6BA9175-7396-D667-D2ED-43F3ABC9A0EB}"/>
              </a:ext>
            </a:extLst>
          </p:cNvPr>
          <p:cNvSpPr/>
          <p:nvPr userDrawn="1"/>
        </p:nvSpPr>
        <p:spPr>
          <a:xfrm rot="13821780">
            <a:off x="8007167" y="1970199"/>
            <a:ext cx="5029645" cy="6007608"/>
          </a:xfrm>
          <a:custGeom>
            <a:avLst/>
            <a:gdLst>
              <a:gd name="connsiteX0" fmla="*/ 3516449 w 5029645"/>
              <a:gd name="connsiteY0" fmla="*/ 5994907 h 5994907"/>
              <a:gd name="connsiteX1" fmla="*/ 1394416 w 5029645"/>
              <a:gd name="connsiteY1" fmla="*/ 4237097 h 5994907"/>
              <a:gd name="connsiteX2" fmla="*/ 1677138 w 5029645"/>
              <a:gd name="connsiteY2" fmla="*/ 3756672 h 5994907"/>
              <a:gd name="connsiteX3" fmla="*/ 1317698 w 5029645"/>
              <a:gd name="connsiteY3" fmla="*/ 3124534 h 5994907"/>
              <a:gd name="connsiteX4" fmla="*/ 920847 w 5029645"/>
              <a:gd name="connsiteY4" fmla="*/ 3844814 h 5994907"/>
              <a:gd name="connsiteX5" fmla="*/ 280815 w 5029645"/>
              <a:gd name="connsiteY5" fmla="*/ 3314638 h 5994907"/>
              <a:gd name="connsiteX6" fmla="*/ 280817 w 5029645"/>
              <a:gd name="connsiteY6" fmla="*/ 3314636 h 5994907"/>
              <a:gd name="connsiteX7" fmla="*/ 0 w 5029645"/>
              <a:gd name="connsiteY7" fmla="*/ 3082019 h 5994907"/>
              <a:gd name="connsiteX8" fmla="*/ 2553021 w 5029645"/>
              <a:gd name="connsiteY8" fmla="*/ 0 h 5994907"/>
              <a:gd name="connsiteX9" fmla="*/ 3082168 w 5029645"/>
              <a:gd name="connsiteY9" fmla="*/ 0 h 5994907"/>
              <a:gd name="connsiteX10" fmla="*/ 3870352 w 5029645"/>
              <a:gd name="connsiteY10" fmla="*/ 1377053 h 5994907"/>
              <a:gd name="connsiteX11" fmla="*/ 5029645 w 5029645"/>
              <a:gd name="connsiteY11" fmla="*/ 3437574 h 5994907"/>
              <a:gd name="connsiteX12" fmla="*/ 3516449 w 5029645"/>
              <a:gd name="connsiteY12" fmla="*/ 5994907 h 5994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29645" h="5994907">
                <a:moveTo>
                  <a:pt x="3516449" y="5994907"/>
                </a:moveTo>
                <a:lnTo>
                  <a:pt x="1394416" y="4237097"/>
                </a:lnTo>
                <a:lnTo>
                  <a:pt x="1677138" y="3756672"/>
                </a:lnTo>
                <a:lnTo>
                  <a:pt x="1317698" y="3124534"/>
                </a:lnTo>
                <a:lnTo>
                  <a:pt x="920847" y="3844814"/>
                </a:lnTo>
                <a:lnTo>
                  <a:pt x="280815" y="3314638"/>
                </a:lnTo>
                <a:lnTo>
                  <a:pt x="280817" y="3314636"/>
                </a:lnTo>
                <a:lnTo>
                  <a:pt x="0" y="3082019"/>
                </a:lnTo>
                <a:lnTo>
                  <a:pt x="2553021" y="0"/>
                </a:lnTo>
                <a:lnTo>
                  <a:pt x="3082168" y="0"/>
                </a:lnTo>
                <a:lnTo>
                  <a:pt x="3870352" y="1377053"/>
                </a:lnTo>
                <a:lnTo>
                  <a:pt x="5029645" y="3437574"/>
                </a:lnTo>
                <a:lnTo>
                  <a:pt x="3516449" y="5994907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78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media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226671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02795696-EB95-4185-8B89-3CC0AED5CF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0444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527C3079-74F1-5795-1D72-139A6732D8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812" t="15533" r="79840" b="29168"/>
          <a:stretch/>
        </p:blipFill>
        <p:spPr>
          <a:xfrm>
            <a:off x="2479716" y="3017520"/>
            <a:ext cx="1884048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1D871AB-3CB7-DBC7-11A0-68CC14197AD2}"/>
              </a:ext>
            </a:extLst>
          </p:cNvPr>
          <p:cNvGrpSpPr/>
          <p:nvPr userDrawn="1"/>
        </p:nvGrpSpPr>
        <p:grpSpPr>
          <a:xfrm>
            <a:off x="0" y="-3202"/>
            <a:ext cx="12192000" cy="6857999"/>
            <a:chOff x="1" y="-3203"/>
            <a:chExt cx="12192000" cy="6857999"/>
          </a:xfrm>
        </p:grpSpPr>
        <p:pic>
          <p:nvPicPr>
            <p:cNvPr id="4" name="Picture 3" descr="Background pattern&#10;&#10;Description automatically generated">
              <a:extLst>
                <a:ext uri="{FF2B5EF4-FFF2-40B4-BE49-F238E27FC236}">
                  <a16:creationId xmlns:a16="http://schemas.microsoft.com/office/drawing/2014/main" id="{543DAEE0-68FF-7A4A-E6E2-6487A44E4AB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974" t="11245" b="4417"/>
            <a:stretch/>
          </p:blipFill>
          <p:spPr>
            <a:xfrm>
              <a:off x="1" y="-3203"/>
              <a:ext cx="12192000" cy="6857999"/>
            </a:xfrm>
            <a:prstGeom prst="rect">
              <a:avLst/>
            </a:prstGeom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A81A2386-0875-C51F-8E94-C114ABDD6515}"/>
                </a:ext>
              </a:extLst>
            </p:cNvPr>
            <p:cNvSpPr/>
            <p:nvPr userDrawn="1"/>
          </p:nvSpPr>
          <p:spPr>
            <a:xfrm rot="18679580">
              <a:off x="5571697" y="2250091"/>
              <a:ext cx="5236260" cy="1832698"/>
            </a:xfrm>
            <a:prstGeom prst="roundRect">
              <a:avLst/>
            </a:prstGeom>
            <a:solidFill>
              <a:srgbClr val="F8F9FA">
                <a:alpha val="64000"/>
              </a:srgbClr>
            </a:solidFill>
            <a:ln>
              <a:noFill/>
            </a:ln>
            <a:effectLst>
              <a:softEdge rad="444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38" name="Hexagon 37">
            <a:hlinkClick r:id="rId3"/>
            <a:extLst>
              <a:ext uri="{FF2B5EF4-FFF2-40B4-BE49-F238E27FC236}">
                <a16:creationId xmlns:a16="http://schemas.microsoft.com/office/drawing/2014/main" id="{DED605E0-8598-6527-D1CB-47AA5285E3CC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619110" y="5880567"/>
            <a:ext cx="424288" cy="365760"/>
          </a:xfrm>
          <a:prstGeom prst="hexagon">
            <a:avLst>
              <a:gd name="adj" fmla="val 27395"/>
              <a:gd name="vf" fmla="val 115470"/>
            </a:avLst>
          </a:prstGeom>
          <a:solidFill>
            <a:schemeClr val="accent1">
              <a:alpha val="8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4" name="Graphic 33">
            <a:hlinkClick r:id="rId3"/>
            <a:extLst>
              <a:ext uri="{FF2B5EF4-FFF2-40B4-BE49-F238E27FC236}">
                <a16:creationId xmlns:a16="http://schemas.microsoft.com/office/drawing/2014/main" id="{D2EACDD3-D1C7-E55B-D092-3123937A3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218" b="2341"/>
          <a:stretch/>
        </p:blipFill>
        <p:spPr>
          <a:xfrm>
            <a:off x="1736658" y="5960326"/>
            <a:ext cx="197214" cy="190196"/>
          </a:xfrm>
          <a:prstGeom prst="rect">
            <a:avLst/>
          </a:prstGeom>
        </p:spPr>
      </p:pic>
      <p:sp>
        <p:nvSpPr>
          <p:cNvPr id="39" name="Hexagon 38">
            <a:hlinkClick r:id="rId6"/>
            <a:extLst>
              <a:ext uri="{FF2B5EF4-FFF2-40B4-BE49-F238E27FC236}">
                <a16:creationId xmlns:a16="http://schemas.microsoft.com/office/drawing/2014/main" id="{A15E26A9-D153-6A0F-564B-DA6917BB0A96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68540" y="5880567"/>
            <a:ext cx="424288" cy="365760"/>
          </a:xfrm>
          <a:prstGeom prst="hexagon">
            <a:avLst>
              <a:gd name="adj" fmla="val 27395"/>
              <a:gd name="vf" fmla="val 115470"/>
            </a:avLst>
          </a:prstGeom>
          <a:solidFill>
            <a:schemeClr val="accent1">
              <a:alpha val="8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Hexagon 36">
            <a:hlinkClick r:id="rId7"/>
            <a:extLst>
              <a:ext uri="{FF2B5EF4-FFF2-40B4-BE49-F238E27FC236}">
                <a16:creationId xmlns:a16="http://schemas.microsoft.com/office/drawing/2014/main" id="{08BC02B3-C2F7-9D13-78FC-5950CFE4CA9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2069680" y="5880567"/>
            <a:ext cx="424288" cy="365760"/>
          </a:xfrm>
          <a:prstGeom prst="hexagon">
            <a:avLst>
              <a:gd name="adj" fmla="val 27395"/>
              <a:gd name="vf" fmla="val 115470"/>
            </a:avLst>
          </a:prstGeom>
          <a:solidFill>
            <a:schemeClr val="accent1">
              <a:alpha val="8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0" name="Hexagon 39">
            <a:hlinkClick r:id="rId8"/>
            <a:extLst>
              <a:ext uri="{FF2B5EF4-FFF2-40B4-BE49-F238E27FC236}">
                <a16:creationId xmlns:a16="http://schemas.microsoft.com/office/drawing/2014/main" id="{90620A96-694B-2190-7267-063881DCF125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717970" y="5880567"/>
            <a:ext cx="424288" cy="365760"/>
          </a:xfrm>
          <a:prstGeom prst="hexagon">
            <a:avLst>
              <a:gd name="adj" fmla="val 27395"/>
              <a:gd name="vf" fmla="val 115470"/>
            </a:avLst>
          </a:prstGeom>
          <a:solidFill>
            <a:schemeClr val="accent1">
              <a:alpha val="8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F5FAB53-1E11-8232-4324-26C9A534ACEC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9209CE69-B58A-CD94-1A0D-B924809C102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solidFill>
                    <a:schemeClr val="tx1"/>
                  </a:solidFill>
                  <a:latin typeface="+mn-lt"/>
                </a:rPr>
                <a:t>you</a:t>
              </a:r>
            </a:p>
          </p:txBody>
        </p:sp>
        <p:sp>
          <p:nvSpPr>
            <p:cNvPr id="7" name="Title 5">
              <a:extLst>
                <a:ext uri="{FF2B5EF4-FFF2-40B4-BE49-F238E27FC236}">
                  <a16:creationId xmlns:a16="http://schemas.microsoft.com/office/drawing/2014/main" id="{65614916-0AC4-921A-F1CB-C14983494CE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solidFill>
                    <a:schemeClr val="tx1"/>
                  </a:solidFill>
                </a:rPr>
                <a:t>thank</a:t>
              </a:r>
            </a:p>
          </p:txBody>
        </p:sp>
      </p:grpSp>
      <p:sp>
        <p:nvSpPr>
          <p:cNvPr id="8" name="object 20">
            <a:hlinkClick r:id="rId9"/>
            <a:extLst>
              <a:ext uri="{FF2B5EF4-FFF2-40B4-BE49-F238E27FC236}">
                <a16:creationId xmlns:a16="http://schemas.microsoft.com/office/drawing/2014/main" id="{D85769D8-0336-3C75-4571-FC38B6D03036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pic>
        <p:nvPicPr>
          <p:cNvPr id="33" name="Graphic 32">
            <a:hlinkClick r:id="rId8"/>
            <a:extLst>
              <a:ext uri="{FF2B5EF4-FFF2-40B4-BE49-F238E27FC236}">
                <a16:creationId xmlns:a16="http://schemas.microsoft.com/office/drawing/2014/main" id="{515C720B-8A21-2EAE-EE38-12998E3865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26405" r="25557"/>
          <a:stretch/>
        </p:blipFill>
        <p:spPr>
          <a:xfrm>
            <a:off x="882745" y="5964841"/>
            <a:ext cx="94738" cy="197213"/>
          </a:xfrm>
          <a:prstGeom prst="rect">
            <a:avLst/>
          </a:prstGeom>
        </p:spPr>
      </p:pic>
      <p:pic>
        <p:nvPicPr>
          <p:cNvPr id="36" name="Graphic 35">
            <a:hlinkClick r:id="rId7"/>
            <a:extLst>
              <a:ext uri="{FF2B5EF4-FFF2-40B4-BE49-F238E27FC236}">
                <a16:creationId xmlns:a16="http://schemas.microsoft.com/office/drawing/2014/main" id="{1FAFCC63-271F-4BCC-8F15-3471B1DA7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5936" t="8018" r="5241" b="7816"/>
          <a:stretch/>
        </p:blipFill>
        <p:spPr>
          <a:xfrm>
            <a:off x="2175144" y="5979442"/>
            <a:ext cx="213360" cy="151966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9C1B2A86-FD3D-82CB-96F3-C4A449E96D4E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16463" y="463288"/>
            <a:ext cx="1898903" cy="729616"/>
          </a:xfrm>
          <a:prstGeom prst="rect">
            <a:avLst/>
          </a:prstGeom>
        </p:spPr>
      </p:pic>
      <p:pic>
        <p:nvPicPr>
          <p:cNvPr id="10" name="Picture 9" descr="A white x on a black background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C2C88619-728A-FD43-59C5-F9B8A2C36688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1220" y="5972007"/>
            <a:ext cx="178929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883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 Image (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65">
            <a:extLst>
              <a:ext uri="{FF2B5EF4-FFF2-40B4-BE49-F238E27FC236}">
                <a16:creationId xmlns:a16="http://schemas.microsoft.com/office/drawing/2014/main" id="{4C0456C7-A1E1-0EFB-710C-AB2FC9966B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4000"/>
          </a:blip>
          <a:srcRect t="31798" r="3915" b="5368"/>
          <a:stretch/>
        </p:blipFill>
        <p:spPr>
          <a:xfrm>
            <a:off x="1044453" y="0"/>
            <a:ext cx="11147547" cy="78911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1ED4E1A-72F6-D21C-203D-3F3F74AA1D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3093" y="4818033"/>
            <a:ext cx="448056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3103" y="5155633"/>
            <a:ext cx="429768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29443" y="606654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1"/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3422" y="2467508"/>
            <a:ext cx="4916472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0E3E1F6-F449-9588-A677-261966BB16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40" y="5662174"/>
            <a:ext cx="2892560" cy="21530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49EEE3E-BF91-2C2E-C87D-4E9F887C8101}"/>
              </a:ext>
            </a:extLst>
          </p:cNvPr>
          <p:cNvSpPr/>
          <p:nvPr userDrawn="1"/>
        </p:nvSpPr>
        <p:spPr>
          <a:xfrm>
            <a:off x="5718175" y="238125"/>
            <a:ext cx="250825" cy="4571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EE7607B-1806-17F2-7A7E-D9CA0C2DCC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84574" y="296117"/>
            <a:ext cx="7410564" cy="6306407"/>
          </a:xfrm>
          <a:custGeom>
            <a:avLst/>
            <a:gdLst>
              <a:gd name="connsiteX0" fmla="*/ 0 w 7410564"/>
              <a:gd name="connsiteY0" fmla="*/ 0 h 6306407"/>
              <a:gd name="connsiteX1" fmla="*/ 7410564 w 7410564"/>
              <a:gd name="connsiteY1" fmla="*/ 0 h 6306407"/>
              <a:gd name="connsiteX2" fmla="*/ 7410564 w 7410564"/>
              <a:gd name="connsiteY2" fmla="*/ 6306407 h 6306407"/>
              <a:gd name="connsiteX3" fmla="*/ 0 w 7410564"/>
              <a:gd name="connsiteY3" fmla="*/ 6306407 h 6306407"/>
              <a:gd name="connsiteX4" fmla="*/ 0 w 7410564"/>
              <a:gd name="connsiteY4" fmla="*/ 0 h 6306407"/>
              <a:gd name="connsiteX0" fmla="*/ 2558143 w 7410564"/>
              <a:gd name="connsiteY0" fmla="*/ 0 h 6306407"/>
              <a:gd name="connsiteX1" fmla="*/ 7410564 w 7410564"/>
              <a:gd name="connsiteY1" fmla="*/ 0 h 6306407"/>
              <a:gd name="connsiteX2" fmla="*/ 7410564 w 7410564"/>
              <a:gd name="connsiteY2" fmla="*/ 6306407 h 6306407"/>
              <a:gd name="connsiteX3" fmla="*/ 0 w 7410564"/>
              <a:gd name="connsiteY3" fmla="*/ 6306407 h 6306407"/>
              <a:gd name="connsiteX4" fmla="*/ 2558143 w 7410564"/>
              <a:gd name="connsiteY4" fmla="*/ 0 h 630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10564" h="6306407">
                <a:moveTo>
                  <a:pt x="2558143" y="0"/>
                </a:moveTo>
                <a:lnTo>
                  <a:pt x="7410564" y="0"/>
                </a:lnTo>
                <a:lnTo>
                  <a:pt x="7410564" y="6306407"/>
                </a:lnTo>
                <a:lnTo>
                  <a:pt x="0" y="6306407"/>
                </a:lnTo>
                <a:lnTo>
                  <a:pt x="2558143" y="0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6350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r">
              <a:defRPr lang="en-US" sz="12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8D9F45E-2A15-FCFB-9C52-27724A4A65DA}"/>
              </a:ext>
            </a:extLst>
          </p:cNvPr>
          <p:cNvGrpSpPr>
            <a:grpSpLocks noChangeAspect="1"/>
          </p:cNvGrpSpPr>
          <p:nvPr userDrawn="1"/>
        </p:nvGrpSpPr>
        <p:grpSpPr>
          <a:xfrm rot="1320000" flipH="1" flipV="1">
            <a:off x="6098947" y="633446"/>
            <a:ext cx="116012" cy="3017520"/>
            <a:chOff x="5814441" y="100216"/>
            <a:chExt cx="152274" cy="3960685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4EC73AE-4BC0-FB49-93E1-F7564972211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D597066-B041-5718-7DCC-E752FF06AD1F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F846B79-6F82-CEBB-FD3B-D14053B6BFD8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5D4DCC4-4130-4760-9947-BB3E9C01CE49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985F8FD8-D6E1-BE52-A094-AF51891DEB50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4E80FD9-B9BF-81FC-2093-D8F1E8CF6351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FAABD0ED-EFBD-C010-54F5-CDC7B24E65BE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50F5E40A-79D8-678C-73E3-4EF0AA112596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DCAF42B6-613E-BC31-B440-9E2A6AD2C4E3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CA73FC7-DC7A-8CAC-953D-4FA07CE7502A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8899493-FB39-27EB-B3C9-4819EA6551B6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1FBEE1DD-62E8-D405-8327-745748E5A71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D5383DB-7044-87F6-398D-F1448F90C1BF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61B3D47-EC48-E9F5-BC04-9BFCC048F072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80E5BEDE-0075-291F-A627-DCC49DE58EEA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D0FAB4FD-F945-0EC4-DD7C-4B4CA0BEDF2D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1E189B30-139A-3C4F-C794-ED6E64048E3F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FC7CEB64-718A-AA73-91EB-5CF17DA68D80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57CFFAE8-CDFC-245D-885F-003BC96B8310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7B12A386-3331-18E3-91F9-9BD37549F3DC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219EADD-46E9-CD94-927F-9F13632E320C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D04754C9-9853-3FF1-1EC1-49CC3B4D9AC2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33B0669-AFC8-B919-0363-EE711857B160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3CFE669A-2635-450D-0AD7-DDC56C56F78B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1C5A24DB-BE1C-4557-1D40-05B9E4AA0EC1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13A2414-6525-68F1-EAC3-5CEC87E72FE1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56DBD08D-98C8-2DD9-0948-D2245E2B415B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ADD541C1-C393-1B1C-58E9-37B6DC55B2E6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B097EE31-4575-7319-371C-190766A41F50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3BE5A0E2-283E-A156-05C3-377105192C19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4A01FD49-ABC3-70C9-A5D7-8ED309A23638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F5CE09F9-A2EA-7101-C828-55D150209C53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E81F50C-8CA7-34B8-882B-3706F02A6061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9" name="Graphic 48">
            <a:extLst>
              <a:ext uri="{FF2B5EF4-FFF2-40B4-BE49-F238E27FC236}">
                <a16:creationId xmlns:a16="http://schemas.microsoft.com/office/drawing/2014/main" id="{48FA6791-AD60-D6B8-D154-8B71914092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7520000">
            <a:off x="4299006" y="5855517"/>
            <a:ext cx="726440" cy="9144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9046FB4-819A-AA06-68EB-39ADF629CF6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3103" y="442968"/>
            <a:ext cx="1898903" cy="72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740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3317129"/>
            <a:ext cx="3108960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add 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E0358D3-AC90-494A-B98F-19BDE159DB8E}"/>
              </a:ext>
            </a:extLst>
          </p:cNvPr>
          <p:cNvCxnSpPr>
            <a:cxnSpLocks/>
          </p:cNvCxnSpPr>
          <p:nvPr userDrawn="1"/>
        </p:nvCxnSpPr>
        <p:spPr>
          <a:xfrm>
            <a:off x="3805843" y="1051560"/>
            <a:ext cx="0" cy="475488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3C623BC-A0F7-46D7-87A2-096962F1FEC4}"/>
              </a:ext>
            </a:extLst>
          </p:cNvPr>
          <p:cNvSpPr/>
          <p:nvPr userDrawn="1"/>
        </p:nvSpPr>
        <p:spPr>
          <a:xfrm flipH="1" flipV="1">
            <a:off x="510776" y="2887137"/>
            <a:ext cx="96012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3261691-7E98-456C-8945-F79E150DD66B}"/>
              </a:ext>
            </a:extLst>
          </p:cNvPr>
          <p:cNvSpPr/>
          <p:nvPr userDrawn="1"/>
        </p:nvSpPr>
        <p:spPr>
          <a:xfrm>
            <a:off x="490760" y="259080"/>
            <a:ext cx="1109440" cy="426721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10431AD-6A0B-4A59-8F14-809C8AA5B3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32965" y="2533884"/>
            <a:ext cx="7068498" cy="1790234"/>
          </a:xfrm>
        </p:spPr>
        <p:txBody>
          <a:bodyPr vert="horz" wrap="square" lIns="0" tIns="0" rIns="0" bIns="0" rtlCol="0" anchor="ctr" anchorCtr="0">
            <a:spAutoFit/>
          </a:bodyPr>
          <a:lstStyle>
            <a:lvl1pPr marL="457200" indent="-457200">
              <a:defRPr lang="en-US" sz="3600" dirty="0" smtClean="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4889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pictur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2D8954-180F-4C00-166C-FDD7C6AE7FC7}"/>
              </a:ext>
            </a:extLst>
          </p:cNvPr>
          <p:cNvSpPr/>
          <p:nvPr userDrawn="1"/>
        </p:nvSpPr>
        <p:spPr>
          <a:xfrm>
            <a:off x="1524" y="4992785"/>
            <a:ext cx="12188952" cy="1867974"/>
          </a:xfrm>
          <a:custGeom>
            <a:avLst/>
            <a:gdLst>
              <a:gd name="connsiteX0" fmla="*/ 0 w 12197654"/>
              <a:gd name="connsiteY0" fmla="*/ 0 h 1867974"/>
              <a:gd name="connsiteX1" fmla="*/ 2255000 w 12197654"/>
              <a:gd name="connsiteY1" fmla="*/ 0 h 1867974"/>
              <a:gd name="connsiteX2" fmla="*/ 2661240 w 12197654"/>
              <a:gd name="connsiteY2" fmla="*/ 203741 h 1867974"/>
              <a:gd name="connsiteX3" fmla="*/ 12197654 w 12197654"/>
              <a:gd name="connsiteY3" fmla="*/ 203741 h 1867974"/>
              <a:gd name="connsiteX4" fmla="*/ 12197654 w 12197654"/>
              <a:gd name="connsiteY4" fmla="*/ 1555826 h 1867974"/>
              <a:gd name="connsiteX5" fmla="*/ 12197523 w 12197654"/>
              <a:gd name="connsiteY5" fmla="*/ 1606796 h 1867974"/>
              <a:gd name="connsiteX6" fmla="*/ 12197654 w 12197654"/>
              <a:gd name="connsiteY6" fmla="*/ 1606796 h 1867974"/>
              <a:gd name="connsiteX7" fmla="*/ 12197654 w 12197654"/>
              <a:gd name="connsiteY7" fmla="*/ 1867974 h 1867974"/>
              <a:gd name="connsiteX8" fmla="*/ 0 w 12197654"/>
              <a:gd name="connsiteY8" fmla="*/ 1867974 h 1867974"/>
              <a:gd name="connsiteX9" fmla="*/ 0 w 12197654"/>
              <a:gd name="connsiteY9" fmla="*/ 1765823 h 1867974"/>
              <a:gd name="connsiteX10" fmla="*/ 0 w 12197654"/>
              <a:gd name="connsiteY10" fmla="*/ 1606796 h 1867974"/>
              <a:gd name="connsiteX11" fmla="*/ 0 w 12197654"/>
              <a:gd name="connsiteY11" fmla="*/ 0 h 1867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7654" h="1867974">
                <a:moveTo>
                  <a:pt x="0" y="0"/>
                </a:moveTo>
                <a:lnTo>
                  <a:pt x="2255000" y="0"/>
                </a:lnTo>
                <a:lnTo>
                  <a:pt x="2661240" y="203741"/>
                </a:lnTo>
                <a:lnTo>
                  <a:pt x="12197654" y="203741"/>
                </a:lnTo>
                <a:lnTo>
                  <a:pt x="12197654" y="1555826"/>
                </a:lnTo>
                <a:lnTo>
                  <a:pt x="12197523" y="1606796"/>
                </a:lnTo>
                <a:lnTo>
                  <a:pt x="12197654" y="1606796"/>
                </a:lnTo>
                <a:lnTo>
                  <a:pt x="12197654" y="1867974"/>
                </a:lnTo>
                <a:lnTo>
                  <a:pt x="0" y="1867974"/>
                </a:lnTo>
                <a:lnTo>
                  <a:pt x="0" y="1765823"/>
                </a:lnTo>
                <a:lnTo>
                  <a:pt x="0" y="1606796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6870" y="5570491"/>
            <a:ext cx="11558261" cy="553998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448D662-6523-4218-8C74-57E67EA487D2}"/>
              </a:ext>
            </a:extLst>
          </p:cNvPr>
          <p:cNvGrpSpPr/>
          <p:nvPr userDrawn="1"/>
        </p:nvGrpSpPr>
        <p:grpSpPr>
          <a:xfrm rot="5400000" flipH="1">
            <a:off x="962407" y="4366486"/>
            <a:ext cx="291600" cy="1831259"/>
            <a:chOff x="3543713" y="2978301"/>
            <a:chExt cx="478233" cy="307141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68EE3B7-86A3-46E4-8C18-4177BE6F23D3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6350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400A465-8170-4E06-8AC4-0B4E97C1BA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0" y="5048006"/>
              <a:ext cx="0" cy="1001713"/>
            </a:xfrm>
            <a:prstGeom prst="line">
              <a:avLst/>
            </a:prstGeom>
            <a:ln w="1270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0F3370D-BB7A-49E6-B98E-026D631B99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3" y="6037790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9FFB38F-5C8B-DF21-B268-D6E1CB3D3583}"/>
              </a:ext>
            </a:extLst>
          </p:cNvPr>
          <p:cNvGrpSpPr/>
          <p:nvPr userDrawn="1"/>
        </p:nvGrpSpPr>
        <p:grpSpPr>
          <a:xfrm rot="16200000" flipH="1">
            <a:off x="10924512" y="5417616"/>
            <a:ext cx="291600" cy="1828800"/>
            <a:chOff x="3543714" y="2978301"/>
            <a:chExt cx="478233" cy="3067294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D344055-2D39-69DD-25FB-827181CACA17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6350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5ACA586-8362-EFD0-676D-864900FF08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1270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556A9DF-5205-00C5-90FB-CC5179B05A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4" y="6041913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AD71F6-E09D-25DA-AF4B-0091A259BCCA}"/>
              </a:ext>
            </a:extLst>
          </p:cNvPr>
          <p:cNvSpPr/>
          <p:nvPr userDrawn="1"/>
        </p:nvSpPr>
        <p:spPr>
          <a:xfrm>
            <a:off x="3048" y="6624535"/>
            <a:ext cx="12188952" cy="233465"/>
          </a:xfrm>
          <a:custGeom>
            <a:avLst/>
            <a:gdLst>
              <a:gd name="connsiteX0" fmla="*/ 91135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233465 h 233465"/>
              <a:gd name="connsiteX3" fmla="*/ 9193089 w 12188952"/>
              <a:gd name="connsiteY3" fmla="*/ 233465 h 233465"/>
              <a:gd name="connsiteX4" fmla="*/ 1067788 w 12188952"/>
              <a:gd name="connsiteY4" fmla="*/ 233465 h 233465"/>
              <a:gd name="connsiteX5" fmla="*/ 34048 w 12188952"/>
              <a:gd name="connsiteY5" fmla="*/ 233465 h 233465"/>
              <a:gd name="connsiteX6" fmla="*/ 0 w 12188952"/>
              <a:gd name="connsiteY6" fmla="*/ 233465 h 233465"/>
              <a:gd name="connsiteX7" fmla="*/ 0 w 12188952"/>
              <a:gd name="connsiteY7" fmla="*/ 169375 h 233465"/>
              <a:gd name="connsiteX8" fmla="*/ 0 w 12188952"/>
              <a:gd name="connsiteY8" fmla="*/ 138901 h 233465"/>
              <a:gd name="connsiteX9" fmla="*/ 8102154 w 12188952"/>
              <a:gd name="connsiteY9" fmla="*/ 138901 h 233465"/>
              <a:gd name="connsiteX10" fmla="*/ 8867404 w 12188952"/>
              <a:gd name="connsiteY10" fmla="*/ 141641 h 233465"/>
              <a:gd name="connsiteX11" fmla="*/ 8872166 w 12188952"/>
              <a:gd name="connsiteY11" fmla="*/ 138901 h 233465"/>
              <a:gd name="connsiteX12" fmla="*/ 8877180 w 12188952"/>
              <a:gd name="connsiteY12" fmla="*/ 138901 h 233465"/>
              <a:gd name="connsiteX13" fmla="*/ 8877180 w 12188952"/>
              <a:gd name="connsiteY13" fmla="*/ 136016 h 233465"/>
              <a:gd name="connsiteX14" fmla="*/ 9113570 w 12188952"/>
              <a:gd name="connsiteY14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88952" h="233465">
                <a:moveTo>
                  <a:pt x="9113570" y="0"/>
                </a:moveTo>
                <a:lnTo>
                  <a:pt x="12188952" y="0"/>
                </a:lnTo>
                <a:lnTo>
                  <a:pt x="12188952" y="233465"/>
                </a:lnTo>
                <a:lnTo>
                  <a:pt x="9193089" y="233465"/>
                </a:lnTo>
                <a:lnTo>
                  <a:pt x="1067788" y="233465"/>
                </a:lnTo>
                <a:lnTo>
                  <a:pt x="34048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38901"/>
                </a:lnTo>
                <a:lnTo>
                  <a:pt x="8102154" y="138901"/>
                </a:lnTo>
                <a:lnTo>
                  <a:pt x="8867404" y="141641"/>
                </a:lnTo>
                <a:lnTo>
                  <a:pt x="8872166" y="138901"/>
                </a:lnTo>
                <a:lnTo>
                  <a:pt x="8877180" y="138901"/>
                </a:lnTo>
                <a:lnTo>
                  <a:pt x="8877180" y="136016"/>
                </a:lnTo>
                <a:lnTo>
                  <a:pt x="91135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08EFC9A3-DD65-012F-35F9-FF4F5A154E0B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1567159" y="6679711"/>
            <a:ext cx="45282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40000"/>
                    <a:lumOff val="60000"/>
                  </a:schemeClr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40000"/>
                  <a:lumOff val="60000"/>
                </a:schemeClr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C31322FB-E72D-10EB-2AAD-D3DBFEEF7769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1567159" y="6633988"/>
            <a:ext cx="45282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3ADCF-62CE-FC90-00EB-ABC6D1FD21D9}"/>
              </a:ext>
            </a:extLst>
          </p:cNvPr>
          <p:cNvSpPr/>
          <p:nvPr userDrawn="1"/>
        </p:nvSpPr>
        <p:spPr>
          <a:xfrm>
            <a:off x="3048" y="6767576"/>
            <a:ext cx="12188952" cy="1005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E65764-A308-7C26-F8C6-EA3500908854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75581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pictur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2D8954-180F-4C00-166C-FDD7C6AE7FC7}"/>
              </a:ext>
            </a:extLst>
          </p:cNvPr>
          <p:cNvSpPr/>
          <p:nvPr userDrawn="1"/>
        </p:nvSpPr>
        <p:spPr>
          <a:xfrm>
            <a:off x="1524" y="4992785"/>
            <a:ext cx="12188952" cy="1867974"/>
          </a:xfrm>
          <a:custGeom>
            <a:avLst/>
            <a:gdLst>
              <a:gd name="connsiteX0" fmla="*/ 0 w 12197654"/>
              <a:gd name="connsiteY0" fmla="*/ 0 h 1867974"/>
              <a:gd name="connsiteX1" fmla="*/ 2255000 w 12197654"/>
              <a:gd name="connsiteY1" fmla="*/ 0 h 1867974"/>
              <a:gd name="connsiteX2" fmla="*/ 2661240 w 12197654"/>
              <a:gd name="connsiteY2" fmla="*/ 203741 h 1867974"/>
              <a:gd name="connsiteX3" fmla="*/ 12197654 w 12197654"/>
              <a:gd name="connsiteY3" fmla="*/ 203741 h 1867974"/>
              <a:gd name="connsiteX4" fmla="*/ 12197654 w 12197654"/>
              <a:gd name="connsiteY4" fmla="*/ 1555826 h 1867974"/>
              <a:gd name="connsiteX5" fmla="*/ 12197523 w 12197654"/>
              <a:gd name="connsiteY5" fmla="*/ 1606796 h 1867974"/>
              <a:gd name="connsiteX6" fmla="*/ 12197654 w 12197654"/>
              <a:gd name="connsiteY6" fmla="*/ 1606796 h 1867974"/>
              <a:gd name="connsiteX7" fmla="*/ 12197654 w 12197654"/>
              <a:gd name="connsiteY7" fmla="*/ 1867974 h 1867974"/>
              <a:gd name="connsiteX8" fmla="*/ 0 w 12197654"/>
              <a:gd name="connsiteY8" fmla="*/ 1867974 h 1867974"/>
              <a:gd name="connsiteX9" fmla="*/ 0 w 12197654"/>
              <a:gd name="connsiteY9" fmla="*/ 1765823 h 1867974"/>
              <a:gd name="connsiteX10" fmla="*/ 0 w 12197654"/>
              <a:gd name="connsiteY10" fmla="*/ 1606796 h 1867974"/>
              <a:gd name="connsiteX11" fmla="*/ 0 w 12197654"/>
              <a:gd name="connsiteY11" fmla="*/ 0 h 1867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7654" h="1867974">
                <a:moveTo>
                  <a:pt x="0" y="0"/>
                </a:moveTo>
                <a:lnTo>
                  <a:pt x="2255000" y="0"/>
                </a:lnTo>
                <a:lnTo>
                  <a:pt x="2661240" y="203741"/>
                </a:lnTo>
                <a:lnTo>
                  <a:pt x="12197654" y="203741"/>
                </a:lnTo>
                <a:lnTo>
                  <a:pt x="12197654" y="1555826"/>
                </a:lnTo>
                <a:lnTo>
                  <a:pt x="12197523" y="1606796"/>
                </a:lnTo>
                <a:lnTo>
                  <a:pt x="12197654" y="1606796"/>
                </a:lnTo>
                <a:lnTo>
                  <a:pt x="12197654" y="1867974"/>
                </a:lnTo>
                <a:lnTo>
                  <a:pt x="0" y="1867974"/>
                </a:lnTo>
                <a:lnTo>
                  <a:pt x="0" y="1765823"/>
                </a:lnTo>
                <a:lnTo>
                  <a:pt x="0" y="1606796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6870" y="5570491"/>
            <a:ext cx="11558261" cy="553998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448D662-6523-4218-8C74-57E67EA487D2}"/>
              </a:ext>
            </a:extLst>
          </p:cNvPr>
          <p:cNvGrpSpPr/>
          <p:nvPr userDrawn="1"/>
        </p:nvGrpSpPr>
        <p:grpSpPr>
          <a:xfrm rot="5400000" flipH="1">
            <a:off x="962407" y="4366486"/>
            <a:ext cx="291600" cy="1831259"/>
            <a:chOff x="3543713" y="2978301"/>
            <a:chExt cx="478233" cy="307141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68EE3B7-86A3-46E4-8C18-4177BE6F23D3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6350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400A465-8170-4E06-8AC4-0B4E97C1BA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0" y="5048006"/>
              <a:ext cx="0" cy="1001713"/>
            </a:xfrm>
            <a:prstGeom prst="line">
              <a:avLst/>
            </a:prstGeom>
            <a:ln w="1270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0F3370D-BB7A-49E6-B98E-026D631B99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3" y="6037790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9FFB38F-5C8B-DF21-B268-D6E1CB3D3583}"/>
              </a:ext>
            </a:extLst>
          </p:cNvPr>
          <p:cNvGrpSpPr/>
          <p:nvPr userDrawn="1"/>
        </p:nvGrpSpPr>
        <p:grpSpPr>
          <a:xfrm rot="16200000" flipH="1">
            <a:off x="10924512" y="5417616"/>
            <a:ext cx="291600" cy="1828800"/>
            <a:chOff x="3543714" y="2978301"/>
            <a:chExt cx="478233" cy="3067294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D344055-2D39-69DD-25FB-827181CACA17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6350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5ACA586-8362-EFD0-676D-864900FF08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1270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556A9DF-5205-00C5-90FB-CC5179B05A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4" y="6041913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AD71F6-E09D-25DA-AF4B-0091A259BCCA}"/>
              </a:ext>
            </a:extLst>
          </p:cNvPr>
          <p:cNvSpPr/>
          <p:nvPr userDrawn="1"/>
        </p:nvSpPr>
        <p:spPr>
          <a:xfrm>
            <a:off x="3048" y="6624535"/>
            <a:ext cx="12188952" cy="233465"/>
          </a:xfrm>
          <a:custGeom>
            <a:avLst/>
            <a:gdLst>
              <a:gd name="connsiteX0" fmla="*/ 91135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233465 h 233465"/>
              <a:gd name="connsiteX3" fmla="*/ 9193089 w 12188952"/>
              <a:gd name="connsiteY3" fmla="*/ 233465 h 233465"/>
              <a:gd name="connsiteX4" fmla="*/ 1067788 w 12188952"/>
              <a:gd name="connsiteY4" fmla="*/ 233465 h 233465"/>
              <a:gd name="connsiteX5" fmla="*/ 34048 w 12188952"/>
              <a:gd name="connsiteY5" fmla="*/ 233465 h 233465"/>
              <a:gd name="connsiteX6" fmla="*/ 0 w 12188952"/>
              <a:gd name="connsiteY6" fmla="*/ 233465 h 233465"/>
              <a:gd name="connsiteX7" fmla="*/ 0 w 12188952"/>
              <a:gd name="connsiteY7" fmla="*/ 169375 h 233465"/>
              <a:gd name="connsiteX8" fmla="*/ 0 w 12188952"/>
              <a:gd name="connsiteY8" fmla="*/ 138901 h 233465"/>
              <a:gd name="connsiteX9" fmla="*/ 8102154 w 12188952"/>
              <a:gd name="connsiteY9" fmla="*/ 138901 h 233465"/>
              <a:gd name="connsiteX10" fmla="*/ 8867404 w 12188952"/>
              <a:gd name="connsiteY10" fmla="*/ 141641 h 233465"/>
              <a:gd name="connsiteX11" fmla="*/ 8872166 w 12188952"/>
              <a:gd name="connsiteY11" fmla="*/ 138901 h 233465"/>
              <a:gd name="connsiteX12" fmla="*/ 8877180 w 12188952"/>
              <a:gd name="connsiteY12" fmla="*/ 138901 h 233465"/>
              <a:gd name="connsiteX13" fmla="*/ 8877180 w 12188952"/>
              <a:gd name="connsiteY13" fmla="*/ 136016 h 233465"/>
              <a:gd name="connsiteX14" fmla="*/ 9113570 w 12188952"/>
              <a:gd name="connsiteY14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88952" h="233465">
                <a:moveTo>
                  <a:pt x="9113570" y="0"/>
                </a:moveTo>
                <a:lnTo>
                  <a:pt x="12188952" y="0"/>
                </a:lnTo>
                <a:lnTo>
                  <a:pt x="12188952" y="233465"/>
                </a:lnTo>
                <a:lnTo>
                  <a:pt x="9193089" y="233465"/>
                </a:lnTo>
                <a:lnTo>
                  <a:pt x="1067788" y="233465"/>
                </a:lnTo>
                <a:lnTo>
                  <a:pt x="34048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38901"/>
                </a:lnTo>
                <a:lnTo>
                  <a:pt x="8102154" y="138901"/>
                </a:lnTo>
                <a:lnTo>
                  <a:pt x="8867404" y="141641"/>
                </a:lnTo>
                <a:lnTo>
                  <a:pt x="8872166" y="138901"/>
                </a:lnTo>
                <a:lnTo>
                  <a:pt x="8877180" y="138901"/>
                </a:lnTo>
                <a:lnTo>
                  <a:pt x="8877180" y="136016"/>
                </a:lnTo>
                <a:lnTo>
                  <a:pt x="91135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08EFC9A3-DD65-012F-35F9-FF4F5A154E0B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1567159" y="6679711"/>
            <a:ext cx="45282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40000"/>
                    <a:lumOff val="60000"/>
                  </a:schemeClr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40000"/>
                  <a:lumOff val="60000"/>
                </a:schemeClr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58672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42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7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43" Type="http://schemas.openxmlformats.org/officeDocument/2006/relationships/image" Target="../media/image6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83" imgH="384" progId="TCLayout.ActiveDocument.1">
                  <p:embed/>
                </p:oleObj>
              </mc:Choice>
              <mc:Fallback>
                <p:oleObj name="think-cell Slide" r:id="rId3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709928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CD2066A-3AAA-4679-6307-6D4C0B5B1912}"/>
              </a:ext>
            </a:extLst>
          </p:cNvPr>
          <p:cNvSpPr/>
          <p:nvPr userDrawn="1"/>
        </p:nvSpPr>
        <p:spPr>
          <a:xfrm>
            <a:off x="3048" y="6624535"/>
            <a:ext cx="12188952" cy="233465"/>
          </a:xfrm>
          <a:custGeom>
            <a:avLst/>
            <a:gdLst>
              <a:gd name="connsiteX0" fmla="*/ 91135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233465 h 233465"/>
              <a:gd name="connsiteX3" fmla="*/ 9193089 w 12188952"/>
              <a:gd name="connsiteY3" fmla="*/ 233465 h 233465"/>
              <a:gd name="connsiteX4" fmla="*/ 1067788 w 12188952"/>
              <a:gd name="connsiteY4" fmla="*/ 233465 h 233465"/>
              <a:gd name="connsiteX5" fmla="*/ 34048 w 12188952"/>
              <a:gd name="connsiteY5" fmla="*/ 233465 h 233465"/>
              <a:gd name="connsiteX6" fmla="*/ 0 w 12188952"/>
              <a:gd name="connsiteY6" fmla="*/ 233465 h 233465"/>
              <a:gd name="connsiteX7" fmla="*/ 0 w 12188952"/>
              <a:gd name="connsiteY7" fmla="*/ 169375 h 233465"/>
              <a:gd name="connsiteX8" fmla="*/ 0 w 12188952"/>
              <a:gd name="connsiteY8" fmla="*/ 138901 h 233465"/>
              <a:gd name="connsiteX9" fmla="*/ 8102154 w 12188952"/>
              <a:gd name="connsiteY9" fmla="*/ 138901 h 233465"/>
              <a:gd name="connsiteX10" fmla="*/ 8867404 w 12188952"/>
              <a:gd name="connsiteY10" fmla="*/ 141641 h 233465"/>
              <a:gd name="connsiteX11" fmla="*/ 8872166 w 12188952"/>
              <a:gd name="connsiteY11" fmla="*/ 138901 h 233465"/>
              <a:gd name="connsiteX12" fmla="*/ 8877180 w 12188952"/>
              <a:gd name="connsiteY12" fmla="*/ 138901 h 233465"/>
              <a:gd name="connsiteX13" fmla="*/ 8877180 w 12188952"/>
              <a:gd name="connsiteY13" fmla="*/ 136016 h 233465"/>
              <a:gd name="connsiteX14" fmla="*/ 9113570 w 12188952"/>
              <a:gd name="connsiteY14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88952" h="233465">
                <a:moveTo>
                  <a:pt x="9113570" y="0"/>
                </a:moveTo>
                <a:lnTo>
                  <a:pt x="12188952" y="0"/>
                </a:lnTo>
                <a:lnTo>
                  <a:pt x="12188952" y="233465"/>
                </a:lnTo>
                <a:lnTo>
                  <a:pt x="9193089" y="233465"/>
                </a:lnTo>
                <a:lnTo>
                  <a:pt x="1067788" y="233465"/>
                </a:lnTo>
                <a:lnTo>
                  <a:pt x="34048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38901"/>
                </a:lnTo>
                <a:lnTo>
                  <a:pt x="8102154" y="138901"/>
                </a:lnTo>
                <a:lnTo>
                  <a:pt x="8867404" y="141641"/>
                </a:lnTo>
                <a:lnTo>
                  <a:pt x="8872166" y="138901"/>
                </a:lnTo>
                <a:lnTo>
                  <a:pt x="8877180" y="138901"/>
                </a:lnTo>
                <a:lnTo>
                  <a:pt x="8877180" y="136016"/>
                </a:lnTo>
                <a:lnTo>
                  <a:pt x="91135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1567159" y="6679711"/>
            <a:ext cx="45282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40000"/>
                    <a:lumOff val="60000"/>
                  </a:schemeClr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40000"/>
                  <a:lumOff val="60000"/>
                </a:schemeClr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4157" r:id="rId2"/>
    <p:sldLayoutId id="2147484277" r:id="rId3"/>
    <p:sldLayoutId id="2147484276" r:id="rId4"/>
    <p:sldLayoutId id="2147484059" r:id="rId5"/>
    <p:sldLayoutId id="2147483963" r:id="rId6"/>
    <p:sldLayoutId id="2147483654" r:id="rId7"/>
    <p:sldLayoutId id="2147484218" r:id="rId8"/>
    <p:sldLayoutId id="2147484278" r:id="rId9"/>
    <p:sldLayoutId id="2147484063" r:id="rId10"/>
    <p:sldLayoutId id="2147484001" r:id="rId11"/>
    <p:sldLayoutId id="2147484002" r:id="rId12"/>
    <p:sldLayoutId id="2147483972" r:id="rId13"/>
    <p:sldLayoutId id="2147483938" r:id="rId14"/>
    <p:sldLayoutId id="2147484231" r:id="rId15"/>
    <p:sldLayoutId id="2147484271" r:id="rId16"/>
    <p:sldLayoutId id="2147483652" r:id="rId17"/>
    <p:sldLayoutId id="2147483653" r:id="rId18"/>
    <p:sldLayoutId id="2147483998" r:id="rId19"/>
    <p:sldLayoutId id="2147483999" r:id="rId20"/>
    <p:sldLayoutId id="2147484000" r:id="rId21"/>
    <p:sldLayoutId id="2147484114" r:id="rId22"/>
    <p:sldLayoutId id="2147484212" r:id="rId23"/>
    <p:sldLayoutId id="2147484227" r:id="rId24"/>
    <p:sldLayoutId id="2147484228" r:id="rId25"/>
    <p:sldLayoutId id="2147484220" r:id="rId26"/>
    <p:sldLayoutId id="2147483956" r:id="rId27"/>
    <p:sldLayoutId id="2147483992" r:id="rId28"/>
    <p:sldLayoutId id="2147484060" r:id="rId29"/>
    <p:sldLayoutId id="2147484054" r:id="rId30"/>
    <p:sldLayoutId id="2147484062" r:id="rId31"/>
    <p:sldLayoutId id="2147484274" r:id="rId32"/>
    <p:sldLayoutId id="2147484272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41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88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4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43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41732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44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41.svg"/><Relationship Id="rId21" Type="http://schemas.openxmlformats.org/officeDocument/2006/relationships/image" Target="../media/image336.png"/><Relationship Id="rId42" Type="http://schemas.openxmlformats.org/officeDocument/2006/relationships/image" Target="../media/image357.svg"/><Relationship Id="rId47" Type="http://schemas.openxmlformats.org/officeDocument/2006/relationships/image" Target="../media/image362.png"/><Relationship Id="rId63" Type="http://schemas.openxmlformats.org/officeDocument/2006/relationships/image" Target="../media/image378.png"/><Relationship Id="rId68" Type="http://schemas.openxmlformats.org/officeDocument/2006/relationships/image" Target="../media/image383.svg"/><Relationship Id="rId7" Type="http://schemas.openxmlformats.org/officeDocument/2006/relationships/image" Target="../media/image322.png"/><Relationship Id="rId71" Type="http://schemas.openxmlformats.org/officeDocument/2006/relationships/image" Target="../media/image386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331.svg"/><Relationship Id="rId29" Type="http://schemas.openxmlformats.org/officeDocument/2006/relationships/image" Target="../media/image344.png"/><Relationship Id="rId11" Type="http://schemas.openxmlformats.org/officeDocument/2006/relationships/image" Target="../media/image326.png"/><Relationship Id="rId24" Type="http://schemas.openxmlformats.org/officeDocument/2006/relationships/image" Target="../media/image339.svg"/><Relationship Id="rId32" Type="http://schemas.openxmlformats.org/officeDocument/2006/relationships/image" Target="../media/image347.svg"/><Relationship Id="rId37" Type="http://schemas.openxmlformats.org/officeDocument/2006/relationships/image" Target="../media/image352.png"/><Relationship Id="rId40" Type="http://schemas.openxmlformats.org/officeDocument/2006/relationships/image" Target="../media/image355.svg"/><Relationship Id="rId45" Type="http://schemas.openxmlformats.org/officeDocument/2006/relationships/image" Target="../media/image360.png"/><Relationship Id="rId53" Type="http://schemas.openxmlformats.org/officeDocument/2006/relationships/image" Target="../media/image368.png"/><Relationship Id="rId58" Type="http://schemas.openxmlformats.org/officeDocument/2006/relationships/image" Target="../media/image373.svg"/><Relationship Id="rId66" Type="http://schemas.openxmlformats.org/officeDocument/2006/relationships/image" Target="../media/image381.svg"/><Relationship Id="rId5" Type="http://schemas.openxmlformats.org/officeDocument/2006/relationships/image" Target="../media/image320.png"/><Relationship Id="rId61" Type="http://schemas.openxmlformats.org/officeDocument/2006/relationships/image" Target="../media/image376.png"/><Relationship Id="rId19" Type="http://schemas.openxmlformats.org/officeDocument/2006/relationships/image" Target="../media/image334.png"/><Relationship Id="rId14" Type="http://schemas.openxmlformats.org/officeDocument/2006/relationships/image" Target="../media/image329.svg"/><Relationship Id="rId22" Type="http://schemas.openxmlformats.org/officeDocument/2006/relationships/image" Target="../media/image337.svg"/><Relationship Id="rId27" Type="http://schemas.openxmlformats.org/officeDocument/2006/relationships/image" Target="../media/image342.png"/><Relationship Id="rId30" Type="http://schemas.openxmlformats.org/officeDocument/2006/relationships/image" Target="../media/image345.svg"/><Relationship Id="rId35" Type="http://schemas.openxmlformats.org/officeDocument/2006/relationships/image" Target="../media/image350.png"/><Relationship Id="rId43" Type="http://schemas.openxmlformats.org/officeDocument/2006/relationships/image" Target="../media/image358.png"/><Relationship Id="rId48" Type="http://schemas.openxmlformats.org/officeDocument/2006/relationships/image" Target="../media/image363.svg"/><Relationship Id="rId56" Type="http://schemas.openxmlformats.org/officeDocument/2006/relationships/image" Target="../media/image371.svg"/><Relationship Id="rId64" Type="http://schemas.openxmlformats.org/officeDocument/2006/relationships/image" Target="../media/image379.svg"/><Relationship Id="rId69" Type="http://schemas.openxmlformats.org/officeDocument/2006/relationships/image" Target="../media/image384.png"/><Relationship Id="rId8" Type="http://schemas.openxmlformats.org/officeDocument/2006/relationships/image" Target="../media/image323.svg"/><Relationship Id="rId51" Type="http://schemas.openxmlformats.org/officeDocument/2006/relationships/image" Target="../media/image366.png"/><Relationship Id="rId72" Type="http://schemas.openxmlformats.org/officeDocument/2006/relationships/image" Target="../media/image387.svg"/><Relationship Id="rId3" Type="http://schemas.openxmlformats.org/officeDocument/2006/relationships/image" Target="../media/image318.png"/><Relationship Id="rId12" Type="http://schemas.openxmlformats.org/officeDocument/2006/relationships/image" Target="../media/image327.svg"/><Relationship Id="rId17" Type="http://schemas.openxmlformats.org/officeDocument/2006/relationships/image" Target="../media/image332.png"/><Relationship Id="rId25" Type="http://schemas.openxmlformats.org/officeDocument/2006/relationships/image" Target="../media/image340.png"/><Relationship Id="rId33" Type="http://schemas.openxmlformats.org/officeDocument/2006/relationships/image" Target="../media/image348.png"/><Relationship Id="rId38" Type="http://schemas.openxmlformats.org/officeDocument/2006/relationships/image" Target="../media/image353.svg"/><Relationship Id="rId46" Type="http://schemas.openxmlformats.org/officeDocument/2006/relationships/image" Target="../media/image361.svg"/><Relationship Id="rId59" Type="http://schemas.openxmlformats.org/officeDocument/2006/relationships/image" Target="../media/image374.png"/><Relationship Id="rId67" Type="http://schemas.openxmlformats.org/officeDocument/2006/relationships/image" Target="../media/image382.png"/><Relationship Id="rId20" Type="http://schemas.openxmlformats.org/officeDocument/2006/relationships/image" Target="../media/image335.svg"/><Relationship Id="rId41" Type="http://schemas.openxmlformats.org/officeDocument/2006/relationships/image" Target="../media/image356.png"/><Relationship Id="rId54" Type="http://schemas.openxmlformats.org/officeDocument/2006/relationships/image" Target="../media/image369.svg"/><Relationship Id="rId62" Type="http://schemas.openxmlformats.org/officeDocument/2006/relationships/image" Target="../media/image377.svg"/><Relationship Id="rId70" Type="http://schemas.openxmlformats.org/officeDocument/2006/relationships/image" Target="../media/image385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1.svg"/><Relationship Id="rId15" Type="http://schemas.openxmlformats.org/officeDocument/2006/relationships/image" Target="../media/image330.png"/><Relationship Id="rId23" Type="http://schemas.openxmlformats.org/officeDocument/2006/relationships/image" Target="../media/image338.png"/><Relationship Id="rId28" Type="http://schemas.openxmlformats.org/officeDocument/2006/relationships/image" Target="../media/image343.svg"/><Relationship Id="rId36" Type="http://schemas.openxmlformats.org/officeDocument/2006/relationships/image" Target="../media/image351.svg"/><Relationship Id="rId49" Type="http://schemas.openxmlformats.org/officeDocument/2006/relationships/image" Target="../media/image364.png"/><Relationship Id="rId57" Type="http://schemas.openxmlformats.org/officeDocument/2006/relationships/image" Target="../media/image372.png"/><Relationship Id="rId10" Type="http://schemas.openxmlformats.org/officeDocument/2006/relationships/image" Target="../media/image325.svg"/><Relationship Id="rId31" Type="http://schemas.openxmlformats.org/officeDocument/2006/relationships/image" Target="../media/image346.png"/><Relationship Id="rId44" Type="http://schemas.openxmlformats.org/officeDocument/2006/relationships/image" Target="../media/image359.svg"/><Relationship Id="rId52" Type="http://schemas.openxmlformats.org/officeDocument/2006/relationships/image" Target="../media/image367.svg"/><Relationship Id="rId60" Type="http://schemas.openxmlformats.org/officeDocument/2006/relationships/image" Target="../media/image375.svg"/><Relationship Id="rId65" Type="http://schemas.openxmlformats.org/officeDocument/2006/relationships/image" Target="../media/image380.png"/><Relationship Id="rId4" Type="http://schemas.openxmlformats.org/officeDocument/2006/relationships/image" Target="../media/image319.svg"/><Relationship Id="rId9" Type="http://schemas.openxmlformats.org/officeDocument/2006/relationships/image" Target="../media/image324.png"/><Relationship Id="rId13" Type="http://schemas.openxmlformats.org/officeDocument/2006/relationships/image" Target="../media/image328.png"/><Relationship Id="rId18" Type="http://schemas.openxmlformats.org/officeDocument/2006/relationships/image" Target="../media/image333.svg"/><Relationship Id="rId39" Type="http://schemas.openxmlformats.org/officeDocument/2006/relationships/image" Target="../media/image354.png"/><Relationship Id="rId34" Type="http://schemas.openxmlformats.org/officeDocument/2006/relationships/image" Target="../media/image349.svg"/><Relationship Id="rId50" Type="http://schemas.openxmlformats.org/officeDocument/2006/relationships/image" Target="../media/image365.svg"/><Relationship Id="rId55" Type="http://schemas.openxmlformats.org/officeDocument/2006/relationships/image" Target="../media/image370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98.png"/><Relationship Id="rId18" Type="http://schemas.openxmlformats.org/officeDocument/2006/relationships/image" Target="../media/image403.svg"/><Relationship Id="rId26" Type="http://schemas.openxmlformats.org/officeDocument/2006/relationships/image" Target="../media/image411.svg"/><Relationship Id="rId39" Type="http://schemas.openxmlformats.org/officeDocument/2006/relationships/image" Target="../media/image424.png"/><Relationship Id="rId21" Type="http://schemas.openxmlformats.org/officeDocument/2006/relationships/image" Target="../media/image406.png"/><Relationship Id="rId34" Type="http://schemas.openxmlformats.org/officeDocument/2006/relationships/image" Target="../media/image419.svg"/><Relationship Id="rId42" Type="http://schemas.openxmlformats.org/officeDocument/2006/relationships/image" Target="../media/image69.svg"/><Relationship Id="rId47" Type="http://schemas.openxmlformats.org/officeDocument/2006/relationships/image" Target="../media/image430.png"/><Relationship Id="rId50" Type="http://schemas.openxmlformats.org/officeDocument/2006/relationships/image" Target="../media/image433.svg"/><Relationship Id="rId55" Type="http://schemas.openxmlformats.org/officeDocument/2006/relationships/image" Target="../media/image438.png"/><Relationship Id="rId7" Type="http://schemas.openxmlformats.org/officeDocument/2006/relationships/image" Target="../media/image392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01.svg"/><Relationship Id="rId29" Type="http://schemas.openxmlformats.org/officeDocument/2006/relationships/image" Target="../media/image414.png"/><Relationship Id="rId11" Type="http://schemas.openxmlformats.org/officeDocument/2006/relationships/image" Target="../media/image396.png"/><Relationship Id="rId24" Type="http://schemas.openxmlformats.org/officeDocument/2006/relationships/image" Target="../media/image409.svg"/><Relationship Id="rId32" Type="http://schemas.openxmlformats.org/officeDocument/2006/relationships/image" Target="../media/image417.svg"/><Relationship Id="rId37" Type="http://schemas.openxmlformats.org/officeDocument/2006/relationships/image" Target="../media/image422.png"/><Relationship Id="rId40" Type="http://schemas.openxmlformats.org/officeDocument/2006/relationships/image" Target="../media/image425.svg"/><Relationship Id="rId45" Type="http://schemas.openxmlformats.org/officeDocument/2006/relationships/image" Target="../media/image428.png"/><Relationship Id="rId53" Type="http://schemas.openxmlformats.org/officeDocument/2006/relationships/image" Target="../media/image436.png"/><Relationship Id="rId58" Type="http://schemas.openxmlformats.org/officeDocument/2006/relationships/image" Target="../media/image441.svg"/><Relationship Id="rId5" Type="http://schemas.openxmlformats.org/officeDocument/2006/relationships/image" Target="../media/image390.png"/><Relationship Id="rId19" Type="http://schemas.openxmlformats.org/officeDocument/2006/relationships/image" Target="../media/image404.png"/><Relationship Id="rId4" Type="http://schemas.openxmlformats.org/officeDocument/2006/relationships/image" Target="../media/image389.svg"/><Relationship Id="rId9" Type="http://schemas.openxmlformats.org/officeDocument/2006/relationships/image" Target="../media/image394.png"/><Relationship Id="rId14" Type="http://schemas.openxmlformats.org/officeDocument/2006/relationships/image" Target="../media/image399.svg"/><Relationship Id="rId22" Type="http://schemas.openxmlformats.org/officeDocument/2006/relationships/image" Target="../media/image407.svg"/><Relationship Id="rId27" Type="http://schemas.openxmlformats.org/officeDocument/2006/relationships/image" Target="../media/image412.png"/><Relationship Id="rId30" Type="http://schemas.openxmlformats.org/officeDocument/2006/relationships/image" Target="../media/image415.svg"/><Relationship Id="rId35" Type="http://schemas.openxmlformats.org/officeDocument/2006/relationships/image" Target="../media/image420.png"/><Relationship Id="rId43" Type="http://schemas.openxmlformats.org/officeDocument/2006/relationships/image" Target="../media/image426.png"/><Relationship Id="rId48" Type="http://schemas.openxmlformats.org/officeDocument/2006/relationships/image" Target="../media/image431.svg"/><Relationship Id="rId56" Type="http://schemas.openxmlformats.org/officeDocument/2006/relationships/image" Target="../media/image439.svg"/><Relationship Id="rId8" Type="http://schemas.openxmlformats.org/officeDocument/2006/relationships/image" Target="../media/image393.svg"/><Relationship Id="rId51" Type="http://schemas.openxmlformats.org/officeDocument/2006/relationships/image" Target="../media/image434.png"/><Relationship Id="rId3" Type="http://schemas.openxmlformats.org/officeDocument/2006/relationships/image" Target="../media/image388.png"/><Relationship Id="rId12" Type="http://schemas.openxmlformats.org/officeDocument/2006/relationships/image" Target="../media/image397.svg"/><Relationship Id="rId17" Type="http://schemas.openxmlformats.org/officeDocument/2006/relationships/image" Target="../media/image402.png"/><Relationship Id="rId25" Type="http://schemas.openxmlformats.org/officeDocument/2006/relationships/image" Target="../media/image410.png"/><Relationship Id="rId33" Type="http://schemas.openxmlformats.org/officeDocument/2006/relationships/image" Target="../media/image418.png"/><Relationship Id="rId38" Type="http://schemas.openxmlformats.org/officeDocument/2006/relationships/image" Target="../media/image423.svg"/><Relationship Id="rId46" Type="http://schemas.openxmlformats.org/officeDocument/2006/relationships/image" Target="../media/image429.svg"/><Relationship Id="rId59" Type="http://schemas.openxmlformats.org/officeDocument/2006/relationships/image" Target="../media/image442.png"/><Relationship Id="rId20" Type="http://schemas.openxmlformats.org/officeDocument/2006/relationships/image" Target="../media/image405.svg"/><Relationship Id="rId41" Type="http://schemas.openxmlformats.org/officeDocument/2006/relationships/image" Target="../media/image68.png"/><Relationship Id="rId54" Type="http://schemas.openxmlformats.org/officeDocument/2006/relationships/image" Target="../media/image437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1.svg"/><Relationship Id="rId15" Type="http://schemas.openxmlformats.org/officeDocument/2006/relationships/image" Target="../media/image400.png"/><Relationship Id="rId23" Type="http://schemas.openxmlformats.org/officeDocument/2006/relationships/image" Target="../media/image408.png"/><Relationship Id="rId28" Type="http://schemas.openxmlformats.org/officeDocument/2006/relationships/image" Target="../media/image413.svg"/><Relationship Id="rId36" Type="http://schemas.openxmlformats.org/officeDocument/2006/relationships/image" Target="../media/image421.svg"/><Relationship Id="rId49" Type="http://schemas.openxmlformats.org/officeDocument/2006/relationships/image" Target="../media/image432.png"/><Relationship Id="rId57" Type="http://schemas.openxmlformats.org/officeDocument/2006/relationships/image" Target="../media/image440.png"/><Relationship Id="rId10" Type="http://schemas.openxmlformats.org/officeDocument/2006/relationships/image" Target="../media/image395.svg"/><Relationship Id="rId31" Type="http://schemas.openxmlformats.org/officeDocument/2006/relationships/image" Target="../media/image416.png"/><Relationship Id="rId44" Type="http://schemas.openxmlformats.org/officeDocument/2006/relationships/image" Target="../media/image427.svg"/><Relationship Id="rId52" Type="http://schemas.openxmlformats.org/officeDocument/2006/relationships/image" Target="../media/image435.svg"/><Relationship Id="rId60" Type="http://schemas.openxmlformats.org/officeDocument/2006/relationships/image" Target="../media/image443.svg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467.svg"/><Relationship Id="rId21" Type="http://schemas.openxmlformats.org/officeDocument/2006/relationships/image" Target="../media/image462.png"/><Relationship Id="rId42" Type="http://schemas.openxmlformats.org/officeDocument/2006/relationships/image" Target="../media/image483.svg"/><Relationship Id="rId47" Type="http://schemas.openxmlformats.org/officeDocument/2006/relationships/image" Target="../media/image488.png"/><Relationship Id="rId63" Type="http://schemas.openxmlformats.org/officeDocument/2006/relationships/image" Target="../media/image504.png"/><Relationship Id="rId68" Type="http://schemas.openxmlformats.org/officeDocument/2006/relationships/image" Target="../media/image509.svg"/><Relationship Id="rId16" Type="http://schemas.openxmlformats.org/officeDocument/2006/relationships/image" Target="../media/image457.svg"/><Relationship Id="rId11" Type="http://schemas.openxmlformats.org/officeDocument/2006/relationships/image" Target="../media/image452.png"/><Relationship Id="rId24" Type="http://schemas.openxmlformats.org/officeDocument/2006/relationships/image" Target="../media/image465.svg"/><Relationship Id="rId32" Type="http://schemas.openxmlformats.org/officeDocument/2006/relationships/image" Target="../media/image473.svg"/><Relationship Id="rId37" Type="http://schemas.openxmlformats.org/officeDocument/2006/relationships/image" Target="../media/image478.png"/><Relationship Id="rId40" Type="http://schemas.openxmlformats.org/officeDocument/2006/relationships/image" Target="../media/image481.svg"/><Relationship Id="rId45" Type="http://schemas.openxmlformats.org/officeDocument/2006/relationships/image" Target="../media/image486.png"/><Relationship Id="rId53" Type="http://schemas.openxmlformats.org/officeDocument/2006/relationships/image" Target="../media/image494.png"/><Relationship Id="rId58" Type="http://schemas.openxmlformats.org/officeDocument/2006/relationships/image" Target="../media/image499.svg"/><Relationship Id="rId66" Type="http://schemas.openxmlformats.org/officeDocument/2006/relationships/image" Target="../media/image507.svg"/><Relationship Id="rId74" Type="http://schemas.openxmlformats.org/officeDocument/2006/relationships/image" Target="../media/image515.svg"/><Relationship Id="rId79" Type="http://schemas.openxmlformats.org/officeDocument/2006/relationships/image" Target="../media/image520.png"/><Relationship Id="rId5" Type="http://schemas.openxmlformats.org/officeDocument/2006/relationships/image" Target="../media/image446.png"/><Relationship Id="rId61" Type="http://schemas.openxmlformats.org/officeDocument/2006/relationships/image" Target="../media/image502.png"/><Relationship Id="rId19" Type="http://schemas.openxmlformats.org/officeDocument/2006/relationships/image" Target="../media/image460.png"/><Relationship Id="rId14" Type="http://schemas.openxmlformats.org/officeDocument/2006/relationships/image" Target="../media/image455.svg"/><Relationship Id="rId22" Type="http://schemas.openxmlformats.org/officeDocument/2006/relationships/image" Target="../media/image463.svg"/><Relationship Id="rId27" Type="http://schemas.openxmlformats.org/officeDocument/2006/relationships/image" Target="../media/image468.png"/><Relationship Id="rId30" Type="http://schemas.openxmlformats.org/officeDocument/2006/relationships/image" Target="../media/image471.svg"/><Relationship Id="rId35" Type="http://schemas.openxmlformats.org/officeDocument/2006/relationships/image" Target="../media/image476.png"/><Relationship Id="rId43" Type="http://schemas.openxmlformats.org/officeDocument/2006/relationships/image" Target="../media/image484.png"/><Relationship Id="rId48" Type="http://schemas.openxmlformats.org/officeDocument/2006/relationships/image" Target="../media/image489.svg"/><Relationship Id="rId56" Type="http://schemas.openxmlformats.org/officeDocument/2006/relationships/image" Target="../media/image497.svg"/><Relationship Id="rId64" Type="http://schemas.openxmlformats.org/officeDocument/2006/relationships/image" Target="../media/image505.svg"/><Relationship Id="rId69" Type="http://schemas.openxmlformats.org/officeDocument/2006/relationships/image" Target="../media/image510.png"/><Relationship Id="rId77" Type="http://schemas.openxmlformats.org/officeDocument/2006/relationships/image" Target="../media/image518.png"/><Relationship Id="rId8" Type="http://schemas.openxmlformats.org/officeDocument/2006/relationships/image" Target="../media/image449.svg"/><Relationship Id="rId51" Type="http://schemas.openxmlformats.org/officeDocument/2006/relationships/image" Target="../media/image492.png"/><Relationship Id="rId72" Type="http://schemas.openxmlformats.org/officeDocument/2006/relationships/image" Target="../media/image513.svg"/><Relationship Id="rId80" Type="http://schemas.openxmlformats.org/officeDocument/2006/relationships/image" Target="../media/image521.svg"/><Relationship Id="rId3" Type="http://schemas.openxmlformats.org/officeDocument/2006/relationships/image" Target="../media/image444.png"/><Relationship Id="rId12" Type="http://schemas.openxmlformats.org/officeDocument/2006/relationships/image" Target="../media/image453.svg"/><Relationship Id="rId17" Type="http://schemas.openxmlformats.org/officeDocument/2006/relationships/image" Target="../media/image458.png"/><Relationship Id="rId25" Type="http://schemas.openxmlformats.org/officeDocument/2006/relationships/image" Target="../media/image466.png"/><Relationship Id="rId33" Type="http://schemas.openxmlformats.org/officeDocument/2006/relationships/image" Target="../media/image474.png"/><Relationship Id="rId38" Type="http://schemas.openxmlformats.org/officeDocument/2006/relationships/image" Target="../media/image479.svg"/><Relationship Id="rId46" Type="http://schemas.openxmlformats.org/officeDocument/2006/relationships/image" Target="../media/image487.svg"/><Relationship Id="rId59" Type="http://schemas.openxmlformats.org/officeDocument/2006/relationships/image" Target="../media/image500.png"/><Relationship Id="rId67" Type="http://schemas.openxmlformats.org/officeDocument/2006/relationships/image" Target="../media/image508.png"/><Relationship Id="rId20" Type="http://schemas.openxmlformats.org/officeDocument/2006/relationships/image" Target="../media/image461.svg"/><Relationship Id="rId41" Type="http://schemas.openxmlformats.org/officeDocument/2006/relationships/image" Target="../media/image482.png"/><Relationship Id="rId54" Type="http://schemas.openxmlformats.org/officeDocument/2006/relationships/image" Target="../media/image495.svg"/><Relationship Id="rId62" Type="http://schemas.openxmlformats.org/officeDocument/2006/relationships/image" Target="../media/image503.svg"/><Relationship Id="rId70" Type="http://schemas.openxmlformats.org/officeDocument/2006/relationships/image" Target="../media/image511.svg"/><Relationship Id="rId75" Type="http://schemas.openxmlformats.org/officeDocument/2006/relationships/image" Target="../media/image51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47.svg"/><Relationship Id="rId15" Type="http://schemas.openxmlformats.org/officeDocument/2006/relationships/image" Target="../media/image456.png"/><Relationship Id="rId23" Type="http://schemas.openxmlformats.org/officeDocument/2006/relationships/image" Target="../media/image464.png"/><Relationship Id="rId28" Type="http://schemas.openxmlformats.org/officeDocument/2006/relationships/image" Target="../media/image469.svg"/><Relationship Id="rId36" Type="http://schemas.openxmlformats.org/officeDocument/2006/relationships/image" Target="../media/image477.svg"/><Relationship Id="rId49" Type="http://schemas.openxmlformats.org/officeDocument/2006/relationships/image" Target="../media/image490.png"/><Relationship Id="rId57" Type="http://schemas.openxmlformats.org/officeDocument/2006/relationships/image" Target="../media/image498.png"/><Relationship Id="rId10" Type="http://schemas.openxmlformats.org/officeDocument/2006/relationships/image" Target="../media/image451.svg"/><Relationship Id="rId31" Type="http://schemas.openxmlformats.org/officeDocument/2006/relationships/image" Target="../media/image472.png"/><Relationship Id="rId44" Type="http://schemas.openxmlformats.org/officeDocument/2006/relationships/image" Target="../media/image485.svg"/><Relationship Id="rId52" Type="http://schemas.openxmlformats.org/officeDocument/2006/relationships/image" Target="../media/image493.svg"/><Relationship Id="rId60" Type="http://schemas.openxmlformats.org/officeDocument/2006/relationships/image" Target="../media/image501.svg"/><Relationship Id="rId65" Type="http://schemas.openxmlformats.org/officeDocument/2006/relationships/image" Target="../media/image506.png"/><Relationship Id="rId73" Type="http://schemas.openxmlformats.org/officeDocument/2006/relationships/image" Target="../media/image514.png"/><Relationship Id="rId78" Type="http://schemas.openxmlformats.org/officeDocument/2006/relationships/image" Target="../media/image519.svg"/><Relationship Id="rId4" Type="http://schemas.openxmlformats.org/officeDocument/2006/relationships/image" Target="../media/image445.svg"/><Relationship Id="rId9" Type="http://schemas.openxmlformats.org/officeDocument/2006/relationships/image" Target="../media/image450.png"/><Relationship Id="rId13" Type="http://schemas.openxmlformats.org/officeDocument/2006/relationships/image" Target="../media/image454.png"/><Relationship Id="rId18" Type="http://schemas.openxmlformats.org/officeDocument/2006/relationships/image" Target="../media/image459.svg"/><Relationship Id="rId39" Type="http://schemas.openxmlformats.org/officeDocument/2006/relationships/image" Target="../media/image480.png"/><Relationship Id="rId34" Type="http://schemas.openxmlformats.org/officeDocument/2006/relationships/image" Target="../media/image475.svg"/><Relationship Id="rId50" Type="http://schemas.openxmlformats.org/officeDocument/2006/relationships/image" Target="../media/image491.svg"/><Relationship Id="rId55" Type="http://schemas.openxmlformats.org/officeDocument/2006/relationships/image" Target="../media/image496.png"/><Relationship Id="rId76" Type="http://schemas.openxmlformats.org/officeDocument/2006/relationships/image" Target="../media/image517.svg"/><Relationship Id="rId7" Type="http://schemas.openxmlformats.org/officeDocument/2006/relationships/image" Target="../media/image448.png"/><Relationship Id="rId71" Type="http://schemas.openxmlformats.org/officeDocument/2006/relationships/image" Target="../media/image512.png"/><Relationship Id="rId2" Type="http://schemas.openxmlformats.org/officeDocument/2006/relationships/notesSlide" Target="../notesSlides/notesSlide12.xml"/><Relationship Id="rId29" Type="http://schemas.openxmlformats.org/officeDocument/2006/relationships/image" Target="../media/image470.png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545.svg"/><Relationship Id="rId21" Type="http://schemas.openxmlformats.org/officeDocument/2006/relationships/image" Target="../media/image540.png"/><Relationship Id="rId42" Type="http://schemas.openxmlformats.org/officeDocument/2006/relationships/image" Target="../media/image561.svg"/><Relationship Id="rId47" Type="http://schemas.openxmlformats.org/officeDocument/2006/relationships/image" Target="../media/image566.png"/><Relationship Id="rId63" Type="http://schemas.openxmlformats.org/officeDocument/2006/relationships/image" Target="../media/image581.png"/><Relationship Id="rId68" Type="http://schemas.openxmlformats.org/officeDocument/2006/relationships/image" Target="../media/image586.svg"/><Relationship Id="rId84" Type="http://schemas.openxmlformats.org/officeDocument/2006/relationships/image" Target="../media/image602.svg"/><Relationship Id="rId89" Type="http://schemas.openxmlformats.org/officeDocument/2006/relationships/image" Target="../media/image607.png"/><Relationship Id="rId16" Type="http://schemas.openxmlformats.org/officeDocument/2006/relationships/image" Target="../media/image535.svg"/><Relationship Id="rId11" Type="http://schemas.openxmlformats.org/officeDocument/2006/relationships/image" Target="../media/image530.png"/><Relationship Id="rId32" Type="http://schemas.openxmlformats.org/officeDocument/2006/relationships/image" Target="../media/image551.svg"/><Relationship Id="rId37" Type="http://schemas.openxmlformats.org/officeDocument/2006/relationships/image" Target="../media/image556.png"/><Relationship Id="rId53" Type="http://schemas.openxmlformats.org/officeDocument/2006/relationships/image" Target="../media/image572.png"/><Relationship Id="rId58" Type="http://schemas.openxmlformats.org/officeDocument/2006/relationships/image" Target="../media/image576.svg"/><Relationship Id="rId74" Type="http://schemas.openxmlformats.org/officeDocument/2006/relationships/image" Target="../media/image592.svg"/><Relationship Id="rId79" Type="http://schemas.openxmlformats.org/officeDocument/2006/relationships/image" Target="../media/image597.png"/><Relationship Id="rId5" Type="http://schemas.openxmlformats.org/officeDocument/2006/relationships/image" Target="../media/image524.png"/><Relationship Id="rId90" Type="http://schemas.openxmlformats.org/officeDocument/2006/relationships/image" Target="../media/image608.svg"/><Relationship Id="rId14" Type="http://schemas.openxmlformats.org/officeDocument/2006/relationships/image" Target="../media/image533.svg"/><Relationship Id="rId22" Type="http://schemas.openxmlformats.org/officeDocument/2006/relationships/image" Target="../media/image541.svg"/><Relationship Id="rId27" Type="http://schemas.openxmlformats.org/officeDocument/2006/relationships/image" Target="../media/image546.png"/><Relationship Id="rId30" Type="http://schemas.openxmlformats.org/officeDocument/2006/relationships/image" Target="../media/image549.svg"/><Relationship Id="rId35" Type="http://schemas.openxmlformats.org/officeDocument/2006/relationships/image" Target="../media/image554.png"/><Relationship Id="rId43" Type="http://schemas.openxmlformats.org/officeDocument/2006/relationships/image" Target="../media/image562.png"/><Relationship Id="rId48" Type="http://schemas.openxmlformats.org/officeDocument/2006/relationships/image" Target="../media/image567.svg"/><Relationship Id="rId56" Type="http://schemas.openxmlformats.org/officeDocument/2006/relationships/image" Target="../media/image575.svg"/><Relationship Id="rId64" Type="http://schemas.openxmlformats.org/officeDocument/2006/relationships/image" Target="../media/image582.svg"/><Relationship Id="rId69" Type="http://schemas.openxmlformats.org/officeDocument/2006/relationships/image" Target="../media/image587.png"/><Relationship Id="rId77" Type="http://schemas.openxmlformats.org/officeDocument/2006/relationships/image" Target="../media/image595.png"/><Relationship Id="rId8" Type="http://schemas.openxmlformats.org/officeDocument/2006/relationships/image" Target="../media/image527.svg"/><Relationship Id="rId51" Type="http://schemas.openxmlformats.org/officeDocument/2006/relationships/image" Target="../media/image570.png"/><Relationship Id="rId72" Type="http://schemas.openxmlformats.org/officeDocument/2006/relationships/image" Target="../media/image590.svg"/><Relationship Id="rId80" Type="http://schemas.openxmlformats.org/officeDocument/2006/relationships/image" Target="../media/image598.svg"/><Relationship Id="rId85" Type="http://schemas.openxmlformats.org/officeDocument/2006/relationships/image" Target="../media/image603.png"/><Relationship Id="rId3" Type="http://schemas.openxmlformats.org/officeDocument/2006/relationships/image" Target="../media/image522.png"/><Relationship Id="rId12" Type="http://schemas.openxmlformats.org/officeDocument/2006/relationships/image" Target="../media/image531.svg"/><Relationship Id="rId17" Type="http://schemas.openxmlformats.org/officeDocument/2006/relationships/image" Target="../media/image536.png"/><Relationship Id="rId25" Type="http://schemas.openxmlformats.org/officeDocument/2006/relationships/image" Target="../media/image544.png"/><Relationship Id="rId33" Type="http://schemas.openxmlformats.org/officeDocument/2006/relationships/image" Target="../media/image552.png"/><Relationship Id="rId38" Type="http://schemas.openxmlformats.org/officeDocument/2006/relationships/image" Target="../media/image557.svg"/><Relationship Id="rId46" Type="http://schemas.openxmlformats.org/officeDocument/2006/relationships/image" Target="../media/image565.svg"/><Relationship Id="rId59" Type="http://schemas.openxmlformats.org/officeDocument/2006/relationships/image" Target="../media/image577.png"/><Relationship Id="rId67" Type="http://schemas.openxmlformats.org/officeDocument/2006/relationships/image" Target="../media/image585.png"/><Relationship Id="rId20" Type="http://schemas.openxmlformats.org/officeDocument/2006/relationships/image" Target="../media/image539.svg"/><Relationship Id="rId41" Type="http://schemas.openxmlformats.org/officeDocument/2006/relationships/image" Target="../media/image560.png"/><Relationship Id="rId54" Type="http://schemas.openxmlformats.org/officeDocument/2006/relationships/image" Target="../media/image573.svg"/><Relationship Id="rId62" Type="http://schemas.openxmlformats.org/officeDocument/2006/relationships/image" Target="../media/image580.svg"/><Relationship Id="rId70" Type="http://schemas.openxmlformats.org/officeDocument/2006/relationships/image" Target="../media/image588.svg"/><Relationship Id="rId75" Type="http://schemas.openxmlformats.org/officeDocument/2006/relationships/image" Target="../media/image593.png"/><Relationship Id="rId83" Type="http://schemas.openxmlformats.org/officeDocument/2006/relationships/image" Target="../media/image601.png"/><Relationship Id="rId88" Type="http://schemas.openxmlformats.org/officeDocument/2006/relationships/image" Target="../media/image606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25.svg"/><Relationship Id="rId15" Type="http://schemas.openxmlformats.org/officeDocument/2006/relationships/image" Target="../media/image534.png"/><Relationship Id="rId23" Type="http://schemas.openxmlformats.org/officeDocument/2006/relationships/image" Target="../media/image542.png"/><Relationship Id="rId28" Type="http://schemas.openxmlformats.org/officeDocument/2006/relationships/image" Target="../media/image547.svg"/><Relationship Id="rId36" Type="http://schemas.openxmlformats.org/officeDocument/2006/relationships/image" Target="../media/image555.svg"/><Relationship Id="rId49" Type="http://schemas.openxmlformats.org/officeDocument/2006/relationships/image" Target="../media/image568.png"/><Relationship Id="rId57" Type="http://schemas.openxmlformats.org/officeDocument/2006/relationships/image" Target="../media/image382.png"/><Relationship Id="rId10" Type="http://schemas.openxmlformats.org/officeDocument/2006/relationships/image" Target="../media/image529.svg"/><Relationship Id="rId31" Type="http://schemas.openxmlformats.org/officeDocument/2006/relationships/image" Target="../media/image550.png"/><Relationship Id="rId44" Type="http://schemas.openxmlformats.org/officeDocument/2006/relationships/image" Target="../media/image563.svg"/><Relationship Id="rId52" Type="http://schemas.openxmlformats.org/officeDocument/2006/relationships/image" Target="../media/image571.svg"/><Relationship Id="rId60" Type="http://schemas.openxmlformats.org/officeDocument/2006/relationships/image" Target="../media/image578.svg"/><Relationship Id="rId65" Type="http://schemas.openxmlformats.org/officeDocument/2006/relationships/image" Target="../media/image583.png"/><Relationship Id="rId73" Type="http://schemas.openxmlformats.org/officeDocument/2006/relationships/image" Target="../media/image591.png"/><Relationship Id="rId78" Type="http://schemas.openxmlformats.org/officeDocument/2006/relationships/image" Target="../media/image596.svg"/><Relationship Id="rId81" Type="http://schemas.openxmlformats.org/officeDocument/2006/relationships/image" Target="../media/image599.png"/><Relationship Id="rId86" Type="http://schemas.openxmlformats.org/officeDocument/2006/relationships/image" Target="../media/image604.svg"/><Relationship Id="rId4" Type="http://schemas.openxmlformats.org/officeDocument/2006/relationships/image" Target="../media/image523.svg"/><Relationship Id="rId9" Type="http://schemas.openxmlformats.org/officeDocument/2006/relationships/image" Target="../media/image528.png"/><Relationship Id="rId13" Type="http://schemas.openxmlformats.org/officeDocument/2006/relationships/image" Target="../media/image532.png"/><Relationship Id="rId18" Type="http://schemas.openxmlformats.org/officeDocument/2006/relationships/image" Target="../media/image537.svg"/><Relationship Id="rId39" Type="http://schemas.openxmlformats.org/officeDocument/2006/relationships/image" Target="../media/image558.png"/><Relationship Id="rId34" Type="http://schemas.openxmlformats.org/officeDocument/2006/relationships/image" Target="../media/image553.svg"/><Relationship Id="rId50" Type="http://schemas.openxmlformats.org/officeDocument/2006/relationships/image" Target="../media/image569.svg"/><Relationship Id="rId55" Type="http://schemas.openxmlformats.org/officeDocument/2006/relationships/image" Target="../media/image574.png"/><Relationship Id="rId76" Type="http://schemas.openxmlformats.org/officeDocument/2006/relationships/image" Target="../media/image594.svg"/><Relationship Id="rId7" Type="http://schemas.openxmlformats.org/officeDocument/2006/relationships/image" Target="../media/image526.png"/><Relationship Id="rId71" Type="http://schemas.openxmlformats.org/officeDocument/2006/relationships/image" Target="../media/image589.png"/><Relationship Id="rId2" Type="http://schemas.openxmlformats.org/officeDocument/2006/relationships/notesSlide" Target="../notesSlides/notesSlide13.xml"/><Relationship Id="rId29" Type="http://schemas.openxmlformats.org/officeDocument/2006/relationships/image" Target="../media/image548.png"/><Relationship Id="rId24" Type="http://schemas.openxmlformats.org/officeDocument/2006/relationships/image" Target="../media/image543.svg"/><Relationship Id="rId40" Type="http://schemas.openxmlformats.org/officeDocument/2006/relationships/image" Target="../media/image559.svg"/><Relationship Id="rId45" Type="http://schemas.openxmlformats.org/officeDocument/2006/relationships/image" Target="../media/image564.png"/><Relationship Id="rId66" Type="http://schemas.openxmlformats.org/officeDocument/2006/relationships/image" Target="../media/image584.svg"/><Relationship Id="rId87" Type="http://schemas.openxmlformats.org/officeDocument/2006/relationships/image" Target="../media/image605.png"/><Relationship Id="rId61" Type="http://schemas.openxmlformats.org/officeDocument/2006/relationships/image" Target="../media/image579.png"/><Relationship Id="rId82" Type="http://schemas.openxmlformats.org/officeDocument/2006/relationships/image" Target="../media/image600.svg"/><Relationship Id="rId19" Type="http://schemas.openxmlformats.org/officeDocument/2006/relationships/image" Target="../media/image538.png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image" Target="../media/image632.svg"/><Relationship Id="rId21" Type="http://schemas.openxmlformats.org/officeDocument/2006/relationships/image" Target="../media/image627.png"/><Relationship Id="rId42" Type="http://schemas.openxmlformats.org/officeDocument/2006/relationships/image" Target="../media/image647.svg"/><Relationship Id="rId47" Type="http://schemas.openxmlformats.org/officeDocument/2006/relationships/image" Target="../media/image652.png"/><Relationship Id="rId63" Type="http://schemas.openxmlformats.org/officeDocument/2006/relationships/image" Target="../media/image668.png"/><Relationship Id="rId68" Type="http://schemas.openxmlformats.org/officeDocument/2006/relationships/image" Target="../media/image673.svg"/><Relationship Id="rId7" Type="http://schemas.openxmlformats.org/officeDocument/2006/relationships/image" Target="../media/image613.png"/><Relationship Id="rId71" Type="http://schemas.openxmlformats.org/officeDocument/2006/relationships/image" Target="../media/image676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622.svg"/><Relationship Id="rId29" Type="http://schemas.openxmlformats.org/officeDocument/2006/relationships/image" Target="../media/image635.png"/><Relationship Id="rId11" Type="http://schemas.openxmlformats.org/officeDocument/2006/relationships/image" Target="../media/image617.png"/><Relationship Id="rId24" Type="http://schemas.openxmlformats.org/officeDocument/2006/relationships/image" Target="../media/image630.svg"/><Relationship Id="rId32" Type="http://schemas.openxmlformats.org/officeDocument/2006/relationships/image" Target="../media/image638.svg"/><Relationship Id="rId37" Type="http://schemas.openxmlformats.org/officeDocument/2006/relationships/image" Target="../media/image643.png"/><Relationship Id="rId40" Type="http://schemas.openxmlformats.org/officeDocument/2006/relationships/image" Target="../media/image645.svg"/><Relationship Id="rId45" Type="http://schemas.openxmlformats.org/officeDocument/2006/relationships/image" Target="../media/image650.png"/><Relationship Id="rId53" Type="http://schemas.openxmlformats.org/officeDocument/2006/relationships/image" Target="../media/image658.png"/><Relationship Id="rId58" Type="http://schemas.openxmlformats.org/officeDocument/2006/relationships/image" Target="../media/image663.svg"/><Relationship Id="rId66" Type="http://schemas.openxmlformats.org/officeDocument/2006/relationships/image" Target="../media/image671.svg"/><Relationship Id="rId5" Type="http://schemas.openxmlformats.org/officeDocument/2006/relationships/image" Target="../media/image611.png"/><Relationship Id="rId61" Type="http://schemas.openxmlformats.org/officeDocument/2006/relationships/image" Target="../media/image666.png"/><Relationship Id="rId19" Type="http://schemas.openxmlformats.org/officeDocument/2006/relationships/image" Target="../media/image625.png"/><Relationship Id="rId14" Type="http://schemas.openxmlformats.org/officeDocument/2006/relationships/image" Target="../media/image620.svg"/><Relationship Id="rId22" Type="http://schemas.openxmlformats.org/officeDocument/2006/relationships/image" Target="../media/image628.svg"/><Relationship Id="rId27" Type="http://schemas.openxmlformats.org/officeDocument/2006/relationships/image" Target="../media/image633.png"/><Relationship Id="rId30" Type="http://schemas.openxmlformats.org/officeDocument/2006/relationships/image" Target="../media/image636.svg"/><Relationship Id="rId35" Type="http://schemas.openxmlformats.org/officeDocument/2006/relationships/image" Target="../media/image641.png"/><Relationship Id="rId43" Type="http://schemas.openxmlformats.org/officeDocument/2006/relationships/image" Target="../media/image648.png"/><Relationship Id="rId48" Type="http://schemas.openxmlformats.org/officeDocument/2006/relationships/image" Target="../media/image653.svg"/><Relationship Id="rId56" Type="http://schemas.openxmlformats.org/officeDocument/2006/relationships/image" Target="../media/image661.svg"/><Relationship Id="rId64" Type="http://schemas.openxmlformats.org/officeDocument/2006/relationships/image" Target="../media/image669.svg"/><Relationship Id="rId69" Type="http://schemas.openxmlformats.org/officeDocument/2006/relationships/image" Target="../media/image674.png"/><Relationship Id="rId8" Type="http://schemas.openxmlformats.org/officeDocument/2006/relationships/image" Target="../media/image614.svg"/><Relationship Id="rId51" Type="http://schemas.openxmlformats.org/officeDocument/2006/relationships/image" Target="../media/image656.png"/><Relationship Id="rId72" Type="http://schemas.openxmlformats.org/officeDocument/2006/relationships/image" Target="../media/image677.svg"/><Relationship Id="rId3" Type="http://schemas.openxmlformats.org/officeDocument/2006/relationships/image" Target="../media/image609.png"/><Relationship Id="rId12" Type="http://schemas.openxmlformats.org/officeDocument/2006/relationships/image" Target="../media/image618.svg"/><Relationship Id="rId17" Type="http://schemas.openxmlformats.org/officeDocument/2006/relationships/image" Target="../media/image623.png"/><Relationship Id="rId25" Type="http://schemas.openxmlformats.org/officeDocument/2006/relationships/image" Target="../media/image631.png"/><Relationship Id="rId33" Type="http://schemas.openxmlformats.org/officeDocument/2006/relationships/image" Target="../media/image639.png"/><Relationship Id="rId38" Type="http://schemas.openxmlformats.org/officeDocument/2006/relationships/image" Target="../media/image644.svg"/><Relationship Id="rId46" Type="http://schemas.openxmlformats.org/officeDocument/2006/relationships/image" Target="../media/image651.svg"/><Relationship Id="rId59" Type="http://schemas.openxmlformats.org/officeDocument/2006/relationships/image" Target="../media/image664.png"/><Relationship Id="rId67" Type="http://schemas.openxmlformats.org/officeDocument/2006/relationships/image" Target="../media/image672.png"/><Relationship Id="rId20" Type="http://schemas.openxmlformats.org/officeDocument/2006/relationships/image" Target="../media/image626.svg"/><Relationship Id="rId41" Type="http://schemas.openxmlformats.org/officeDocument/2006/relationships/image" Target="../media/image646.png"/><Relationship Id="rId54" Type="http://schemas.openxmlformats.org/officeDocument/2006/relationships/image" Target="../media/image659.svg"/><Relationship Id="rId62" Type="http://schemas.openxmlformats.org/officeDocument/2006/relationships/image" Target="../media/image667.svg"/><Relationship Id="rId70" Type="http://schemas.openxmlformats.org/officeDocument/2006/relationships/image" Target="../media/image675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12.svg"/><Relationship Id="rId15" Type="http://schemas.openxmlformats.org/officeDocument/2006/relationships/image" Target="../media/image621.png"/><Relationship Id="rId23" Type="http://schemas.openxmlformats.org/officeDocument/2006/relationships/image" Target="../media/image629.png"/><Relationship Id="rId28" Type="http://schemas.openxmlformats.org/officeDocument/2006/relationships/image" Target="../media/image634.svg"/><Relationship Id="rId36" Type="http://schemas.openxmlformats.org/officeDocument/2006/relationships/image" Target="../media/image642.svg"/><Relationship Id="rId49" Type="http://schemas.openxmlformats.org/officeDocument/2006/relationships/image" Target="../media/image654.png"/><Relationship Id="rId57" Type="http://schemas.openxmlformats.org/officeDocument/2006/relationships/image" Target="../media/image662.png"/><Relationship Id="rId10" Type="http://schemas.openxmlformats.org/officeDocument/2006/relationships/image" Target="../media/image616.svg"/><Relationship Id="rId31" Type="http://schemas.openxmlformats.org/officeDocument/2006/relationships/image" Target="../media/image637.png"/><Relationship Id="rId44" Type="http://schemas.openxmlformats.org/officeDocument/2006/relationships/image" Target="../media/image649.svg"/><Relationship Id="rId52" Type="http://schemas.openxmlformats.org/officeDocument/2006/relationships/image" Target="../media/image657.svg"/><Relationship Id="rId60" Type="http://schemas.openxmlformats.org/officeDocument/2006/relationships/image" Target="../media/image665.svg"/><Relationship Id="rId65" Type="http://schemas.openxmlformats.org/officeDocument/2006/relationships/image" Target="../media/image670.png"/><Relationship Id="rId4" Type="http://schemas.openxmlformats.org/officeDocument/2006/relationships/image" Target="../media/image610.svg"/><Relationship Id="rId9" Type="http://schemas.openxmlformats.org/officeDocument/2006/relationships/image" Target="../media/image615.png"/><Relationship Id="rId13" Type="http://schemas.openxmlformats.org/officeDocument/2006/relationships/image" Target="../media/image619.png"/><Relationship Id="rId18" Type="http://schemas.openxmlformats.org/officeDocument/2006/relationships/image" Target="../media/image624.svg"/><Relationship Id="rId39" Type="http://schemas.openxmlformats.org/officeDocument/2006/relationships/image" Target="../media/image364.png"/><Relationship Id="rId34" Type="http://schemas.openxmlformats.org/officeDocument/2006/relationships/image" Target="../media/image640.svg"/><Relationship Id="rId50" Type="http://schemas.openxmlformats.org/officeDocument/2006/relationships/image" Target="../media/image655.svg"/><Relationship Id="rId55" Type="http://schemas.openxmlformats.org/officeDocument/2006/relationships/image" Target="../media/image66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3.svg"/><Relationship Id="rId13" Type="http://schemas.openxmlformats.org/officeDocument/2006/relationships/image" Target="../media/image688.png"/><Relationship Id="rId18" Type="http://schemas.openxmlformats.org/officeDocument/2006/relationships/image" Target="../media/image693.svg"/><Relationship Id="rId26" Type="http://schemas.openxmlformats.org/officeDocument/2006/relationships/image" Target="../media/image701.svg"/><Relationship Id="rId3" Type="http://schemas.openxmlformats.org/officeDocument/2006/relationships/image" Target="../media/image678.png"/><Relationship Id="rId21" Type="http://schemas.openxmlformats.org/officeDocument/2006/relationships/image" Target="../media/image696.png"/><Relationship Id="rId7" Type="http://schemas.openxmlformats.org/officeDocument/2006/relationships/image" Target="../media/image682.png"/><Relationship Id="rId12" Type="http://schemas.openxmlformats.org/officeDocument/2006/relationships/image" Target="../media/image687.svg"/><Relationship Id="rId17" Type="http://schemas.openxmlformats.org/officeDocument/2006/relationships/image" Target="../media/image692.png"/><Relationship Id="rId25" Type="http://schemas.openxmlformats.org/officeDocument/2006/relationships/image" Target="../media/image700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691.svg"/><Relationship Id="rId20" Type="http://schemas.openxmlformats.org/officeDocument/2006/relationships/image" Target="../media/image695.svg"/><Relationship Id="rId29" Type="http://schemas.openxmlformats.org/officeDocument/2006/relationships/image" Target="../media/image70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81.svg"/><Relationship Id="rId11" Type="http://schemas.openxmlformats.org/officeDocument/2006/relationships/image" Target="../media/image686.png"/><Relationship Id="rId24" Type="http://schemas.openxmlformats.org/officeDocument/2006/relationships/image" Target="../media/image699.svg"/><Relationship Id="rId5" Type="http://schemas.openxmlformats.org/officeDocument/2006/relationships/image" Target="../media/image680.png"/><Relationship Id="rId15" Type="http://schemas.openxmlformats.org/officeDocument/2006/relationships/image" Target="../media/image690.png"/><Relationship Id="rId23" Type="http://schemas.openxmlformats.org/officeDocument/2006/relationships/image" Target="../media/image698.png"/><Relationship Id="rId28" Type="http://schemas.openxmlformats.org/officeDocument/2006/relationships/image" Target="../media/image703.svg"/><Relationship Id="rId10" Type="http://schemas.openxmlformats.org/officeDocument/2006/relationships/image" Target="../media/image685.svg"/><Relationship Id="rId19" Type="http://schemas.openxmlformats.org/officeDocument/2006/relationships/image" Target="../media/image694.png"/><Relationship Id="rId31" Type="http://schemas.openxmlformats.org/officeDocument/2006/relationships/image" Target="../media/image706.png"/><Relationship Id="rId4" Type="http://schemas.openxmlformats.org/officeDocument/2006/relationships/image" Target="../media/image679.svg"/><Relationship Id="rId9" Type="http://schemas.openxmlformats.org/officeDocument/2006/relationships/image" Target="../media/image684.png"/><Relationship Id="rId14" Type="http://schemas.openxmlformats.org/officeDocument/2006/relationships/image" Target="../media/image689.svg"/><Relationship Id="rId22" Type="http://schemas.openxmlformats.org/officeDocument/2006/relationships/image" Target="../media/image697.svg"/><Relationship Id="rId27" Type="http://schemas.openxmlformats.org/officeDocument/2006/relationships/image" Target="../media/image702.png"/><Relationship Id="rId30" Type="http://schemas.openxmlformats.org/officeDocument/2006/relationships/image" Target="../media/image705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13" Type="http://schemas.openxmlformats.org/officeDocument/2006/relationships/image" Target="../media/image48.png"/><Relationship Id="rId18" Type="http://schemas.openxmlformats.org/officeDocument/2006/relationships/image" Target="../media/image53.sv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17" Type="http://schemas.openxmlformats.org/officeDocument/2006/relationships/image" Target="../media/image52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1.svg"/><Relationship Id="rId20" Type="http://schemas.openxmlformats.org/officeDocument/2006/relationships/image" Target="../media/image55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5" Type="http://schemas.openxmlformats.org/officeDocument/2006/relationships/image" Target="../media/image50.png"/><Relationship Id="rId10" Type="http://schemas.openxmlformats.org/officeDocument/2006/relationships/image" Target="../media/image45.svg"/><Relationship Id="rId19" Type="http://schemas.openxmlformats.org/officeDocument/2006/relationships/image" Target="../media/image54.png"/><Relationship Id="rId4" Type="http://schemas.openxmlformats.org/officeDocument/2006/relationships/image" Target="../media/image39.svg"/><Relationship Id="rId9" Type="http://schemas.openxmlformats.org/officeDocument/2006/relationships/image" Target="../media/image44.png"/><Relationship Id="rId14" Type="http://schemas.openxmlformats.org/officeDocument/2006/relationships/image" Target="../media/image4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7.sv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8.png"/><Relationship Id="rId18" Type="http://schemas.openxmlformats.org/officeDocument/2006/relationships/image" Target="../media/image73.svg"/><Relationship Id="rId26" Type="http://schemas.openxmlformats.org/officeDocument/2006/relationships/image" Target="../media/image81.svg"/><Relationship Id="rId39" Type="http://schemas.openxmlformats.org/officeDocument/2006/relationships/image" Target="../media/image94.png"/><Relationship Id="rId21" Type="http://schemas.openxmlformats.org/officeDocument/2006/relationships/image" Target="../media/image76.png"/><Relationship Id="rId34" Type="http://schemas.openxmlformats.org/officeDocument/2006/relationships/image" Target="../media/image89.svg"/><Relationship Id="rId42" Type="http://schemas.openxmlformats.org/officeDocument/2006/relationships/image" Target="../media/image97.svg"/><Relationship Id="rId47" Type="http://schemas.openxmlformats.org/officeDocument/2006/relationships/image" Target="../media/image102.png"/><Relationship Id="rId50" Type="http://schemas.openxmlformats.org/officeDocument/2006/relationships/image" Target="../media/image105.sv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71.svg"/><Relationship Id="rId29" Type="http://schemas.openxmlformats.org/officeDocument/2006/relationships/image" Target="../media/image84.png"/><Relationship Id="rId11" Type="http://schemas.openxmlformats.org/officeDocument/2006/relationships/image" Target="../media/image66.png"/><Relationship Id="rId24" Type="http://schemas.openxmlformats.org/officeDocument/2006/relationships/image" Target="../media/image79.svg"/><Relationship Id="rId32" Type="http://schemas.openxmlformats.org/officeDocument/2006/relationships/image" Target="../media/image87.svg"/><Relationship Id="rId37" Type="http://schemas.openxmlformats.org/officeDocument/2006/relationships/image" Target="../media/image92.png"/><Relationship Id="rId40" Type="http://schemas.openxmlformats.org/officeDocument/2006/relationships/image" Target="../media/image95.svg"/><Relationship Id="rId45" Type="http://schemas.openxmlformats.org/officeDocument/2006/relationships/image" Target="../media/image100.png"/><Relationship Id="rId5" Type="http://schemas.openxmlformats.org/officeDocument/2006/relationships/image" Target="../media/image60.png"/><Relationship Id="rId15" Type="http://schemas.openxmlformats.org/officeDocument/2006/relationships/image" Target="../media/image70.png"/><Relationship Id="rId23" Type="http://schemas.openxmlformats.org/officeDocument/2006/relationships/image" Target="../media/image78.png"/><Relationship Id="rId28" Type="http://schemas.openxmlformats.org/officeDocument/2006/relationships/image" Target="../media/image83.svg"/><Relationship Id="rId36" Type="http://schemas.openxmlformats.org/officeDocument/2006/relationships/image" Target="../media/image91.svg"/><Relationship Id="rId49" Type="http://schemas.openxmlformats.org/officeDocument/2006/relationships/image" Target="../media/image104.png"/><Relationship Id="rId10" Type="http://schemas.openxmlformats.org/officeDocument/2006/relationships/image" Target="../media/image65.svg"/><Relationship Id="rId19" Type="http://schemas.openxmlformats.org/officeDocument/2006/relationships/image" Target="../media/image74.png"/><Relationship Id="rId31" Type="http://schemas.openxmlformats.org/officeDocument/2006/relationships/image" Target="../media/image86.png"/><Relationship Id="rId44" Type="http://schemas.openxmlformats.org/officeDocument/2006/relationships/image" Target="../media/image99.svg"/><Relationship Id="rId4" Type="http://schemas.openxmlformats.org/officeDocument/2006/relationships/image" Target="../media/image59.svg"/><Relationship Id="rId9" Type="http://schemas.openxmlformats.org/officeDocument/2006/relationships/image" Target="../media/image64.png"/><Relationship Id="rId14" Type="http://schemas.openxmlformats.org/officeDocument/2006/relationships/image" Target="../media/image69.svg"/><Relationship Id="rId22" Type="http://schemas.openxmlformats.org/officeDocument/2006/relationships/image" Target="../media/image77.svg"/><Relationship Id="rId27" Type="http://schemas.openxmlformats.org/officeDocument/2006/relationships/image" Target="../media/image82.png"/><Relationship Id="rId30" Type="http://schemas.openxmlformats.org/officeDocument/2006/relationships/image" Target="../media/image85.svg"/><Relationship Id="rId35" Type="http://schemas.openxmlformats.org/officeDocument/2006/relationships/image" Target="../media/image90.png"/><Relationship Id="rId43" Type="http://schemas.openxmlformats.org/officeDocument/2006/relationships/image" Target="../media/image98.png"/><Relationship Id="rId48" Type="http://schemas.openxmlformats.org/officeDocument/2006/relationships/image" Target="../media/image103.svg"/><Relationship Id="rId8" Type="http://schemas.openxmlformats.org/officeDocument/2006/relationships/image" Target="../media/image63.svg"/><Relationship Id="rId3" Type="http://schemas.openxmlformats.org/officeDocument/2006/relationships/image" Target="../media/image58.png"/><Relationship Id="rId12" Type="http://schemas.openxmlformats.org/officeDocument/2006/relationships/image" Target="../media/image67.svg"/><Relationship Id="rId17" Type="http://schemas.openxmlformats.org/officeDocument/2006/relationships/image" Target="../media/image72.png"/><Relationship Id="rId25" Type="http://schemas.openxmlformats.org/officeDocument/2006/relationships/image" Target="../media/image80.png"/><Relationship Id="rId33" Type="http://schemas.openxmlformats.org/officeDocument/2006/relationships/image" Target="../media/image88.png"/><Relationship Id="rId38" Type="http://schemas.openxmlformats.org/officeDocument/2006/relationships/image" Target="../media/image93.svg"/><Relationship Id="rId46" Type="http://schemas.openxmlformats.org/officeDocument/2006/relationships/image" Target="../media/image101.svg"/><Relationship Id="rId20" Type="http://schemas.openxmlformats.org/officeDocument/2006/relationships/image" Target="../media/image75.svg"/><Relationship Id="rId41" Type="http://schemas.openxmlformats.org/officeDocument/2006/relationships/image" Target="../media/image9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svg"/><Relationship Id="rId13" Type="http://schemas.openxmlformats.org/officeDocument/2006/relationships/image" Target="../media/image116.png"/><Relationship Id="rId18" Type="http://schemas.openxmlformats.org/officeDocument/2006/relationships/image" Target="../media/image121.svg"/><Relationship Id="rId26" Type="http://schemas.openxmlformats.org/officeDocument/2006/relationships/image" Target="../media/image129.svg"/><Relationship Id="rId3" Type="http://schemas.openxmlformats.org/officeDocument/2006/relationships/image" Target="../media/image106.png"/><Relationship Id="rId21" Type="http://schemas.openxmlformats.org/officeDocument/2006/relationships/image" Target="../media/image124.png"/><Relationship Id="rId7" Type="http://schemas.openxmlformats.org/officeDocument/2006/relationships/image" Target="../media/image110.png"/><Relationship Id="rId12" Type="http://schemas.openxmlformats.org/officeDocument/2006/relationships/image" Target="../media/image115.svg"/><Relationship Id="rId17" Type="http://schemas.openxmlformats.org/officeDocument/2006/relationships/image" Target="../media/image120.png"/><Relationship Id="rId25" Type="http://schemas.openxmlformats.org/officeDocument/2006/relationships/image" Target="../media/image128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119.svg"/><Relationship Id="rId20" Type="http://schemas.openxmlformats.org/officeDocument/2006/relationships/image" Target="../media/image123.svg"/><Relationship Id="rId29" Type="http://schemas.openxmlformats.org/officeDocument/2006/relationships/image" Target="../media/image13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9.svg"/><Relationship Id="rId11" Type="http://schemas.openxmlformats.org/officeDocument/2006/relationships/image" Target="../media/image114.png"/><Relationship Id="rId24" Type="http://schemas.openxmlformats.org/officeDocument/2006/relationships/image" Target="../media/image127.svg"/><Relationship Id="rId5" Type="http://schemas.openxmlformats.org/officeDocument/2006/relationships/image" Target="../media/image108.png"/><Relationship Id="rId15" Type="http://schemas.openxmlformats.org/officeDocument/2006/relationships/image" Target="../media/image118.png"/><Relationship Id="rId23" Type="http://schemas.openxmlformats.org/officeDocument/2006/relationships/image" Target="../media/image126.png"/><Relationship Id="rId28" Type="http://schemas.openxmlformats.org/officeDocument/2006/relationships/image" Target="../media/image131.svg"/><Relationship Id="rId10" Type="http://schemas.openxmlformats.org/officeDocument/2006/relationships/image" Target="../media/image113.svg"/><Relationship Id="rId19" Type="http://schemas.openxmlformats.org/officeDocument/2006/relationships/image" Target="../media/image122.png"/><Relationship Id="rId4" Type="http://schemas.openxmlformats.org/officeDocument/2006/relationships/image" Target="../media/image107.svg"/><Relationship Id="rId9" Type="http://schemas.openxmlformats.org/officeDocument/2006/relationships/image" Target="../media/image112.png"/><Relationship Id="rId14" Type="http://schemas.openxmlformats.org/officeDocument/2006/relationships/image" Target="../media/image117.svg"/><Relationship Id="rId22" Type="http://schemas.openxmlformats.org/officeDocument/2006/relationships/image" Target="../media/image125.svg"/><Relationship Id="rId27" Type="http://schemas.openxmlformats.org/officeDocument/2006/relationships/image" Target="../media/image130.png"/><Relationship Id="rId30" Type="http://schemas.openxmlformats.org/officeDocument/2006/relationships/image" Target="../media/image133.sv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57.svg"/><Relationship Id="rId21" Type="http://schemas.openxmlformats.org/officeDocument/2006/relationships/image" Target="../media/image152.png"/><Relationship Id="rId42" Type="http://schemas.openxmlformats.org/officeDocument/2006/relationships/image" Target="../media/image173.svg"/><Relationship Id="rId47" Type="http://schemas.openxmlformats.org/officeDocument/2006/relationships/image" Target="../media/image178.png"/><Relationship Id="rId63" Type="http://schemas.openxmlformats.org/officeDocument/2006/relationships/image" Target="../media/image194.png"/><Relationship Id="rId68" Type="http://schemas.openxmlformats.org/officeDocument/2006/relationships/image" Target="../media/image199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147.svg"/><Relationship Id="rId29" Type="http://schemas.openxmlformats.org/officeDocument/2006/relationships/image" Target="../media/image160.png"/><Relationship Id="rId11" Type="http://schemas.openxmlformats.org/officeDocument/2006/relationships/image" Target="../media/image142.png"/><Relationship Id="rId24" Type="http://schemas.openxmlformats.org/officeDocument/2006/relationships/image" Target="../media/image155.svg"/><Relationship Id="rId32" Type="http://schemas.openxmlformats.org/officeDocument/2006/relationships/image" Target="../media/image163.svg"/><Relationship Id="rId37" Type="http://schemas.openxmlformats.org/officeDocument/2006/relationships/image" Target="../media/image168.png"/><Relationship Id="rId40" Type="http://schemas.openxmlformats.org/officeDocument/2006/relationships/image" Target="../media/image171.svg"/><Relationship Id="rId45" Type="http://schemas.openxmlformats.org/officeDocument/2006/relationships/image" Target="../media/image176.png"/><Relationship Id="rId53" Type="http://schemas.openxmlformats.org/officeDocument/2006/relationships/image" Target="../media/image184.png"/><Relationship Id="rId58" Type="http://schemas.openxmlformats.org/officeDocument/2006/relationships/image" Target="../media/image189.svg"/><Relationship Id="rId66" Type="http://schemas.openxmlformats.org/officeDocument/2006/relationships/image" Target="../media/image197.svg"/><Relationship Id="rId74" Type="http://schemas.openxmlformats.org/officeDocument/2006/relationships/image" Target="../media/image205.svg"/><Relationship Id="rId5" Type="http://schemas.openxmlformats.org/officeDocument/2006/relationships/image" Target="../media/image136.png"/><Relationship Id="rId61" Type="http://schemas.openxmlformats.org/officeDocument/2006/relationships/image" Target="../media/image192.png"/><Relationship Id="rId19" Type="http://schemas.openxmlformats.org/officeDocument/2006/relationships/image" Target="../media/image150.png"/><Relationship Id="rId14" Type="http://schemas.openxmlformats.org/officeDocument/2006/relationships/image" Target="../media/image145.svg"/><Relationship Id="rId22" Type="http://schemas.openxmlformats.org/officeDocument/2006/relationships/image" Target="../media/image153.svg"/><Relationship Id="rId27" Type="http://schemas.openxmlformats.org/officeDocument/2006/relationships/image" Target="../media/image158.png"/><Relationship Id="rId30" Type="http://schemas.openxmlformats.org/officeDocument/2006/relationships/image" Target="../media/image161.svg"/><Relationship Id="rId35" Type="http://schemas.openxmlformats.org/officeDocument/2006/relationships/image" Target="../media/image166.png"/><Relationship Id="rId43" Type="http://schemas.openxmlformats.org/officeDocument/2006/relationships/image" Target="../media/image174.png"/><Relationship Id="rId48" Type="http://schemas.openxmlformats.org/officeDocument/2006/relationships/image" Target="../media/image179.svg"/><Relationship Id="rId56" Type="http://schemas.openxmlformats.org/officeDocument/2006/relationships/image" Target="../media/image187.svg"/><Relationship Id="rId64" Type="http://schemas.openxmlformats.org/officeDocument/2006/relationships/image" Target="../media/image195.svg"/><Relationship Id="rId69" Type="http://schemas.openxmlformats.org/officeDocument/2006/relationships/image" Target="../media/image200.png"/><Relationship Id="rId8" Type="http://schemas.openxmlformats.org/officeDocument/2006/relationships/image" Target="../media/image139.svg"/><Relationship Id="rId51" Type="http://schemas.openxmlformats.org/officeDocument/2006/relationships/image" Target="../media/image182.png"/><Relationship Id="rId72" Type="http://schemas.openxmlformats.org/officeDocument/2006/relationships/image" Target="../media/image203.svg"/><Relationship Id="rId3" Type="http://schemas.openxmlformats.org/officeDocument/2006/relationships/image" Target="../media/image134.png"/><Relationship Id="rId12" Type="http://schemas.openxmlformats.org/officeDocument/2006/relationships/image" Target="../media/image143.svg"/><Relationship Id="rId17" Type="http://schemas.openxmlformats.org/officeDocument/2006/relationships/image" Target="../media/image148.png"/><Relationship Id="rId25" Type="http://schemas.openxmlformats.org/officeDocument/2006/relationships/image" Target="../media/image156.png"/><Relationship Id="rId33" Type="http://schemas.openxmlformats.org/officeDocument/2006/relationships/image" Target="../media/image164.png"/><Relationship Id="rId38" Type="http://schemas.openxmlformats.org/officeDocument/2006/relationships/image" Target="../media/image169.svg"/><Relationship Id="rId46" Type="http://schemas.openxmlformats.org/officeDocument/2006/relationships/image" Target="../media/image177.svg"/><Relationship Id="rId59" Type="http://schemas.openxmlformats.org/officeDocument/2006/relationships/image" Target="../media/image190.png"/><Relationship Id="rId67" Type="http://schemas.openxmlformats.org/officeDocument/2006/relationships/image" Target="../media/image198.png"/><Relationship Id="rId20" Type="http://schemas.openxmlformats.org/officeDocument/2006/relationships/image" Target="../media/image151.svg"/><Relationship Id="rId41" Type="http://schemas.openxmlformats.org/officeDocument/2006/relationships/image" Target="../media/image172.png"/><Relationship Id="rId54" Type="http://schemas.openxmlformats.org/officeDocument/2006/relationships/image" Target="../media/image185.svg"/><Relationship Id="rId62" Type="http://schemas.openxmlformats.org/officeDocument/2006/relationships/image" Target="../media/image193.svg"/><Relationship Id="rId70" Type="http://schemas.openxmlformats.org/officeDocument/2006/relationships/image" Target="../media/image201.svg"/><Relationship Id="rId75" Type="http://schemas.openxmlformats.org/officeDocument/2006/relationships/image" Target="../media/image20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7.svg"/><Relationship Id="rId15" Type="http://schemas.openxmlformats.org/officeDocument/2006/relationships/image" Target="../media/image146.png"/><Relationship Id="rId23" Type="http://schemas.openxmlformats.org/officeDocument/2006/relationships/image" Target="../media/image154.png"/><Relationship Id="rId28" Type="http://schemas.openxmlformats.org/officeDocument/2006/relationships/image" Target="../media/image159.svg"/><Relationship Id="rId36" Type="http://schemas.openxmlformats.org/officeDocument/2006/relationships/image" Target="../media/image167.svg"/><Relationship Id="rId49" Type="http://schemas.openxmlformats.org/officeDocument/2006/relationships/image" Target="../media/image180.png"/><Relationship Id="rId57" Type="http://schemas.openxmlformats.org/officeDocument/2006/relationships/image" Target="../media/image188.png"/><Relationship Id="rId10" Type="http://schemas.openxmlformats.org/officeDocument/2006/relationships/image" Target="../media/image141.svg"/><Relationship Id="rId31" Type="http://schemas.openxmlformats.org/officeDocument/2006/relationships/image" Target="../media/image162.png"/><Relationship Id="rId44" Type="http://schemas.openxmlformats.org/officeDocument/2006/relationships/image" Target="../media/image175.svg"/><Relationship Id="rId52" Type="http://schemas.openxmlformats.org/officeDocument/2006/relationships/image" Target="../media/image183.svg"/><Relationship Id="rId60" Type="http://schemas.openxmlformats.org/officeDocument/2006/relationships/image" Target="../media/image191.svg"/><Relationship Id="rId65" Type="http://schemas.openxmlformats.org/officeDocument/2006/relationships/image" Target="../media/image196.png"/><Relationship Id="rId73" Type="http://schemas.openxmlformats.org/officeDocument/2006/relationships/image" Target="../media/image204.png"/><Relationship Id="rId4" Type="http://schemas.openxmlformats.org/officeDocument/2006/relationships/image" Target="../media/image135.svg"/><Relationship Id="rId9" Type="http://schemas.openxmlformats.org/officeDocument/2006/relationships/image" Target="../media/image140.png"/><Relationship Id="rId13" Type="http://schemas.openxmlformats.org/officeDocument/2006/relationships/image" Target="../media/image144.png"/><Relationship Id="rId18" Type="http://schemas.openxmlformats.org/officeDocument/2006/relationships/image" Target="../media/image149.svg"/><Relationship Id="rId39" Type="http://schemas.openxmlformats.org/officeDocument/2006/relationships/image" Target="../media/image170.png"/><Relationship Id="rId34" Type="http://schemas.openxmlformats.org/officeDocument/2006/relationships/image" Target="../media/image165.svg"/><Relationship Id="rId50" Type="http://schemas.openxmlformats.org/officeDocument/2006/relationships/image" Target="../media/image181.svg"/><Relationship Id="rId55" Type="http://schemas.openxmlformats.org/officeDocument/2006/relationships/image" Target="../media/image186.png"/><Relationship Id="rId76" Type="http://schemas.openxmlformats.org/officeDocument/2006/relationships/image" Target="../media/image207.svg"/><Relationship Id="rId7" Type="http://schemas.openxmlformats.org/officeDocument/2006/relationships/image" Target="../media/image138.png"/><Relationship Id="rId71" Type="http://schemas.openxmlformats.org/officeDocument/2006/relationships/image" Target="../media/image202.png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29.svg"/><Relationship Id="rId21" Type="http://schemas.openxmlformats.org/officeDocument/2006/relationships/image" Target="../media/image226.png"/><Relationship Id="rId42" Type="http://schemas.openxmlformats.org/officeDocument/2006/relationships/image" Target="../media/image245.svg"/><Relationship Id="rId47" Type="http://schemas.openxmlformats.org/officeDocument/2006/relationships/image" Target="../media/image250.png"/><Relationship Id="rId63" Type="http://schemas.openxmlformats.org/officeDocument/2006/relationships/image" Target="../media/image266.png"/><Relationship Id="rId68" Type="http://schemas.openxmlformats.org/officeDocument/2006/relationships/image" Target="../media/image271.sv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221.svg"/><Relationship Id="rId29" Type="http://schemas.openxmlformats.org/officeDocument/2006/relationships/image" Target="../media/image232.png"/><Relationship Id="rId11" Type="http://schemas.openxmlformats.org/officeDocument/2006/relationships/image" Target="../media/image216.png"/><Relationship Id="rId24" Type="http://schemas.openxmlformats.org/officeDocument/2006/relationships/image" Target="../media/image89.svg"/><Relationship Id="rId32" Type="http://schemas.openxmlformats.org/officeDocument/2006/relationships/image" Target="../media/image235.svg"/><Relationship Id="rId37" Type="http://schemas.openxmlformats.org/officeDocument/2006/relationships/image" Target="../media/image240.png"/><Relationship Id="rId40" Type="http://schemas.openxmlformats.org/officeDocument/2006/relationships/image" Target="../media/image243.svg"/><Relationship Id="rId45" Type="http://schemas.openxmlformats.org/officeDocument/2006/relationships/image" Target="../media/image248.png"/><Relationship Id="rId53" Type="http://schemas.openxmlformats.org/officeDocument/2006/relationships/image" Target="../media/image256.png"/><Relationship Id="rId58" Type="http://schemas.openxmlformats.org/officeDocument/2006/relationships/image" Target="../media/image261.svg"/><Relationship Id="rId66" Type="http://schemas.openxmlformats.org/officeDocument/2006/relationships/image" Target="../media/image269.svg"/><Relationship Id="rId74" Type="http://schemas.openxmlformats.org/officeDocument/2006/relationships/image" Target="../media/image277.svg"/><Relationship Id="rId5" Type="http://schemas.openxmlformats.org/officeDocument/2006/relationships/image" Target="../media/image210.png"/><Relationship Id="rId61" Type="http://schemas.openxmlformats.org/officeDocument/2006/relationships/image" Target="../media/image264.png"/><Relationship Id="rId19" Type="http://schemas.openxmlformats.org/officeDocument/2006/relationships/image" Target="../media/image224.png"/><Relationship Id="rId14" Type="http://schemas.openxmlformats.org/officeDocument/2006/relationships/image" Target="../media/image219.svg"/><Relationship Id="rId22" Type="http://schemas.openxmlformats.org/officeDocument/2006/relationships/image" Target="../media/image227.svg"/><Relationship Id="rId27" Type="http://schemas.openxmlformats.org/officeDocument/2006/relationships/image" Target="../media/image230.png"/><Relationship Id="rId30" Type="http://schemas.openxmlformats.org/officeDocument/2006/relationships/image" Target="../media/image233.svg"/><Relationship Id="rId35" Type="http://schemas.openxmlformats.org/officeDocument/2006/relationships/image" Target="../media/image238.png"/><Relationship Id="rId43" Type="http://schemas.openxmlformats.org/officeDocument/2006/relationships/image" Target="../media/image246.png"/><Relationship Id="rId48" Type="http://schemas.openxmlformats.org/officeDocument/2006/relationships/image" Target="../media/image251.svg"/><Relationship Id="rId56" Type="http://schemas.openxmlformats.org/officeDocument/2006/relationships/image" Target="../media/image259.svg"/><Relationship Id="rId64" Type="http://schemas.openxmlformats.org/officeDocument/2006/relationships/image" Target="../media/image267.svg"/><Relationship Id="rId69" Type="http://schemas.openxmlformats.org/officeDocument/2006/relationships/image" Target="../media/image272.png"/><Relationship Id="rId8" Type="http://schemas.openxmlformats.org/officeDocument/2006/relationships/image" Target="../media/image213.svg"/><Relationship Id="rId51" Type="http://schemas.openxmlformats.org/officeDocument/2006/relationships/image" Target="../media/image254.png"/><Relationship Id="rId72" Type="http://schemas.openxmlformats.org/officeDocument/2006/relationships/image" Target="../media/image275.svg"/><Relationship Id="rId3" Type="http://schemas.openxmlformats.org/officeDocument/2006/relationships/image" Target="../media/image208.png"/><Relationship Id="rId12" Type="http://schemas.openxmlformats.org/officeDocument/2006/relationships/image" Target="../media/image217.svg"/><Relationship Id="rId17" Type="http://schemas.openxmlformats.org/officeDocument/2006/relationships/image" Target="../media/image222.png"/><Relationship Id="rId25" Type="http://schemas.openxmlformats.org/officeDocument/2006/relationships/image" Target="../media/image228.png"/><Relationship Id="rId33" Type="http://schemas.openxmlformats.org/officeDocument/2006/relationships/image" Target="../media/image236.png"/><Relationship Id="rId38" Type="http://schemas.openxmlformats.org/officeDocument/2006/relationships/image" Target="../media/image241.svg"/><Relationship Id="rId46" Type="http://schemas.openxmlformats.org/officeDocument/2006/relationships/image" Target="../media/image249.svg"/><Relationship Id="rId59" Type="http://schemas.openxmlformats.org/officeDocument/2006/relationships/image" Target="../media/image262.png"/><Relationship Id="rId67" Type="http://schemas.openxmlformats.org/officeDocument/2006/relationships/image" Target="../media/image270.png"/><Relationship Id="rId20" Type="http://schemas.openxmlformats.org/officeDocument/2006/relationships/image" Target="../media/image225.svg"/><Relationship Id="rId41" Type="http://schemas.openxmlformats.org/officeDocument/2006/relationships/image" Target="../media/image244.png"/><Relationship Id="rId54" Type="http://schemas.openxmlformats.org/officeDocument/2006/relationships/image" Target="../media/image257.svg"/><Relationship Id="rId62" Type="http://schemas.openxmlformats.org/officeDocument/2006/relationships/image" Target="../media/image265.svg"/><Relationship Id="rId70" Type="http://schemas.openxmlformats.org/officeDocument/2006/relationships/image" Target="../media/image273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1.svg"/><Relationship Id="rId15" Type="http://schemas.openxmlformats.org/officeDocument/2006/relationships/image" Target="../media/image220.png"/><Relationship Id="rId23" Type="http://schemas.openxmlformats.org/officeDocument/2006/relationships/image" Target="../media/image88.png"/><Relationship Id="rId28" Type="http://schemas.openxmlformats.org/officeDocument/2006/relationships/image" Target="../media/image231.svg"/><Relationship Id="rId36" Type="http://schemas.openxmlformats.org/officeDocument/2006/relationships/image" Target="../media/image239.svg"/><Relationship Id="rId49" Type="http://schemas.openxmlformats.org/officeDocument/2006/relationships/image" Target="../media/image252.png"/><Relationship Id="rId57" Type="http://schemas.openxmlformats.org/officeDocument/2006/relationships/image" Target="../media/image260.png"/><Relationship Id="rId10" Type="http://schemas.openxmlformats.org/officeDocument/2006/relationships/image" Target="../media/image215.svg"/><Relationship Id="rId31" Type="http://schemas.openxmlformats.org/officeDocument/2006/relationships/image" Target="../media/image234.png"/><Relationship Id="rId44" Type="http://schemas.openxmlformats.org/officeDocument/2006/relationships/image" Target="../media/image247.svg"/><Relationship Id="rId52" Type="http://schemas.openxmlformats.org/officeDocument/2006/relationships/image" Target="../media/image255.svg"/><Relationship Id="rId60" Type="http://schemas.openxmlformats.org/officeDocument/2006/relationships/image" Target="../media/image263.svg"/><Relationship Id="rId65" Type="http://schemas.openxmlformats.org/officeDocument/2006/relationships/image" Target="../media/image268.png"/><Relationship Id="rId73" Type="http://schemas.openxmlformats.org/officeDocument/2006/relationships/image" Target="../media/image276.png"/><Relationship Id="rId4" Type="http://schemas.openxmlformats.org/officeDocument/2006/relationships/image" Target="../media/image209.svg"/><Relationship Id="rId9" Type="http://schemas.openxmlformats.org/officeDocument/2006/relationships/image" Target="../media/image214.png"/><Relationship Id="rId13" Type="http://schemas.openxmlformats.org/officeDocument/2006/relationships/image" Target="../media/image218.png"/><Relationship Id="rId18" Type="http://schemas.openxmlformats.org/officeDocument/2006/relationships/image" Target="../media/image223.svg"/><Relationship Id="rId39" Type="http://schemas.openxmlformats.org/officeDocument/2006/relationships/image" Target="../media/image242.png"/><Relationship Id="rId34" Type="http://schemas.openxmlformats.org/officeDocument/2006/relationships/image" Target="../media/image237.svg"/><Relationship Id="rId50" Type="http://schemas.openxmlformats.org/officeDocument/2006/relationships/image" Target="../media/image253.svg"/><Relationship Id="rId55" Type="http://schemas.openxmlformats.org/officeDocument/2006/relationships/image" Target="../media/image258.png"/><Relationship Id="rId7" Type="http://schemas.openxmlformats.org/officeDocument/2006/relationships/image" Target="../media/image212.png"/><Relationship Id="rId71" Type="http://schemas.openxmlformats.org/officeDocument/2006/relationships/image" Target="../media/image274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88.png"/><Relationship Id="rId18" Type="http://schemas.openxmlformats.org/officeDocument/2006/relationships/image" Target="../media/image293.svg"/><Relationship Id="rId26" Type="http://schemas.openxmlformats.org/officeDocument/2006/relationships/image" Target="../media/image301.svg"/><Relationship Id="rId39" Type="http://schemas.openxmlformats.org/officeDocument/2006/relationships/image" Target="../media/image314.png"/><Relationship Id="rId21" Type="http://schemas.openxmlformats.org/officeDocument/2006/relationships/image" Target="../media/image296.png"/><Relationship Id="rId34" Type="http://schemas.openxmlformats.org/officeDocument/2006/relationships/image" Target="../media/image309.svg"/><Relationship Id="rId42" Type="http://schemas.openxmlformats.org/officeDocument/2006/relationships/image" Target="../media/image317.svg"/><Relationship Id="rId7" Type="http://schemas.openxmlformats.org/officeDocument/2006/relationships/image" Target="../media/image282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291.svg"/><Relationship Id="rId20" Type="http://schemas.openxmlformats.org/officeDocument/2006/relationships/image" Target="../media/image295.svg"/><Relationship Id="rId29" Type="http://schemas.openxmlformats.org/officeDocument/2006/relationships/image" Target="../media/image304.png"/><Relationship Id="rId41" Type="http://schemas.openxmlformats.org/officeDocument/2006/relationships/image" Target="../media/image31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1.svg"/><Relationship Id="rId11" Type="http://schemas.openxmlformats.org/officeDocument/2006/relationships/image" Target="../media/image286.png"/><Relationship Id="rId24" Type="http://schemas.openxmlformats.org/officeDocument/2006/relationships/image" Target="../media/image299.svg"/><Relationship Id="rId32" Type="http://schemas.openxmlformats.org/officeDocument/2006/relationships/image" Target="../media/image307.svg"/><Relationship Id="rId37" Type="http://schemas.openxmlformats.org/officeDocument/2006/relationships/image" Target="../media/image312.png"/><Relationship Id="rId40" Type="http://schemas.openxmlformats.org/officeDocument/2006/relationships/image" Target="../media/image315.svg"/><Relationship Id="rId5" Type="http://schemas.openxmlformats.org/officeDocument/2006/relationships/image" Target="../media/image280.png"/><Relationship Id="rId15" Type="http://schemas.openxmlformats.org/officeDocument/2006/relationships/image" Target="../media/image290.png"/><Relationship Id="rId23" Type="http://schemas.openxmlformats.org/officeDocument/2006/relationships/image" Target="../media/image298.png"/><Relationship Id="rId28" Type="http://schemas.openxmlformats.org/officeDocument/2006/relationships/image" Target="../media/image303.svg"/><Relationship Id="rId36" Type="http://schemas.openxmlformats.org/officeDocument/2006/relationships/image" Target="../media/image311.svg"/><Relationship Id="rId10" Type="http://schemas.openxmlformats.org/officeDocument/2006/relationships/image" Target="../media/image285.svg"/><Relationship Id="rId19" Type="http://schemas.openxmlformats.org/officeDocument/2006/relationships/image" Target="../media/image294.png"/><Relationship Id="rId31" Type="http://schemas.openxmlformats.org/officeDocument/2006/relationships/image" Target="../media/image306.png"/><Relationship Id="rId44" Type="http://schemas.openxmlformats.org/officeDocument/2006/relationships/image" Target="../media/image267.svg"/><Relationship Id="rId4" Type="http://schemas.openxmlformats.org/officeDocument/2006/relationships/image" Target="../media/image279.svg"/><Relationship Id="rId9" Type="http://schemas.openxmlformats.org/officeDocument/2006/relationships/image" Target="../media/image284.png"/><Relationship Id="rId14" Type="http://schemas.openxmlformats.org/officeDocument/2006/relationships/image" Target="../media/image289.svg"/><Relationship Id="rId22" Type="http://schemas.openxmlformats.org/officeDocument/2006/relationships/image" Target="../media/image297.svg"/><Relationship Id="rId27" Type="http://schemas.openxmlformats.org/officeDocument/2006/relationships/image" Target="../media/image302.png"/><Relationship Id="rId30" Type="http://schemas.openxmlformats.org/officeDocument/2006/relationships/image" Target="../media/image305.svg"/><Relationship Id="rId35" Type="http://schemas.openxmlformats.org/officeDocument/2006/relationships/image" Target="../media/image310.png"/><Relationship Id="rId43" Type="http://schemas.openxmlformats.org/officeDocument/2006/relationships/image" Target="../media/image266.png"/><Relationship Id="rId8" Type="http://schemas.openxmlformats.org/officeDocument/2006/relationships/image" Target="../media/image283.svg"/><Relationship Id="rId3" Type="http://schemas.openxmlformats.org/officeDocument/2006/relationships/image" Target="../media/image278.png"/><Relationship Id="rId12" Type="http://schemas.openxmlformats.org/officeDocument/2006/relationships/image" Target="../media/image287.svg"/><Relationship Id="rId17" Type="http://schemas.openxmlformats.org/officeDocument/2006/relationships/image" Target="../media/image292.png"/><Relationship Id="rId25" Type="http://schemas.openxmlformats.org/officeDocument/2006/relationships/image" Target="../media/image300.png"/><Relationship Id="rId33" Type="http://schemas.openxmlformats.org/officeDocument/2006/relationships/image" Target="../media/image308.png"/><Relationship Id="rId38" Type="http://schemas.openxmlformats.org/officeDocument/2006/relationships/image" Target="../media/image31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9B7F8-F06F-4E9B-95B5-B05974962B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62E55D-4D82-4AC6-B19F-54FFC4102C3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TC Corporate Template FY'24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E314915-6DA6-49E4-AC3D-A0BC07D763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5A3CA-BBCA-4111-8F80-F90EEDC44B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05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Graphic 116">
            <a:extLst>
              <a:ext uri="{FF2B5EF4-FFF2-40B4-BE49-F238E27FC236}">
                <a16:creationId xmlns:a16="http://schemas.microsoft.com/office/drawing/2014/main" id="{9004D953-1E46-A5FE-E914-30054E3A39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91779" y="4445058"/>
            <a:ext cx="609600" cy="590550"/>
          </a:xfrm>
          <a:prstGeom prst="rect">
            <a:avLst/>
          </a:prstGeom>
        </p:spPr>
      </p:pic>
      <p:sp>
        <p:nvSpPr>
          <p:cNvPr id="59" name="Text Placeholder 81">
            <a:extLst>
              <a:ext uri="{FF2B5EF4-FFF2-40B4-BE49-F238E27FC236}">
                <a16:creationId xmlns:a16="http://schemas.microsoft.com/office/drawing/2014/main" id="{C47B2529-E1B3-3D4C-95AE-06672C0BBB93}"/>
              </a:ext>
            </a:extLst>
          </p:cNvPr>
          <p:cNvSpPr txBox="1">
            <a:spLocks/>
          </p:cNvSpPr>
          <p:nvPr/>
        </p:nvSpPr>
        <p:spPr>
          <a:xfrm>
            <a:off x="4488587" y="2921150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ime</a:t>
            </a:r>
          </a:p>
        </p:txBody>
      </p:sp>
      <p:sp>
        <p:nvSpPr>
          <p:cNvPr id="7" name="Text Placeholder 81">
            <a:extLst>
              <a:ext uri="{FF2B5EF4-FFF2-40B4-BE49-F238E27FC236}">
                <a16:creationId xmlns:a16="http://schemas.microsoft.com/office/drawing/2014/main" id="{96985E25-C2FD-E04C-68C2-0D9648AD1F6D}"/>
              </a:ext>
            </a:extLst>
          </p:cNvPr>
          <p:cNvSpPr txBox="1">
            <a:spLocks/>
          </p:cNvSpPr>
          <p:nvPr/>
        </p:nvSpPr>
        <p:spPr>
          <a:xfrm>
            <a:off x="2058578" y="2921151"/>
            <a:ext cx="96999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Money, Pay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82C035B-7D97-3A9B-A476-0E18CE99F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ICONS</a:t>
            </a:r>
          </a:p>
        </p:txBody>
      </p:sp>
      <p:sp>
        <p:nvSpPr>
          <p:cNvPr id="27" name="Text Placeholder 81">
            <a:extLst>
              <a:ext uri="{FF2B5EF4-FFF2-40B4-BE49-F238E27FC236}">
                <a16:creationId xmlns:a16="http://schemas.microsoft.com/office/drawing/2014/main" id="{069792BD-15B2-A46A-D522-82F4D98FE00F}"/>
              </a:ext>
            </a:extLst>
          </p:cNvPr>
          <p:cNvSpPr txBox="1">
            <a:spLocks/>
          </p:cNvSpPr>
          <p:nvPr/>
        </p:nvSpPr>
        <p:spPr>
          <a:xfrm>
            <a:off x="396544" y="1559124"/>
            <a:ext cx="113967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ar Chart, Growth, Increased</a:t>
            </a:r>
          </a:p>
        </p:txBody>
      </p:sp>
      <p:sp>
        <p:nvSpPr>
          <p:cNvPr id="28" name="Text Placeholder 81">
            <a:extLst>
              <a:ext uri="{FF2B5EF4-FFF2-40B4-BE49-F238E27FC236}">
                <a16:creationId xmlns:a16="http://schemas.microsoft.com/office/drawing/2014/main" id="{7BE71B30-903F-A2ED-9697-14D8C071CFBA}"/>
              </a:ext>
            </a:extLst>
          </p:cNvPr>
          <p:cNvSpPr txBox="1">
            <a:spLocks/>
          </p:cNvSpPr>
          <p:nvPr/>
        </p:nvSpPr>
        <p:spPr>
          <a:xfrm>
            <a:off x="1606769" y="1559124"/>
            <a:ext cx="79175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ar Chart, Reduced</a:t>
            </a:r>
          </a:p>
        </p:txBody>
      </p:sp>
      <p:sp>
        <p:nvSpPr>
          <p:cNvPr id="29" name="Text Placeholder 81">
            <a:extLst>
              <a:ext uri="{FF2B5EF4-FFF2-40B4-BE49-F238E27FC236}">
                <a16:creationId xmlns:a16="http://schemas.microsoft.com/office/drawing/2014/main" id="{6BFC614C-C4C2-FEC4-B4BE-6B66D83A60BB}"/>
              </a:ext>
            </a:extLst>
          </p:cNvPr>
          <p:cNvSpPr txBox="1">
            <a:spLocks/>
          </p:cNvSpPr>
          <p:nvPr/>
        </p:nvSpPr>
        <p:spPr>
          <a:xfrm>
            <a:off x="2728845" y="1559124"/>
            <a:ext cx="80897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ar Chart Variable</a:t>
            </a:r>
          </a:p>
        </p:txBody>
      </p:sp>
      <p:sp>
        <p:nvSpPr>
          <p:cNvPr id="37" name="object 49">
            <a:extLst>
              <a:ext uri="{FF2B5EF4-FFF2-40B4-BE49-F238E27FC236}">
                <a16:creationId xmlns:a16="http://schemas.microsoft.com/office/drawing/2014/main" id="{0DC4F36C-59F0-9201-F63C-DFEAA3EBE6AC}"/>
              </a:ext>
            </a:extLst>
          </p:cNvPr>
          <p:cNvSpPr txBox="1"/>
          <p:nvPr/>
        </p:nvSpPr>
        <p:spPr>
          <a:xfrm>
            <a:off x="9885464" y="1628374"/>
            <a:ext cx="10109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Analytics</a:t>
            </a:r>
          </a:p>
        </p:txBody>
      </p:sp>
      <p:sp>
        <p:nvSpPr>
          <p:cNvPr id="67" name="object 39">
            <a:extLst>
              <a:ext uri="{FF2B5EF4-FFF2-40B4-BE49-F238E27FC236}">
                <a16:creationId xmlns:a16="http://schemas.microsoft.com/office/drawing/2014/main" id="{618958AE-D357-F22C-319D-CAA378DE1A56}"/>
              </a:ext>
            </a:extLst>
          </p:cNvPr>
          <p:cNvSpPr txBox="1"/>
          <p:nvPr/>
        </p:nvSpPr>
        <p:spPr>
          <a:xfrm>
            <a:off x="6201560" y="1559124"/>
            <a:ext cx="84187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Line </a:t>
            </a:r>
            <a:r>
              <a:rPr lang="en-US" dirty="0"/>
              <a:t>Chart, Reduced</a:t>
            </a:r>
            <a:endParaRPr dirty="0"/>
          </a:p>
        </p:txBody>
      </p:sp>
      <p:sp>
        <p:nvSpPr>
          <p:cNvPr id="69" name="object 17">
            <a:extLst>
              <a:ext uri="{FF2B5EF4-FFF2-40B4-BE49-F238E27FC236}">
                <a16:creationId xmlns:a16="http://schemas.microsoft.com/office/drawing/2014/main" id="{8EEF465C-5DF8-E43E-932D-7D8C31CD34E9}"/>
              </a:ext>
            </a:extLst>
          </p:cNvPr>
          <p:cNvSpPr txBox="1"/>
          <p:nvPr/>
        </p:nvSpPr>
        <p:spPr>
          <a:xfrm>
            <a:off x="7259453" y="1559124"/>
            <a:ext cx="80406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Line </a:t>
            </a:r>
            <a:r>
              <a:rPr lang="en-US" dirty="0"/>
              <a:t>Chart, Increased</a:t>
            </a:r>
            <a:endParaRPr dirty="0"/>
          </a:p>
        </p:txBody>
      </p:sp>
      <p:sp>
        <p:nvSpPr>
          <p:cNvPr id="73" name="object 7">
            <a:extLst>
              <a:ext uri="{FF2B5EF4-FFF2-40B4-BE49-F238E27FC236}">
                <a16:creationId xmlns:a16="http://schemas.microsoft.com/office/drawing/2014/main" id="{21C884FB-3210-4633-33E1-EF31B44C904E}"/>
              </a:ext>
            </a:extLst>
          </p:cNvPr>
          <p:cNvSpPr txBox="1"/>
          <p:nvPr/>
        </p:nvSpPr>
        <p:spPr>
          <a:xfrm>
            <a:off x="10854375" y="2851900"/>
            <a:ext cx="103050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</a:t>
            </a:r>
            <a:r>
              <a:rPr dirty="0"/>
              <a:t>nhanced</a:t>
            </a:r>
            <a:r>
              <a:rPr lang="en-US" dirty="0"/>
              <a:t> Collaboration</a:t>
            </a:r>
            <a:endParaRPr dirty="0"/>
          </a:p>
        </p:txBody>
      </p:sp>
      <p:sp>
        <p:nvSpPr>
          <p:cNvPr id="77" name="object 19">
            <a:extLst>
              <a:ext uri="{FF2B5EF4-FFF2-40B4-BE49-F238E27FC236}">
                <a16:creationId xmlns:a16="http://schemas.microsoft.com/office/drawing/2014/main" id="{CB1BAB79-F7AE-364C-AC27-F0178B9A7A03}"/>
              </a:ext>
            </a:extLst>
          </p:cNvPr>
          <p:cNvSpPr txBox="1"/>
          <p:nvPr/>
        </p:nvSpPr>
        <p:spPr>
          <a:xfrm>
            <a:off x="6969766" y="2921150"/>
            <a:ext cx="1618615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H</a:t>
            </a:r>
            <a:r>
              <a:rPr dirty="0"/>
              <a:t>and</a:t>
            </a:r>
            <a:r>
              <a:rPr lang="en-US" dirty="0"/>
              <a:t>, P</a:t>
            </a:r>
            <a:r>
              <a:rPr dirty="0"/>
              <a:t>ay</a:t>
            </a:r>
            <a:r>
              <a:rPr lang="en-US" dirty="0"/>
              <a:t>, Gratuity</a:t>
            </a:r>
            <a:endParaRPr dirty="0"/>
          </a:p>
        </p:txBody>
      </p:sp>
      <p:sp>
        <p:nvSpPr>
          <p:cNvPr id="79" name="object 33">
            <a:extLst>
              <a:ext uri="{FF2B5EF4-FFF2-40B4-BE49-F238E27FC236}">
                <a16:creationId xmlns:a16="http://schemas.microsoft.com/office/drawing/2014/main" id="{A314914A-02FD-4603-B55B-E2DF0DB8821C}"/>
              </a:ext>
            </a:extLst>
          </p:cNvPr>
          <p:cNvSpPr txBox="1"/>
          <p:nvPr/>
        </p:nvSpPr>
        <p:spPr>
          <a:xfrm>
            <a:off x="9064997" y="2921150"/>
            <a:ext cx="1511819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Handshake</a:t>
            </a:r>
          </a:p>
        </p:txBody>
      </p:sp>
      <p:sp>
        <p:nvSpPr>
          <p:cNvPr id="81" name="object 45">
            <a:extLst>
              <a:ext uri="{FF2B5EF4-FFF2-40B4-BE49-F238E27FC236}">
                <a16:creationId xmlns:a16="http://schemas.microsoft.com/office/drawing/2014/main" id="{757A006A-5970-C809-35DA-F4B291BF234A}"/>
              </a:ext>
            </a:extLst>
          </p:cNvPr>
          <p:cNvSpPr txBox="1"/>
          <p:nvPr/>
        </p:nvSpPr>
        <p:spPr>
          <a:xfrm>
            <a:off x="314590" y="2921150"/>
            <a:ext cx="159194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</a:t>
            </a:r>
            <a:r>
              <a:rPr dirty="0"/>
              <a:t>isk</a:t>
            </a:r>
            <a:r>
              <a:rPr lang="en-US" dirty="0"/>
              <a:t> Cost Pressures</a:t>
            </a:r>
            <a:endParaRPr dirty="0"/>
          </a:p>
        </p:txBody>
      </p:sp>
      <p:sp>
        <p:nvSpPr>
          <p:cNvPr id="85" name="object 11">
            <a:extLst>
              <a:ext uri="{FF2B5EF4-FFF2-40B4-BE49-F238E27FC236}">
                <a16:creationId xmlns:a16="http://schemas.microsoft.com/office/drawing/2014/main" id="{AC204851-B5AD-037A-93B3-7B9C518E1A12}"/>
              </a:ext>
            </a:extLst>
          </p:cNvPr>
          <p:cNvSpPr txBox="1"/>
          <p:nvPr/>
        </p:nvSpPr>
        <p:spPr>
          <a:xfrm>
            <a:off x="9466444" y="5428177"/>
            <a:ext cx="1262381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Strategic</a:t>
            </a:r>
            <a:r>
              <a:rPr lang="en-US" dirty="0"/>
              <a:t> </a:t>
            </a:r>
            <a:r>
              <a:rPr dirty="0"/>
              <a:t>Re-use</a:t>
            </a:r>
          </a:p>
        </p:txBody>
      </p:sp>
      <p:sp>
        <p:nvSpPr>
          <p:cNvPr id="87" name="object 35">
            <a:extLst>
              <a:ext uri="{FF2B5EF4-FFF2-40B4-BE49-F238E27FC236}">
                <a16:creationId xmlns:a16="http://schemas.microsoft.com/office/drawing/2014/main" id="{68C2B501-8D7D-E108-4ED5-A65BED695F02}"/>
              </a:ext>
            </a:extLst>
          </p:cNvPr>
          <p:cNvSpPr txBox="1"/>
          <p:nvPr/>
        </p:nvSpPr>
        <p:spPr>
          <a:xfrm>
            <a:off x="11070823" y="1628374"/>
            <a:ext cx="946834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Strategy</a:t>
            </a:r>
          </a:p>
        </p:txBody>
      </p:sp>
      <p:sp>
        <p:nvSpPr>
          <p:cNvPr id="89" name="object 29">
            <a:extLst>
              <a:ext uri="{FF2B5EF4-FFF2-40B4-BE49-F238E27FC236}">
                <a16:creationId xmlns:a16="http://schemas.microsoft.com/office/drawing/2014/main" id="{2A393ADC-5E40-5351-E20D-EA4317018BE7}"/>
              </a:ext>
            </a:extLst>
          </p:cNvPr>
          <p:cNvSpPr txBox="1"/>
          <p:nvPr/>
        </p:nvSpPr>
        <p:spPr>
          <a:xfrm>
            <a:off x="5559973" y="2921150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ime speed</a:t>
            </a:r>
            <a:endParaRPr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4EF7E7E-EB29-91BC-E7EA-A360F6670750}"/>
              </a:ext>
            </a:extLst>
          </p:cNvPr>
          <p:cNvSpPr txBox="1"/>
          <p:nvPr/>
        </p:nvSpPr>
        <p:spPr>
          <a:xfrm>
            <a:off x="525038" y="5428177"/>
            <a:ext cx="80406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Governance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4FA56CD-8B11-A401-EDB5-49A9F8F787B7}"/>
              </a:ext>
            </a:extLst>
          </p:cNvPr>
          <p:cNvSpPr txBox="1"/>
          <p:nvPr/>
        </p:nvSpPr>
        <p:spPr>
          <a:xfrm>
            <a:off x="2280918" y="4127937"/>
            <a:ext cx="83638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uild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46680F7-7D75-2FFC-F2AA-99CA8B5E2B1E}"/>
              </a:ext>
            </a:extLst>
          </p:cNvPr>
          <p:cNvSpPr txBox="1"/>
          <p:nvPr/>
        </p:nvSpPr>
        <p:spPr>
          <a:xfrm>
            <a:off x="1407206" y="4127937"/>
            <a:ext cx="83638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ity</a:t>
            </a:r>
          </a:p>
        </p:txBody>
      </p:sp>
      <p:sp>
        <p:nvSpPr>
          <p:cNvPr id="31" name="Text Placeholder 81">
            <a:extLst>
              <a:ext uri="{FF2B5EF4-FFF2-40B4-BE49-F238E27FC236}">
                <a16:creationId xmlns:a16="http://schemas.microsoft.com/office/drawing/2014/main" id="{306E81D5-E200-1862-EEF3-130DE22A1E62}"/>
              </a:ext>
            </a:extLst>
          </p:cNvPr>
          <p:cNvSpPr txBox="1">
            <a:spLocks/>
          </p:cNvSpPr>
          <p:nvPr/>
        </p:nvSpPr>
        <p:spPr>
          <a:xfrm>
            <a:off x="3345045" y="4058687"/>
            <a:ext cx="1308379" cy="276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solidFill>
                  <a:schemeClr val="accent5"/>
                </a:solidFill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>
                <a:solidFill>
                  <a:schemeClr val="tx1"/>
                </a:solidFill>
              </a:rPr>
              <a:t>Time, Timing, Schedule</a:t>
            </a:r>
          </a:p>
        </p:txBody>
      </p:sp>
      <p:sp>
        <p:nvSpPr>
          <p:cNvPr id="33" name="Text Placeholder 81">
            <a:extLst>
              <a:ext uri="{FF2B5EF4-FFF2-40B4-BE49-F238E27FC236}">
                <a16:creationId xmlns:a16="http://schemas.microsoft.com/office/drawing/2014/main" id="{1AB4FE53-A79A-9C29-45C6-76ED1328BEE0}"/>
              </a:ext>
            </a:extLst>
          </p:cNvPr>
          <p:cNvSpPr txBox="1">
            <a:spLocks/>
          </p:cNvSpPr>
          <p:nvPr/>
        </p:nvSpPr>
        <p:spPr>
          <a:xfrm>
            <a:off x="4869268" y="4127937"/>
            <a:ext cx="98853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ccelerate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EBBFE6C8-C6C5-3F44-C19F-9F0B5007D21F}"/>
              </a:ext>
            </a:extLst>
          </p:cNvPr>
          <p:cNvSpPr txBox="1">
            <a:spLocks/>
          </p:cNvSpPr>
          <p:nvPr/>
        </p:nvSpPr>
        <p:spPr>
          <a:xfrm>
            <a:off x="6051805" y="4127937"/>
            <a:ext cx="219456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solidFill>
                  <a:schemeClr val="accent5"/>
                </a:solidFill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>
                <a:solidFill>
                  <a:schemeClr val="tx1"/>
                </a:solidFill>
              </a:rPr>
              <a:t>Exchange,  Reassign, Reorder </a:t>
            </a:r>
          </a:p>
        </p:txBody>
      </p:sp>
      <p:sp>
        <p:nvSpPr>
          <p:cNvPr id="100" name="object 23">
            <a:extLst>
              <a:ext uri="{FF2B5EF4-FFF2-40B4-BE49-F238E27FC236}">
                <a16:creationId xmlns:a16="http://schemas.microsoft.com/office/drawing/2014/main" id="{F88D4629-57D8-E835-85FD-8F6ADE401D64}"/>
              </a:ext>
            </a:extLst>
          </p:cNvPr>
          <p:cNvSpPr txBox="1"/>
          <p:nvPr/>
        </p:nvSpPr>
        <p:spPr>
          <a:xfrm>
            <a:off x="8539725" y="4127937"/>
            <a:ext cx="1366499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sz="1000" dirty="0"/>
              <a:t>Lifecycle</a:t>
            </a:r>
            <a:r>
              <a:rPr lang="en-US" sz="1000" dirty="0"/>
              <a:t>, workflow</a:t>
            </a:r>
            <a:endParaRPr sz="1000" dirty="0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748F0474-4003-2F08-BC64-32BAF26A8C40}"/>
              </a:ext>
            </a:extLst>
          </p:cNvPr>
          <p:cNvSpPr txBox="1"/>
          <p:nvPr/>
        </p:nvSpPr>
        <p:spPr>
          <a:xfrm>
            <a:off x="10163128" y="4127937"/>
            <a:ext cx="62292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onnec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5B642D-AE05-B209-3E89-31B01C0788AF}"/>
              </a:ext>
            </a:extLst>
          </p:cNvPr>
          <p:cNvSpPr/>
          <p:nvPr/>
        </p:nvSpPr>
        <p:spPr>
          <a:xfrm>
            <a:off x="502087" y="1189039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Business / Finance  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EFFAACE-EC39-6360-3F40-BCAB5DA33C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3637" y="1935564"/>
            <a:ext cx="609600" cy="6096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13B3F849-BCA0-ACC3-6F49-15B75BC7DC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04019" y="1935564"/>
            <a:ext cx="609600" cy="6096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F5C6EC9F-6AF5-FC70-99D6-4F9B7466884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54401" y="1935564"/>
            <a:ext cx="609600" cy="6096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7CFAF04B-4C3C-E867-D9A1-D29E10A021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05547" y="1935564"/>
            <a:ext cx="609600" cy="6096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5F6332DD-FEAF-FD17-B196-B628EACF712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455929" y="1935564"/>
            <a:ext cx="609600" cy="609600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3C745C1C-7880-8266-1547-EB366E382E2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063226" y="1904391"/>
            <a:ext cx="774700" cy="609600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3F30A03D-AE26-64F1-3CC2-B00C57064F0C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16112" r="13173"/>
          <a:stretch/>
        </p:blipFill>
        <p:spPr>
          <a:xfrm>
            <a:off x="9823716" y="5711643"/>
            <a:ext cx="547836" cy="609600"/>
          </a:xfrm>
          <a:prstGeom prst="rect">
            <a:avLst/>
          </a:prstGeom>
        </p:spPr>
      </p:pic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3423541-3FDE-B09D-8AD3-C39E4992AD67}"/>
              </a:ext>
            </a:extLst>
          </p:cNvPr>
          <p:cNvGrpSpPr/>
          <p:nvPr/>
        </p:nvGrpSpPr>
        <p:grpSpPr>
          <a:xfrm>
            <a:off x="583148" y="5712961"/>
            <a:ext cx="612648" cy="594655"/>
            <a:chOff x="10994491" y="1927858"/>
            <a:chExt cx="612648" cy="594655"/>
          </a:xfrm>
        </p:grpSpPr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3E76279B-67B7-2B57-FF19-572F120F2997}"/>
                </a:ext>
              </a:extLst>
            </p:cNvPr>
            <p:cNvSpPr/>
            <p:nvPr/>
          </p:nvSpPr>
          <p:spPr>
            <a:xfrm>
              <a:off x="11027115" y="2436885"/>
              <a:ext cx="547401" cy="30765"/>
            </a:xfrm>
            <a:custGeom>
              <a:avLst/>
              <a:gdLst>
                <a:gd name="connsiteX0" fmla="*/ 0 w 547401"/>
                <a:gd name="connsiteY0" fmla="*/ 0 h 30765"/>
                <a:gd name="connsiteX1" fmla="*/ 547402 w 547401"/>
                <a:gd name="connsiteY1" fmla="*/ 0 h 30765"/>
                <a:gd name="connsiteX2" fmla="*/ 547402 w 547401"/>
                <a:gd name="connsiteY2" fmla="*/ 30766 h 30765"/>
                <a:gd name="connsiteX3" fmla="*/ 0 w 547401"/>
                <a:gd name="connsiteY3" fmla="*/ 30766 h 30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7401" h="30765">
                  <a:moveTo>
                    <a:pt x="0" y="0"/>
                  </a:moveTo>
                  <a:lnTo>
                    <a:pt x="547402" y="0"/>
                  </a:lnTo>
                  <a:lnTo>
                    <a:pt x="547402" y="30766"/>
                  </a:lnTo>
                  <a:lnTo>
                    <a:pt x="0" y="30766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3F31D168-BD8D-5FEA-0494-CAD2E43E97F3}"/>
                </a:ext>
              </a:extLst>
            </p:cNvPr>
            <p:cNvSpPr/>
            <p:nvPr/>
          </p:nvSpPr>
          <p:spPr>
            <a:xfrm>
              <a:off x="10994491" y="2467649"/>
              <a:ext cx="612648" cy="54864"/>
            </a:xfrm>
            <a:custGeom>
              <a:avLst/>
              <a:gdLst>
                <a:gd name="connsiteX0" fmla="*/ 0 w 547401"/>
                <a:gd name="connsiteY0" fmla="*/ 0 h 30765"/>
                <a:gd name="connsiteX1" fmla="*/ 547402 w 547401"/>
                <a:gd name="connsiteY1" fmla="*/ 0 h 30765"/>
                <a:gd name="connsiteX2" fmla="*/ 547402 w 547401"/>
                <a:gd name="connsiteY2" fmla="*/ 30766 h 30765"/>
                <a:gd name="connsiteX3" fmla="*/ 0 w 547401"/>
                <a:gd name="connsiteY3" fmla="*/ 30766 h 30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7401" h="30765">
                  <a:moveTo>
                    <a:pt x="0" y="0"/>
                  </a:moveTo>
                  <a:lnTo>
                    <a:pt x="547402" y="0"/>
                  </a:lnTo>
                  <a:lnTo>
                    <a:pt x="547402" y="30766"/>
                  </a:lnTo>
                  <a:lnTo>
                    <a:pt x="0" y="30766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D255E0FA-A000-D36A-6664-FD5AB2AC8C8A}"/>
                </a:ext>
              </a:extLst>
            </p:cNvPr>
            <p:cNvSpPr/>
            <p:nvPr/>
          </p:nvSpPr>
          <p:spPr>
            <a:xfrm>
              <a:off x="11027115" y="2099880"/>
              <a:ext cx="547401" cy="30765"/>
            </a:xfrm>
            <a:custGeom>
              <a:avLst/>
              <a:gdLst>
                <a:gd name="connsiteX0" fmla="*/ 0 w 547401"/>
                <a:gd name="connsiteY0" fmla="*/ 0 h 30765"/>
                <a:gd name="connsiteX1" fmla="*/ 547402 w 547401"/>
                <a:gd name="connsiteY1" fmla="*/ 0 h 30765"/>
                <a:gd name="connsiteX2" fmla="*/ 547402 w 547401"/>
                <a:gd name="connsiteY2" fmla="*/ 30766 h 30765"/>
                <a:gd name="connsiteX3" fmla="*/ 0 w 547401"/>
                <a:gd name="connsiteY3" fmla="*/ 30766 h 30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7401" h="30765">
                  <a:moveTo>
                    <a:pt x="0" y="0"/>
                  </a:moveTo>
                  <a:lnTo>
                    <a:pt x="547402" y="0"/>
                  </a:lnTo>
                  <a:lnTo>
                    <a:pt x="547402" y="30766"/>
                  </a:lnTo>
                  <a:lnTo>
                    <a:pt x="0" y="30766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FBF69551-A87E-037E-EEBC-01455D2B4399}"/>
                </a:ext>
              </a:extLst>
            </p:cNvPr>
            <p:cNvSpPr/>
            <p:nvPr/>
          </p:nvSpPr>
          <p:spPr>
            <a:xfrm>
              <a:off x="11027115" y="1927858"/>
              <a:ext cx="547401" cy="143446"/>
            </a:xfrm>
            <a:custGeom>
              <a:avLst/>
              <a:gdLst>
                <a:gd name="connsiteX0" fmla="*/ 273749 w 547401"/>
                <a:gd name="connsiteY0" fmla="*/ 0 h 143446"/>
                <a:gd name="connsiteX1" fmla="*/ 0 w 547401"/>
                <a:gd name="connsiteY1" fmla="*/ 111919 h 143446"/>
                <a:gd name="connsiteX2" fmla="*/ 0 w 547401"/>
                <a:gd name="connsiteY2" fmla="*/ 143447 h 143446"/>
                <a:gd name="connsiteX3" fmla="*/ 547402 w 547401"/>
                <a:gd name="connsiteY3" fmla="*/ 143447 h 143446"/>
                <a:gd name="connsiteX4" fmla="*/ 547402 w 547401"/>
                <a:gd name="connsiteY4" fmla="*/ 111919 h 143446"/>
                <a:gd name="connsiteX5" fmla="*/ 273749 w 547401"/>
                <a:gd name="connsiteY5" fmla="*/ 0 h 143446"/>
                <a:gd name="connsiteX6" fmla="*/ 273749 w 547401"/>
                <a:gd name="connsiteY6" fmla="*/ 104680 h 143446"/>
                <a:gd name="connsiteX7" fmla="*/ 240411 w 547401"/>
                <a:gd name="connsiteY7" fmla="*/ 71342 h 143446"/>
                <a:gd name="connsiteX8" fmla="*/ 273749 w 547401"/>
                <a:gd name="connsiteY8" fmla="*/ 38005 h 143446"/>
                <a:gd name="connsiteX9" fmla="*/ 307086 w 547401"/>
                <a:gd name="connsiteY9" fmla="*/ 71342 h 143446"/>
                <a:gd name="connsiteX10" fmla="*/ 273749 w 547401"/>
                <a:gd name="connsiteY10" fmla="*/ 104680 h 143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7401" h="143446">
                  <a:moveTo>
                    <a:pt x="273749" y="0"/>
                  </a:moveTo>
                  <a:lnTo>
                    <a:pt x="0" y="111919"/>
                  </a:lnTo>
                  <a:lnTo>
                    <a:pt x="0" y="143447"/>
                  </a:lnTo>
                  <a:lnTo>
                    <a:pt x="547402" y="143447"/>
                  </a:lnTo>
                  <a:lnTo>
                    <a:pt x="547402" y="111919"/>
                  </a:lnTo>
                  <a:lnTo>
                    <a:pt x="273749" y="0"/>
                  </a:lnTo>
                  <a:close/>
                  <a:moveTo>
                    <a:pt x="273749" y="104680"/>
                  </a:moveTo>
                  <a:cubicBezTo>
                    <a:pt x="255365" y="104680"/>
                    <a:pt x="240411" y="89726"/>
                    <a:pt x="240411" y="71342"/>
                  </a:cubicBezTo>
                  <a:cubicBezTo>
                    <a:pt x="240411" y="52959"/>
                    <a:pt x="255365" y="38005"/>
                    <a:pt x="273749" y="38005"/>
                  </a:cubicBezTo>
                  <a:cubicBezTo>
                    <a:pt x="292132" y="38005"/>
                    <a:pt x="307086" y="52959"/>
                    <a:pt x="307086" y="71342"/>
                  </a:cubicBezTo>
                  <a:cubicBezTo>
                    <a:pt x="307086" y="89726"/>
                    <a:pt x="292132" y="104680"/>
                    <a:pt x="273749" y="104680"/>
                  </a:cubicBez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E9ADF4E4-E372-9D78-AB9F-39DB8E94611E}"/>
                </a:ext>
              </a:extLst>
            </p:cNvPr>
            <p:cNvSpPr/>
            <p:nvPr/>
          </p:nvSpPr>
          <p:spPr>
            <a:xfrm>
              <a:off x="11059737" y="2158744"/>
              <a:ext cx="57150" cy="248697"/>
            </a:xfrm>
            <a:custGeom>
              <a:avLst/>
              <a:gdLst>
                <a:gd name="connsiteX0" fmla="*/ 0 w 57150"/>
                <a:gd name="connsiteY0" fmla="*/ 0 h 248697"/>
                <a:gd name="connsiteX1" fmla="*/ 57150 w 57150"/>
                <a:gd name="connsiteY1" fmla="*/ 0 h 248697"/>
                <a:gd name="connsiteX2" fmla="*/ 57150 w 57150"/>
                <a:gd name="connsiteY2" fmla="*/ 248698 h 248697"/>
                <a:gd name="connsiteX3" fmla="*/ 0 w 57150"/>
                <a:gd name="connsiteY3" fmla="*/ 248698 h 24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248697">
                  <a:moveTo>
                    <a:pt x="0" y="0"/>
                  </a:moveTo>
                  <a:lnTo>
                    <a:pt x="57150" y="0"/>
                  </a:lnTo>
                  <a:lnTo>
                    <a:pt x="57150" y="248698"/>
                  </a:lnTo>
                  <a:lnTo>
                    <a:pt x="0" y="248698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25DD8224-E56F-72E8-4F9D-00FE01969E5B}"/>
                </a:ext>
              </a:extLst>
            </p:cNvPr>
            <p:cNvSpPr/>
            <p:nvPr/>
          </p:nvSpPr>
          <p:spPr>
            <a:xfrm>
              <a:off x="11182038" y="2158744"/>
              <a:ext cx="57150" cy="248697"/>
            </a:xfrm>
            <a:custGeom>
              <a:avLst/>
              <a:gdLst>
                <a:gd name="connsiteX0" fmla="*/ 0 w 57150"/>
                <a:gd name="connsiteY0" fmla="*/ 0 h 248697"/>
                <a:gd name="connsiteX1" fmla="*/ 57150 w 57150"/>
                <a:gd name="connsiteY1" fmla="*/ 0 h 248697"/>
                <a:gd name="connsiteX2" fmla="*/ 57150 w 57150"/>
                <a:gd name="connsiteY2" fmla="*/ 248698 h 248697"/>
                <a:gd name="connsiteX3" fmla="*/ 0 w 57150"/>
                <a:gd name="connsiteY3" fmla="*/ 248698 h 24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248697">
                  <a:moveTo>
                    <a:pt x="0" y="0"/>
                  </a:moveTo>
                  <a:lnTo>
                    <a:pt x="57150" y="0"/>
                  </a:lnTo>
                  <a:lnTo>
                    <a:pt x="57150" y="248698"/>
                  </a:lnTo>
                  <a:lnTo>
                    <a:pt x="0" y="248698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BD4ECA19-172B-95EE-0CBD-71A4A5C4CA9A}"/>
                </a:ext>
              </a:extLst>
            </p:cNvPr>
            <p:cNvSpPr/>
            <p:nvPr/>
          </p:nvSpPr>
          <p:spPr>
            <a:xfrm>
              <a:off x="11365680" y="2158744"/>
              <a:ext cx="57150" cy="248697"/>
            </a:xfrm>
            <a:custGeom>
              <a:avLst/>
              <a:gdLst>
                <a:gd name="connsiteX0" fmla="*/ 0 w 57150"/>
                <a:gd name="connsiteY0" fmla="*/ 0 h 248697"/>
                <a:gd name="connsiteX1" fmla="*/ 57150 w 57150"/>
                <a:gd name="connsiteY1" fmla="*/ 0 h 248697"/>
                <a:gd name="connsiteX2" fmla="*/ 57150 w 57150"/>
                <a:gd name="connsiteY2" fmla="*/ 248698 h 248697"/>
                <a:gd name="connsiteX3" fmla="*/ 0 w 57150"/>
                <a:gd name="connsiteY3" fmla="*/ 248698 h 24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248697">
                  <a:moveTo>
                    <a:pt x="0" y="0"/>
                  </a:moveTo>
                  <a:lnTo>
                    <a:pt x="57150" y="0"/>
                  </a:lnTo>
                  <a:lnTo>
                    <a:pt x="57150" y="248698"/>
                  </a:lnTo>
                  <a:lnTo>
                    <a:pt x="0" y="248698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7053A6FB-6FC0-BFD8-9279-E029FD8F2E3D}"/>
                </a:ext>
              </a:extLst>
            </p:cNvPr>
            <p:cNvSpPr/>
            <p:nvPr/>
          </p:nvSpPr>
          <p:spPr>
            <a:xfrm>
              <a:off x="11484647" y="2158744"/>
              <a:ext cx="57150" cy="248697"/>
            </a:xfrm>
            <a:custGeom>
              <a:avLst/>
              <a:gdLst>
                <a:gd name="connsiteX0" fmla="*/ 0 w 57150"/>
                <a:gd name="connsiteY0" fmla="*/ 0 h 248697"/>
                <a:gd name="connsiteX1" fmla="*/ 57150 w 57150"/>
                <a:gd name="connsiteY1" fmla="*/ 0 h 248697"/>
                <a:gd name="connsiteX2" fmla="*/ 57150 w 57150"/>
                <a:gd name="connsiteY2" fmla="*/ 248698 h 248697"/>
                <a:gd name="connsiteX3" fmla="*/ 0 w 57150"/>
                <a:gd name="connsiteY3" fmla="*/ 248698 h 24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248697">
                  <a:moveTo>
                    <a:pt x="0" y="0"/>
                  </a:moveTo>
                  <a:lnTo>
                    <a:pt x="57150" y="0"/>
                  </a:lnTo>
                  <a:lnTo>
                    <a:pt x="57150" y="248698"/>
                  </a:lnTo>
                  <a:lnTo>
                    <a:pt x="0" y="248698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130" name="Graphic 129">
            <a:extLst>
              <a:ext uri="{FF2B5EF4-FFF2-40B4-BE49-F238E27FC236}">
                <a16:creationId xmlns:a16="http://schemas.microsoft.com/office/drawing/2014/main" id="{37A6ED51-8673-9CDB-3A55-EBD1114EFA3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697609" y="3205970"/>
            <a:ext cx="774700" cy="609600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CAFE505C-3073-E667-EAAE-00D83B274FA1}"/>
              </a:ext>
            </a:extLst>
          </p:cNvPr>
          <p:cNvGrpSpPr/>
          <p:nvPr/>
        </p:nvGrpSpPr>
        <p:grpSpPr>
          <a:xfrm>
            <a:off x="7096080" y="3197263"/>
            <a:ext cx="611042" cy="627014"/>
            <a:chOff x="5548696" y="3248766"/>
            <a:chExt cx="611042" cy="627014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F1EEAC14-50C5-438C-2A81-04502F1BD1BE}"/>
                </a:ext>
              </a:extLst>
            </p:cNvPr>
            <p:cNvGrpSpPr/>
            <p:nvPr/>
          </p:nvGrpSpPr>
          <p:grpSpPr>
            <a:xfrm>
              <a:off x="5548696" y="3598173"/>
              <a:ext cx="611042" cy="277607"/>
              <a:chOff x="5548696" y="3598173"/>
              <a:chExt cx="611042" cy="277607"/>
            </a:xfrm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11BE0704-C3F2-D511-A3FE-59BF54787748}"/>
                  </a:ext>
                </a:extLst>
              </p:cNvPr>
              <p:cNvSpPr/>
              <p:nvPr/>
            </p:nvSpPr>
            <p:spPr>
              <a:xfrm>
                <a:off x="5548696" y="3598173"/>
                <a:ext cx="149295" cy="263063"/>
              </a:xfrm>
              <a:custGeom>
                <a:avLst/>
                <a:gdLst>
                  <a:gd name="connsiteX0" fmla="*/ 0 w 149295"/>
                  <a:gd name="connsiteY0" fmla="*/ 0 h 263063"/>
                  <a:gd name="connsiteX1" fmla="*/ 149295 w 149295"/>
                  <a:gd name="connsiteY1" fmla="*/ 0 h 263063"/>
                  <a:gd name="connsiteX2" fmla="*/ 149295 w 149295"/>
                  <a:gd name="connsiteY2" fmla="*/ 263063 h 263063"/>
                  <a:gd name="connsiteX3" fmla="*/ 0 w 149295"/>
                  <a:gd name="connsiteY3" fmla="*/ 263063 h 263063"/>
                  <a:gd name="connsiteX4" fmla="*/ 0 w 149295"/>
                  <a:gd name="connsiteY4" fmla="*/ 0 h 263063"/>
                  <a:gd name="connsiteX5" fmla="*/ 28575 w 149295"/>
                  <a:gd name="connsiteY5" fmla="*/ 28286 h 263063"/>
                  <a:gd name="connsiteX6" fmla="*/ 28575 w 149295"/>
                  <a:gd name="connsiteY6" fmla="*/ 233834 h 263063"/>
                  <a:gd name="connsiteX7" fmla="*/ 28575 w 149295"/>
                  <a:gd name="connsiteY7" fmla="*/ 234777 h 263063"/>
                  <a:gd name="connsiteX8" fmla="*/ 121920 w 149295"/>
                  <a:gd name="connsiteY8" fmla="*/ 234777 h 263063"/>
                  <a:gd name="connsiteX9" fmla="*/ 121920 w 149295"/>
                  <a:gd name="connsiteY9" fmla="*/ 28286 h 263063"/>
                  <a:gd name="connsiteX10" fmla="*/ 28575 w 149295"/>
                  <a:gd name="connsiteY10" fmla="*/ 28286 h 263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295" h="263063">
                    <a:moveTo>
                      <a:pt x="0" y="0"/>
                    </a:moveTo>
                    <a:lnTo>
                      <a:pt x="149295" y="0"/>
                    </a:lnTo>
                    <a:lnTo>
                      <a:pt x="149295" y="263063"/>
                    </a:lnTo>
                    <a:lnTo>
                      <a:pt x="0" y="263063"/>
                    </a:lnTo>
                    <a:lnTo>
                      <a:pt x="0" y="0"/>
                    </a:lnTo>
                    <a:close/>
                    <a:moveTo>
                      <a:pt x="28575" y="28286"/>
                    </a:moveTo>
                    <a:lnTo>
                      <a:pt x="28575" y="233834"/>
                    </a:lnTo>
                    <a:lnTo>
                      <a:pt x="28575" y="234777"/>
                    </a:lnTo>
                    <a:lnTo>
                      <a:pt x="121920" y="234777"/>
                    </a:lnTo>
                    <a:lnTo>
                      <a:pt x="121920" y="28286"/>
                    </a:lnTo>
                    <a:lnTo>
                      <a:pt x="28575" y="2828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800"/>
                  </a:spcBef>
                </a:pPr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B35CBDD-F594-FEC3-E772-60EFD43F8E26}"/>
                  </a:ext>
                </a:extLst>
              </p:cNvPr>
              <p:cNvSpPr/>
              <p:nvPr/>
            </p:nvSpPr>
            <p:spPr>
              <a:xfrm>
                <a:off x="5602524" y="3765463"/>
                <a:ext cx="41910" cy="41486"/>
              </a:xfrm>
              <a:custGeom>
                <a:avLst/>
                <a:gdLst>
                  <a:gd name="connsiteX0" fmla="*/ 20955 w 41910"/>
                  <a:gd name="connsiteY0" fmla="*/ 0 h 41486"/>
                  <a:gd name="connsiteX1" fmla="*/ 0 w 41910"/>
                  <a:gd name="connsiteY1" fmla="*/ 20743 h 41486"/>
                  <a:gd name="connsiteX2" fmla="*/ 20955 w 41910"/>
                  <a:gd name="connsiteY2" fmla="*/ 41487 h 41486"/>
                  <a:gd name="connsiteX3" fmla="*/ 41910 w 41910"/>
                  <a:gd name="connsiteY3" fmla="*/ 20743 h 41486"/>
                  <a:gd name="connsiteX4" fmla="*/ 20955 w 41910"/>
                  <a:gd name="connsiteY4" fmla="*/ 0 h 41486"/>
                  <a:gd name="connsiteX5" fmla="*/ 20955 w 41910"/>
                  <a:gd name="connsiteY5" fmla="*/ 0 h 4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910" h="41486">
                    <a:moveTo>
                      <a:pt x="20955" y="0"/>
                    </a:moveTo>
                    <a:cubicBezTo>
                      <a:pt x="9525" y="0"/>
                      <a:pt x="0" y="9429"/>
                      <a:pt x="0" y="20743"/>
                    </a:cubicBezTo>
                    <a:cubicBezTo>
                      <a:pt x="0" y="32058"/>
                      <a:pt x="9525" y="41487"/>
                      <a:pt x="20955" y="41487"/>
                    </a:cubicBezTo>
                    <a:cubicBezTo>
                      <a:pt x="32385" y="41487"/>
                      <a:pt x="41910" y="32058"/>
                      <a:pt x="41910" y="20743"/>
                    </a:cubicBezTo>
                    <a:cubicBezTo>
                      <a:pt x="41910" y="8486"/>
                      <a:pt x="33338" y="0"/>
                      <a:pt x="20955" y="0"/>
                    </a:cubicBezTo>
                    <a:lnTo>
                      <a:pt x="20955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1CE42F56-BDD9-5F46-5AD7-7E0AB49369F3}"/>
                  </a:ext>
                </a:extLst>
              </p:cNvPr>
              <p:cNvSpPr/>
              <p:nvPr/>
            </p:nvSpPr>
            <p:spPr>
              <a:xfrm>
                <a:off x="5698392" y="3598574"/>
                <a:ext cx="461346" cy="277206"/>
              </a:xfrm>
              <a:custGeom>
                <a:avLst/>
                <a:gdLst>
                  <a:gd name="connsiteX0" fmla="*/ 0 w 461346"/>
                  <a:gd name="connsiteY0" fmla="*/ 0 h 277206"/>
                  <a:gd name="connsiteX1" fmla="*/ 336 w 461346"/>
                  <a:gd name="connsiteY1" fmla="*/ 0 h 277206"/>
                  <a:gd name="connsiteX2" fmla="*/ 336 w 461346"/>
                  <a:gd name="connsiteY2" fmla="*/ 29229 h 277206"/>
                  <a:gd name="connsiteX3" fmla="*/ 64153 w 461346"/>
                  <a:gd name="connsiteY3" fmla="*/ 33944 h 277206"/>
                  <a:gd name="connsiteX4" fmla="*/ 114636 w 461346"/>
                  <a:gd name="connsiteY4" fmla="*/ 46201 h 277206"/>
                  <a:gd name="connsiteX5" fmla="*/ 146068 w 461346"/>
                  <a:gd name="connsiteY5" fmla="*/ 53744 h 277206"/>
                  <a:gd name="connsiteX6" fmla="*/ 214648 w 461346"/>
                  <a:gd name="connsiteY6" fmla="*/ 54687 h 277206"/>
                  <a:gd name="connsiteX7" fmla="*/ 227983 w 461346"/>
                  <a:gd name="connsiteY7" fmla="*/ 54687 h 277206"/>
                  <a:gd name="connsiteX8" fmla="*/ 288943 w 461346"/>
                  <a:gd name="connsiteY8" fmla="*/ 97117 h 277206"/>
                  <a:gd name="connsiteX9" fmla="*/ 289896 w 461346"/>
                  <a:gd name="connsiteY9" fmla="*/ 112203 h 277206"/>
                  <a:gd name="connsiteX10" fmla="*/ 378478 w 461346"/>
                  <a:gd name="connsiteY10" fmla="*/ 64116 h 277206"/>
                  <a:gd name="connsiteX11" fmla="*/ 402291 w 461346"/>
                  <a:gd name="connsiteY11" fmla="*/ 59401 h 277206"/>
                  <a:gd name="connsiteX12" fmla="*/ 461346 w 461346"/>
                  <a:gd name="connsiteY12" fmla="*/ 116917 h 277206"/>
                  <a:gd name="connsiteX13" fmla="*/ 442296 w 461346"/>
                  <a:gd name="connsiteY13" fmla="*/ 158404 h 277206"/>
                  <a:gd name="connsiteX14" fmla="*/ 257511 w 461346"/>
                  <a:gd name="connsiteY14" fmla="*/ 258349 h 277206"/>
                  <a:gd name="connsiteX15" fmla="*/ 190836 w 461346"/>
                  <a:gd name="connsiteY15" fmla="*/ 277206 h 277206"/>
                  <a:gd name="connsiteX16" fmla="*/ 116541 w 461346"/>
                  <a:gd name="connsiteY16" fmla="*/ 264949 h 277206"/>
                  <a:gd name="connsiteX17" fmla="*/ 115588 w 461346"/>
                  <a:gd name="connsiteY17" fmla="*/ 264949 h 277206"/>
                  <a:gd name="connsiteX18" fmla="*/ 1288 w 461346"/>
                  <a:gd name="connsiteY18" fmla="*/ 224405 h 277206"/>
                  <a:gd name="connsiteX19" fmla="*/ 1288 w 461346"/>
                  <a:gd name="connsiteY19" fmla="*/ 263063 h 277206"/>
                  <a:gd name="connsiteX20" fmla="*/ 0 w 461346"/>
                  <a:gd name="connsiteY20" fmla="*/ 263063 h 277206"/>
                  <a:gd name="connsiteX21" fmla="*/ 0 w 461346"/>
                  <a:gd name="connsiteY21" fmla="*/ 0 h 277206"/>
                  <a:gd name="connsiteX22" fmla="*/ 336 w 461346"/>
                  <a:gd name="connsiteY22" fmla="*/ 57516 h 277206"/>
                  <a:gd name="connsiteX23" fmla="*/ 336 w 461346"/>
                  <a:gd name="connsiteY23" fmla="*/ 195176 h 277206"/>
                  <a:gd name="connsiteX24" fmla="*/ 126066 w 461346"/>
                  <a:gd name="connsiteY24" fmla="*/ 237605 h 277206"/>
                  <a:gd name="connsiteX25" fmla="*/ 189883 w 461346"/>
                  <a:gd name="connsiteY25" fmla="*/ 247977 h 277206"/>
                  <a:gd name="connsiteX26" fmla="*/ 240366 w 461346"/>
                  <a:gd name="connsiteY26" fmla="*/ 234777 h 277206"/>
                  <a:gd name="connsiteX27" fmla="*/ 242271 w 461346"/>
                  <a:gd name="connsiteY27" fmla="*/ 233834 h 277206"/>
                  <a:gd name="connsiteX28" fmla="*/ 423246 w 461346"/>
                  <a:gd name="connsiteY28" fmla="*/ 136717 h 277206"/>
                  <a:gd name="connsiteX29" fmla="*/ 431818 w 461346"/>
                  <a:gd name="connsiteY29" fmla="*/ 117860 h 277206"/>
                  <a:gd name="connsiteX30" fmla="*/ 402291 w 461346"/>
                  <a:gd name="connsiteY30" fmla="*/ 88631 h 277206"/>
                  <a:gd name="connsiteX31" fmla="*/ 389908 w 461346"/>
                  <a:gd name="connsiteY31" fmla="*/ 90516 h 277206"/>
                  <a:gd name="connsiteX32" fmla="*/ 257511 w 461346"/>
                  <a:gd name="connsiteY32" fmla="*/ 162175 h 277206"/>
                  <a:gd name="connsiteX33" fmla="*/ 108921 w 461346"/>
                  <a:gd name="connsiteY33" fmla="*/ 165004 h 277206"/>
                  <a:gd name="connsiteX34" fmla="*/ 107968 w 461346"/>
                  <a:gd name="connsiteY34" fmla="*/ 136717 h 277206"/>
                  <a:gd name="connsiteX35" fmla="*/ 248938 w 461346"/>
                  <a:gd name="connsiteY35" fmla="*/ 133889 h 277206"/>
                  <a:gd name="connsiteX36" fmla="*/ 260368 w 461346"/>
                  <a:gd name="connsiteY36" fmla="*/ 103717 h 277206"/>
                  <a:gd name="connsiteX37" fmla="*/ 227031 w 461346"/>
                  <a:gd name="connsiteY37" fmla="*/ 82973 h 277206"/>
                  <a:gd name="connsiteX38" fmla="*/ 213696 w 461346"/>
                  <a:gd name="connsiteY38" fmla="*/ 82973 h 277206"/>
                  <a:gd name="connsiteX39" fmla="*/ 147021 w 461346"/>
                  <a:gd name="connsiteY39" fmla="*/ 82030 h 277206"/>
                  <a:gd name="connsiteX40" fmla="*/ 107016 w 461346"/>
                  <a:gd name="connsiteY40" fmla="*/ 73545 h 277206"/>
                  <a:gd name="connsiteX41" fmla="*/ 59391 w 461346"/>
                  <a:gd name="connsiteY41" fmla="*/ 62230 h 277206"/>
                  <a:gd name="connsiteX42" fmla="*/ 336 w 461346"/>
                  <a:gd name="connsiteY42" fmla="*/ 57516 h 277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61346" h="277206">
                    <a:moveTo>
                      <a:pt x="0" y="0"/>
                    </a:moveTo>
                    <a:lnTo>
                      <a:pt x="336" y="0"/>
                    </a:lnTo>
                    <a:lnTo>
                      <a:pt x="336" y="29229"/>
                    </a:lnTo>
                    <a:cubicBezTo>
                      <a:pt x="13671" y="29229"/>
                      <a:pt x="39388" y="29229"/>
                      <a:pt x="64153" y="33944"/>
                    </a:cubicBezTo>
                    <a:cubicBezTo>
                      <a:pt x="82251" y="37715"/>
                      <a:pt x="99396" y="42430"/>
                      <a:pt x="114636" y="46201"/>
                    </a:cubicBezTo>
                    <a:cubicBezTo>
                      <a:pt x="127018" y="49973"/>
                      <a:pt x="140353" y="53744"/>
                      <a:pt x="146068" y="53744"/>
                    </a:cubicBezTo>
                    <a:cubicBezTo>
                      <a:pt x="167023" y="53744"/>
                      <a:pt x="196551" y="53744"/>
                      <a:pt x="214648" y="54687"/>
                    </a:cubicBezTo>
                    <a:cubicBezTo>
                      <a:pt x="221316" y="54687"/>
                      <a:pt x="226078" y="54687"/>
                      <a:pt x="227983" y="54687"/>
                    </a:cubicBezTo>
                    <a:cubicBezTo>
                      <a:pt x="265131" y="54687"/>
                      <a:pt x="284181" y="76373"/>
                      <a:pt x="288943" y="97117"/>
                    </a:cubicBezTo>
                    <a:cubicBezTo>
                      <a:pt x="289896" y="101831"/>
                      <a:pt x="289896" y="107488"/>
                      <a:pt x="289896" y="112203"/>
                    </a:cubicBezTo>
                    <a:lnTo>
                      <a:pt x="378478" y="64116"/>
                    </a:lnTo>
                    <a:cubicBezTo>
                      <a:pt x="386098" y="61287"/>
                      <a:pt x="393718" y="59401"/>
                      <a:pt x="402291" y="59401"/>
                    </a:cubicBezTo>
                    <a:cubicBezTo>
                      <a:pt x="436581" y="59401"/>
                      <a:pt x="460393" y="82973"/>
                      <a:pt x="461346" y="116917"/>
                    </a:cubicBezTo>
                    <a:cubicBezTo>
                      <a:pt x="461346" y="132946"/>
                      <a:pt x="453726" y="148975"/>
                      <a:pt x="442296" y="158404"/>
                    </a:cubicBezTo>
                    <a:cubicBezTo>
                      <a:pt x="432771" y="165947"/>
                      <a:pt x="310851" y="230062"/>
                      <a:pt x="257511" y="258349"/>
                    </a:cubicBezTo>
                    <a:cubicBezTo>
                      <a:pt x="251796" y="262120"/>
                      <a:pt x="227983" y="277206"/>
                      <a:pt x="190836" y="277206"/>
                    </a:cubicBezTo>
                    <a:cubicBezTo>
                      <a:pt x="150831" y="277206"/>
                      <a:pt x="117493" y="265892"/>
                      <a:pt x="116541" y="264949"/>
                    </a:cubicBezTo>
                    <a:lnTo>
                      <a:pt x="115588" y="264949"/>
                    </a:lnTo>
                    <a:cubicBezTo>
                      <a:pt x="94633" y="254577"/>
                      <a:pt x="35578" y="231005"/>
                      <a:pt x="1288" y="224405"/>
                    </a:cubicBezTo>
                    <a:lnTo>
                      <a:pt x="1288" y="263063"/>
                    </a:lnTo>
                    <a:lnTo>
                      <a:pt x="0" y="263063"/>
                    </a:lnTo>
                    <a:lnTo>
                      <a:pt x="0" y="0"/>
                    </a:lnTo>
                    <a:close/>
                    <a:moveTo>
                      <a:pt x="336" y="57516"/>
                    </a:moveTo>
                    <a:lnTo>
                      <a:pt x="336" y="195176"/>
                    </a:lnTo>
                    <a:cubicBezTo>
                      <a:pt x="43198" y="200833"/>
                      <a:pt x="117493" y="233834"/>
                      <a:pt x="126066" y="237605"/>
                    </a:cubicBezTo>
                    <a:cubicBezTo>
                      <a:pt x="129876" y="239491"/>
                      <a:pt x="158451" y="247977"/>
                      <a:pt x="189883" y="247977"/>
                    </a:cubicBezTo>
                    <a:cubicBezTo>
                      <a:pt x="222268" y="247977"/>
                      <a:pt x="240366" y="234777"/>
                      <a:pt x="240366" y="234777"/>
                    </a:cubicBezTo>
                    <a:lnTo>
                      <a:pt x="242271" y="233834"/>
                    </a:lnTo>
                    <a:cubicBezTo>
                      <a:pt x="307993" y="199890"/>
                      <a:pt x="413721" y="143318"/>
                      <a:pt x="423246" y="136717"/>
                    </a:cubicBezTo>
                    <a:cubicBezTo>
                      <a:pt x="428008" y="132003"/>
                      <a:pt x="431818" y="124460"/>
                      <a:pt x="431818" y="117860"/>
                    </a:cubicBezTo>
                    <a:cubicBezTo>
                      <a:pt x="431818" y="99002"/>
                      <a:pt x="420388" y="88631"/>
                      <a:pt x="402291" y="88631"/>
                    </a:cubicBezTo>
                    <a:cubicBezTo>
                      <a:pt x="397528" y="88631"/>
                      <a:pt x="393718" y="88631"/>
                      <a:pt x="389908" y="90516"/>
                    </a:cubicBezTo>
                    <a:lnTo>
                      <a:pt x="257511" y="162175"/>
                    </a:lnTo>
                    <a:lnTo>
                      <a:pt x="108921" y="165004"/>
                    </a:lnTo>
                    <a:lnTo>
                      <a:pt x="107968" y="136717"/>
                    </a:lnTo>
                    <a:lnTo>
                      <a:pt x="248938" y="133889"/>
                    </a:lnTo>
                    <a:cubicBezTo>
                      <a:pt x="258463" y="128232"/>
                      <a:pt x="263226" y="115031"/>
                      <a:pt x="260368" y="103717"/>
                    </a:cubicBezTo>
                    <a:cubicBezTo>
                      <a:pt x="256558" y="90516"/>
                      <a:pt x="245128" y="82973"/>
                      <a:pt x="227031" y="82973"/>
                    </a:cubicBezTo>
                    <a:cubicBezTo>
                      <a:pt x="226078" y="82973"/>
                      <a:pt x="220363" y="82973"/>
                      <a:pt x="213696" y="82973"/>
                    </a:cubicBezTo>
                    <a:cubicBezTo>
                      <a:pt x="196551" y="82973"/>
                      <a:pt x="167023" y="82030"/>
                      <a:pt x="147021" y="82030"/>
                    </a:cubicBezTo>
                    <a:cubicBezTo>
                      <a:pt x="137496" y="82030"/>
                      <a:pt x="124161" y="78259"/>
                      <a:pt x="107016" y="73545"/>
                    </a:cubicBezTo>
                    <a:cubicBezTo>
                      <a:pt x="92728" y="69773"/>
                      <a:pt x="76536" y="65059"/>
                      <a:pt x="59391" y="62230"/>
                    </a:cubicBezTo>
                    <a:cubicBezTo>
                      <a:pt x="36531" y="57516"/>
                      <a:pt x="12718" y="57516"/>
                      <a:pt x="336" y="57516"/>
                    </a:cubicBezTo>
                    <a:close/>
                  </a:path>
                </a:pathLst>
              </a:custGeom>
              <a:solidFill>
                <a:srgbClr val="3D4647"/>
              </a:solidFill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EC7A328-0736-772A-7A97-B2C57861A1CB}"/>
                </a:ext>
              </a:extLst>
            </p:cNvPr>
            <p:cNvSpPr/>
            <p:nvPr/>
          </p:nvSpPr>
          <p:spPr>
            <a:xfrm>
              <a:off x="5702537" y="3248766"/>
              <a:ext cx="302895" cy="300778"/>
            </a:xfrm>
            <a:custGeom>
              <a:avLst/>
              <a:gdLst>
                <a:gd name="connsiteX0" fmla="*/ 151448 w 302895"/>
                <a:gd name="connsiteY0" fmla="*/ 0 h 300778"/>
                <a:gd name="connsiteX1" fmla="*/ 0 w 302895"/>
                <a:gd name="connsiteY1" fmla="*/ 149918 h 300778"/>
                <a:gd name="connsiteX2" fmla="*/ 151448 w 302895"/>
                <a:gd name="connsiteY2" fmla="*/ 300778 h 300778"/>
                <a:gd name="connsiteX3" fmla="*/ 302895 w 302895"/>
                <a:gd name="connsiteY3" fmla="*/ 150861 h 300778"/>
                <a:gd name="connsiteX4" fmla="*/ 151448 w 302895"/>
                <a:gd name="connsiteY4" fmla="*/ 0 h 300778"/>
                <a:gd name="connsiteX5" fmla="*/ 216217 w 302895"/>
                <a:gd name="connsiteY5" fmla="*/ 193290 h 300778"/>
                <a:gd name="connsiteX6" fmla="*/ 202883 w 302895"/>
                <a:gd name="connsiteY6" fmla="*/ 220634 h 300778"/>
                <a:gd name="connsiteX7" fmla="*/ 168592 w 302895"/>
                <a:gd name="connsiteY7" fmla="*/ 231948 h 300778"/>
                <a:gd name="connsiteX8" fmla="*/ 168592 w 302895"/>
                <a:gd name="connsiteY8" fmla="*/ 251749 h 300778"/>
                <a:gd name="connsiteX9" fmla="*/ 139065 w 302895"/>
                <a:gd name="connsiteY9" fmla="*/ 251749 h 300778"/>
                <a:gd name="connsiteX10" fmla="*/ 139065 w 302895"/>
                <a:gd name="connsiteY10" fmla="*/ 231948 h 300778"/>
                <a:gd name="connsiteX11" fmla="*/ 102870 w 302895"/>
                <a:gd name="connsiteY11" fmla="*/ 218748 h 300778"/>
                <a:gd name="connsiteX12" fmla="*/ 89535 w 302895"/>
                <a:gd name="connsiteY12" fmla="*/ 181976 h 300778"/>
                <a:gd name="connsiteX13" fmla="*/ 119063 w 302895"/>
                <a:gd name="connsiteY13" fmla="*/ 181976 h 300778"/>
                <a:gd name="connsiteX14" fmla="*/ 124778 w 302895"/>
                <a:gd name="connsiteY14" fmla="*/ 199890 h 300778"/>
                <a:gd name="connsiteX15" fmla="*/ 140970 w 302895"/>
                <a:gd name="connsiteY15" fmla="*/ 206490 h 300778"/>
                <a:gd name="connsiteX16" fmla="*/ 164783 w 302895"/>
                <a:gd name="connsiteY16" fmla="*/ 206490 h 300778"/>
                <a:gd name="connsiteX17" fmla="*/ 180023 w 302895"/>
                <a:gd name="connsiteY17" fmla="*/ 202719 h 300778"/>
                <a:gd name="connsiteX18" fmla="*/ 185737 w 302895"/>
                <a:gd name="connsiteY18" fmla="*/ 192347 h 300778"/>
                <a:gd name="connsiteX19" fmla="*/ 185737 w 302895"/>
                <a:gd name="connsiteY19" fmla="*/ 184804 h 300778"/>
                <a:gd name="connsiteX20" fmla="*/ 170498 w 302895"/>
                <a:gd name="connsiteY20" fmla="*/ 171604 h 300778"/>
                <a:gd name="connsiteX21" fmla="*/ 130492 w 302895"/>
                <a:gd name="connsiteY21" fmla="*/ 165004 h 300778"/>
                <a:gd name="connsiteX22" fmla="*/ 100965 w 302895"/>
                <a:gd name="connsiteY22" fmla="*/ 152746 h 300778"/>
                <a:gd name="connsiteX23" fmla="*/ 90488 w 302895"/>
                <a:gd name="connsiteY23" fmla="*/ 129174 h 300778"/>
                <a:gd name="connsiteX24" fmla="*/ 90488 w 302895"/>
                <a:gd name="connsiteY24" fmla="*/ 116917 h 300778"/>
                <a:gd name="connsiteX25" fmla="*/ 96203 w 302895"/>
                <a:gd name="connsiteY25" fmla="*/ 97117 h 300778"/>
                <a:gd name="connsiteX26" fmla="*/ 113348 w 302895"/>
                <a:gd name="connsiteY26" fmla="*/ 83916 h 300778"/>
                <a:gd name="connsiteX27" fmla="*/ 138113 w 302895"/>
                <a:gd name="connsiteY27" fmla="*/ 79202 h 300778"/>
                <a:gd name="connsiteX28" fmla="*/ 138113 w 302895"/>
                <a:gd name="connsiteY28" fmla="*/ 57516 h 300778"/>
                <a:gd name="connsiteX29" fmla="*/ 167640 w 302895"/>
                <a:gd name="connsiteY29" fmla="*/ 57516 h 300778"/>
                <a:gd name="connsiteX30" fmla="*/ 167640 w 302895"/>
                <a:gd name="connsiteY30" fmla="*/ 77316 h 300778"/>
                <a:gd name="connsiteX31" fmla="*/ 200025 w 302895"/>
                <a:gd name="connsiteY31" fmla="*/ 90516 h 300778"/>
                <a:gd name="connsiteX32" fmla="*/ 212408 w 302895"/>
                <a:gd name="connsiteY32" fmla="*/ 123517 h 300778"/>
                <a:gd name="connsiteX33" fmla="*/ 182880 w 302895"/>
                <a:gd name="connsiteY33" fmla="*/ 123517 h 300778"/>
                <a:gd name="connsiteX34" fmla="*/ 178117 w 302895"/>
                <a:gd name="connsiteY34" fmla="*/ 109374 h 300778"/>
                <a:gd name="connsiteX35" fmla="*/ 164783 w 302895"/>
                <a:gd name="connsiteY35" fmla="*/ 103717 h 300778"/>
                <a:gd name="connsiteX36" fmla="*/ 140017 w 302895"/>
                <a:gd name="connsiteY36" fmla="*/ 103717 h 300778"/>
                <a:gd name="connsiteX37" fmla="*/ 125730 w 302895"/>
                <a:gd name="connsiteY37" fmla="*/ 107488 h 300778"/>
                <a:gd name="connsiteX38" fmla="*/ 120015 w 302895"/>
                <a:gd name="connsiteY38" fmla="*/ 117860 h 300778"/>
                <a:gd name="connsiteX39" fmla="*/ 120015 w 302895"/>
                <a:gd name="connsiteY39" fmla="*/ 123517 h 300778"/>
                <a:gd name="connsiteX40" fmla="*/ 135255 w 302895"/>
                <a:gd name="connsiteY40" fmla="*/ 136717 h 300778"/>
                <a:gd name="connsiteX41" fmla="*/ 175260 w 302895"/>
                <a:gd name="connsiteY41" fmla="*/ 143318 h 300778"/>
                <a:gd name="connsiteX42" fmla="*/ 205740 w 302895"/>
                <a:gd name="connsiteY42" fmla="*/ 155575 h 300778"/>
                <a:gd name="connsiteX43" fmla="*/ 216217 w 302895"/>
                <a:gd name="connsiteY43" fmla="*/ 178204 h 300778"/>
                <a:gd name="connsiteX44" fmla="*/ 216217 w 302895"/>
                <a:gd name="connsiteY44" fmla="*/ 193290 h 300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02895" h="300778">
                  <a:moveTo>
                    <a:pt x="151448" y="0"/>
                  </a:moveTo>
                  <a:cubicBezTo>
                    <a:pt x="67628" y="0"/>
                    <a:pt x="0" y="66944"/>
                    <a:pt x="0" y="149918"/>
                  </a:cubicBezTo>
                  <a:cubicBezTo>
                    <a:pt x="0" y="232891"/>
                    <a:pt x="67628" y="300778"/>
                    <a:pt x="151448" y="300778"/>
                  </a:cubicBezTo>
                  <a:cubicBezTo>
                    <a:pt x="235267" y="300778"/>
                    <a:pt x="302895" y="233834"/>
                    <a:pt x="302895" y="150861"/>
                  </a:cubicBezTo>
                  <a:cubicBezTo>
                    <a:pt x="302895" y="67887"/>
                    <a:pt x="235267" y="0"/>
                    <a:pt x="151448" y="0"/>
                  </a:cubicBezTo>
                  <a:close/>
                  <a:moveTo>
                    <a:pt x="216217" y="193290"/>
                  </a:moveTo>
                  <a:cubicBezTo>
                    <a:pt x="216217" y="204605"/>
                    <a:pt x="211455" y="214033"/>
                    <a:pt x="202883" y="220634"/>
                  </a:cubicBezTo>
                  <a:cubicBezTo>
                    <a:pt x="194310" y="227234"/>
                    <a:pt x="182880" y="231005"/>
                    <a:pt x="168592" y="231948"/>
                  </a:cubicBezTo>
                  <a:lnTo>
                    <a:pt x="168592" y="251749"/>
                  </a:lnTo>
                  <a:lnTo>
                    <a:pt x="139065" y="251749"/>
                  </a:lnTo>
                  <a:lnTo>
                    <a:pt x="139065" y="231948"/>
                  </a:lnTo>
                  <a:cubicBezTo>
                    <a:pt x="123825" y="231948"/>
                    <a:pt x="111442" y="227234"/>
                    <a:pt x="102870" y="218748"/>
                  </a:cubicBezTo>
                  <a:cubicBezTo>
                    <a:pt x="94298" y="210262"/>
                    <a:pt x="89535" y="198005"/>
                    <a:pt x="89535" y="181976"/>
                  </a:cubicBezTo>
                  <a:lnTo>
                    <a:pt x="119063" y="181976"/>
                  </a:lnTo>
                  <a:cubicBezTo>
                    <a:pt x="119063" y="189519"/>
                    <a:pt x="120967" y="195176"/>
                    <a:pt x="124778" y="199890"/>
                  </a:cubicBezTo>
                  <a:cubicBezTo>
                    <a:pt x="128588" y="203662"/>
                    <a:pt x="134303" y="206490"/>
                    <a:pt x="140970" y="206490"/>
                  </a:cubicBezTo>
                  <a:lnTo>
                    <a:pt x="164783" y="206490"/>
                  </a:lnTo>
                  <a:cubicBezTo>
                    <a:pt x="171450" y="206490"/>
                    <a:pt x="176212" y="205548"/>
                    <a:pt x="180023" y="202719"/>
                  </a:cubicBezTo>
                  <a:cubicBezTo>
                    <a:pt x="183833" y="199890"/>
                    <a:pt x="185737" y="196119"/>
                    <a:pt x="185737" y="192347"/>
                  </a:cubicBezTo>
                  <a:lnTo>
                    <a:pt x="185737" y="184804"/>
                  </a:lnTo>
                  <a:cubicBezTo>
                    <a:pt x="185737" y="178204"/>
                    <a:pt x="180975" y="173490"/>
                    <a:pt x="170498" y="171604"/>
                  </a:cubicBezTo>
                  <a:lnTo>
                    <a:pt x="130492" y="165004"/>
                  </a:lnTo>
                  <a:cubicBezTo>
                    <a:pt x="117157" y="163118"/>
                    <a:pt x="107632" y="158404"/>
                    <a:pt x="100965" y="152746"/>
                  </a:cubicBezTo>
                  <a:cubicBezTo>
                    <a:pt x="94298" y="147089"/>
                    <a:pt x="90488" y="138603"/>
                    <a:pt x="90488" y="129174"/>
                  </a:cubicBezTo>
                  <a:lnTo>
                    <a:pt x="90488" y="116917"/>
                  </a:lnTo>
                  <a:cubicBezTo>
                    <a:pt x="90488" y="109374"/>
                    <a:pt x="92392" y="102774"/>
                    <a:pt x="96203" y="97117"/>
                  </a:cubicBezTo>
                  <a:cubicBezTo>
                    <a:pt x="100013" y="91459"/>
                    <a:pt x="105728" y="86745"/>
                    <a:pt x="113348" y="83916"/>
                  </a:cubicBezTo>
                  <a:cubicBezTo>
                    <a:pt x="120967" y="81088"/>
                    <a:pt x="128588" y="79202"/>
                    <a:pt x="138113" y="79202"/>
                  </a:cubicBezTo>
                  <a:lnTo>
                    <a:pt x="138113" y="57516"/>
                  </a:lnTo>
                  <a:lnTo>
                    <a:pt x="167640" y="57516"/>
                  </a:lnTo>
                  <a:lnTo>
                    <a:pt x="167640" y="77316"/>
                  </a:lnTo>
                  <a:cubicBezTo>
                    <a:pt x="180975" y="78259"/>
                    <a:pt x="192405" y="82973"/>
                    <a:pt x="200025" y="90516"/>
                  </a:cubicBezTo>
                  <a:cubicBezTo>
                    <a:pt x="208598" y="99002"/>
                    <a:pt x="212408" y="109374"/>
                    <a:pt x="212408" y="123517"/>
                  </a:cubicBezTo>
                  <a:lnTo>
                    <a:pt x="182880" y="123517"/>
                  </a:lnTo>
                  <a:cubicBezTo>
                    <a:pt x="182880" y="117860"/>
                    <a:pt x="180975" y="112203"/>
                    <a:pt x="178117" y="109374"/>
                  </a:cubicBezTo>
                  <a:cubicBezTo>
                    <a:pt x="175260" y="105602"/>
                    <a:pt x="170498" y="103717"/>
                    <a:pt x="164783" y="103717"/>
                  </a:cubicBezTo>
                  <a:lnTo>
                    <a:pt x="140017" y="103717"/>
                  </a:lnTo>
                  <a:cubicBezTo>
                    <a:pt x="134303" y="103717"/>
                    <a:pt x="128588" y="104660"/>
                    <a:pt x="125730" y="107488"/>
                  </a:cubicBezTo>
                  <a:cubicBezTo>
                    <a:pt x="121920" y="110317"/>
                    <a:pt x="120015" y="113145"/>
                    <a:pt x="120015" y="117860"/>
                  </a:cubicBezTo>
                  <a:lnTo>
                    <a:pt x="120015" y="123517"/>
                  </a:lnTo>
                  <a:cubicBezTo>
                    <a:pt x="120015" y="131060"/>
                    <a:pt x="124778" y="134832"/>
                    <a:pt x="135255" y="136717"/>
                  </a:cubicBezTo>
                  <a:lnTo>
                    <a:pt x="175260" y="143318"/>
                  </a:lnTo>
                  <a:cubicBezTo>
                    <a:pt x="188595" y="145203"/>
                    <a:pt x="198120" y="149918"/>
                    <a:pt x="205740" y="155575"/>
                  </a:cubicBezTo>
                  <a:cubicBezTo>
                    <a:pt x="212408" y="161232"/>
                    <a:pt x="216217" y="168775"/>
                    <a:pt x="216217" y="178204"/>
                  </a:cubicBezTo>
                  <a:lnTo>
                    <a:pt x="216217" y="19329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678EC0-147F-C480-0703-A06DDBB20806}"/>
              </a:ext>
            </a:extLst>
          </p:cNvPr>
          <p:cNvGrpSpPr/>
          <p:nvPr/>
        </p:nvGrpSpPr>
        <p:grpSpPr>
          <a:xfrm>
            <a:off x="7898108" y="3189270"/>
            <a:ext cx="610552" cy="643000"/>
            <a:chOff x="6438024" y="3244658"/>
            <a:chExt cx="610552" cy="64300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7ABFEA9F-F964-83F2-87BD-09900097CA9D}"/>
                </a:ext>
              </a:extLst>
            </p:cNvPr>
            <p:cNvSpPr/>
            <p:nvPr/>
          </p:nvSpPr>
          <p:spPr>
            <a:xfrm>
              <a:off x="6438024" y="3610452"/>
              <a:ext cx="610552" cy="277206"/>
            </a:xfrm>
            <a:custGeom>
              <a:avLst/>
              <a:gdLst>
                <a:gd name="connsiteX0" fmla="*/ 551498 w 610552"/>
                <a:gd name="connsiteY0" fmla="*/ 59401 h 277206"/>
                <a:gd name="connsiteX1" fmla="*/ 527685 w 610552"/>
                <a:gd name="connsiteY1" fmla="*/ 64116 h 277206"/>
                <a:gd name="connsiteX2" fmla="*/ 439103 w 610552"/>
                <a:gd name="connsiteY2" fmla="*/ 112203 h 277206"/>
                <a:gd name="connsiteX3" fmla="*/ 438150 w 610552"/>
                <a:gd name="connsiteY3" fmla="*/ 97117 h 277206"/>
                <a:gd name="connsiteX4" fmla="*/ 377190 w 610552"/>
                <a:gd name="connsiteY4" fmla="*/ 54687 h 277206"/>
                <a:gd name="connsiteX5" fmla="*/ 363855 w 610552"/>
                <a:gd name="connsiteY5" fmla="*/ 54687 h 277206"/>
                <a:gd name="connsiteX6" fmla="*/ 295275 w 610552"/>
                <a:gd name="connsiteY6" fmla="*/ 53744 h 277206"/>
                <a:gd name="connsiteX7" fmla="*/ 263843 w 610552"/>
                <a:gd name="connsiteY7" fmla="*/ 46201 h 277206"/>
                <a:gd name="connsiteX8" fmla="*/ 213360 w 610552"/>
                <a:gd name="connsiteY8" fmla="*/ 33944 h 277206"/>
                <a:gd name="connsiteX9" fmla="*/ 149543 w 610552"/>
                <a:gd name="connsiteY9" fmla="*/ 29229 h 277206"/>
                <a:gd name="connsiteX10" fmla="*/ 149543 w 610552"/>
                <a:gd name="connsiteY10" fmla="*/ 0 h 277206"/>
                <a:gd name="connsiteX11" fmla="*/ 0 w 610552"/>
                <a:gd name="connsiteY11" fmla="*/ 0 h 277206"/>
                <a:gd name="connsiteX12" fmla="*/ 0 w 610552"/>
                <a:gd name="connsiteY12" fmla="*/ 263063 h 277206"/>
                <a:gd name="connsiteX13" fmla="*/ 150495 w 610552"/>
                <a:gd name="connsiteY13" fmla="*/ 263063 h 277206"/>
                <a:gd name="connsiteX14" fmla="*/ 150495 w 610552"/>
                <a:gd name="connsiteY14" fmla="*/ 224405 h 277206"/>
                <a:gd name="connsiteX15" fmla="*/ 264795 w 610552"/>
                <a:gd name="connsiteY15" fmla="*/ 264949 h 277206"/>
                <a:gd name="connsiteX16" fmla="*/ 265748 w 610552"/>
                <a:gd name="connsiteY16" fmla="*/ 264949 h 277206"/>
                <a:gd name="connsiteX17" fmla="*/ 340043 w 610552"/>
                <a:gd name="connsiteY17" fmla="*/ 277206 h 277206"/>
                <a:gd name="connsiteX18" fmla="*/ 406718 w 610552"/>
                <a:gd name="connsiteY18" fmla="*/ 258349 h 277206"/>
                <a:gd name="connsiteX19" fmla="*/ 591503 w 610552"/>
                <a:gd name="connsiteY19" fmla="*/ 158404 h 277206"/>
                <a:gd name="connsiteX20" fmla="*/ 610553 w 610552"/>
                <a:gd name="connsiteY20" fmla="*/ 116917 h 277206"/>
                <a:gd name="connsiteX21" fmla="*/ 551498 w 610552"/>
                <a:gd name="connsiteY21" fmla="*/ 59401 h 277206"/>
                <a:gd name="connsiteX22" fmla="*/ 74295 w 610552"/>
                <a:gd name="connsiteY22" fmla="*/ 208376 h 277206"/>
                <a:gd name="connsiteX23" fmla="*/ 53340 w 610552"/>
                <a:gd name="connsiteY23" fmla="*/ 187633 h 277206"/>
                <a:gd name="connsiteX24" fmla="*/ 74295 w 610552"/>
                <a:gd name="connsiteY24" fmla="*/ 166890 h 277206"/>
                <a:gd name="connsiteX25" fmla="*/ 95250 w 610552"/>
                <a:gd name="connsiteY25" fmla="*/ 187633 h 277206"/>
                <a:gd name="connsiteX26" fmla="*/ 74295 w 610552"/>
                <a:gd name="connsiteY26" fmla="*/ 208376 h 277206"/>
                <a:gd name="connsiteX27" fmla="*/ 572453 w 610552"/>
                <a:gd name="connsiteY27" fmla="*/ 136717 h 277206"/>
                <a:gd name="connsiteX28" fmla="*/ 391478 w 610552"/>
                <a:gd name="connsiteY28" fmla="*/ 233834 h 277206"/>
                <a:gd name="connsiteX29" fmla="*/ 389573 w 610552"/>
                <a:gd name="connsiteY29" fmla="*/ 234777 h 277206"/>
                <a:gd name="connsiteX30" fmla="*/ 339090 w 610552"/>
                <a:gd name="connsiteY30" fmla="*/ 247977 h 277206"/>
                <a:gd name="connsiteX31" fmla="*/ 275273 w 610552"/>
                <a:gd name="connsiteY31" fmla="*/ 237605 h 277206"/>
                <a:gd name="connsiteX32" fmla="*/ 149543 w 610552"/>
                <a:gd name="connsiteY32" fmla="*/ 195176 h 277206"/>
                <a:gd name="connsiteX33" fmla="*/ 149543 w 610552"/>
                <a:gd name="connsiteY33" fmla="*/ 57516 h 277206"/>
                <a:gd name="connsiteX34" fmla="*/ 208598 w 610552"/>
                <a:gd name="connsiteY34" fmla="*/ 62230 h 277206"/>
                <a:gd name="connsiteX35" fmla="*/ 256223 w 610552"/>
                <a:gd name="connsiteY35" fmla="*/ 73545 h 277206"/>
                <a:gd name="connsiteX36" fmla="*/ 296228 w 610552"/>
                <a:gd name="connsiteY36" fmla="*/ 82030 h 277206"/>
                <a:gd name="connsiteX37" fmla="*/ 362903 w 610552"/>
                <a:gd name="connsiteY37" fmla="*/ 82973 h 277206"/>
                <a:gd name="connsiteX38" fmla="*/ 376238 w 610552"/>
                <a:gd name="connsiteY38" fmla="*/ 82973 h 277206"/>
                <a:gd name="connsiteX39" fmla="*/ 409575 w 610552"/>
                <a:gd name="connsiteY39" fmla="*/ 103717 h 277206"/>
                <a:gd name="connsiteX40" fmla="*/ 398145 w 610552"/>
                <a:gd name="connsiteY40" fmla="*/ 133889 h 277206"/>
                <a:gd name="connsiteX41" fmla="*/ 257175 w 610552"/>
                <a:gd name="connsiteY41" fmla="*/ 136717 h 277206"/>
                <a:gd name="connsiteX42" fmla="*/ 258128 w 610552"/>
                <a:gd name="connsiteY42" fmla="*/ 165004 h 277206"/>
                <a:gd name="connsiteX43" fmla="*/ 406718 w 610552"/>
                <a:gd name="connsiteY43" fmla="*/ 162175 h 277206"/>
                <a:gd name="connsiteX44" fmla="*/ 539115 w 610552"/>
                <a:gd name="connsiteY44" fmla="*/ 90516 h 277206"/>
                <a:gd name="connsiteX45" fmla="*/ 551498 w 610552"/>
                <a:gd name="connsiteY45" fmla="*/ 88631 h 277206"/>
                <a:gd name="connsiteX46" fmla="*/ 581025 w 610552"/>
                <a:gd name="connsiteY46" fmla="*/ 117860 h 277206"/>
                <a:gd name="connsiteX47" fmla="*/ 572453 w 610552"/>
                <a:gd name="connsiteY47" fmla="*/ 136717 h 27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10552" h="277206">
                  <a:moveTo>
                    <a:pt x="551498" y="59401"/>
                  </a:moveTo>
                  <a:cubicBezTo>
                    <a:pt x="542925" y="59401"/>
                    <a:pt x="535305" y="61287"/>
                    <a:pt x="527685" y="64116"/>
                  </a:cubicBezTo>
                  <a:lnTo>
                    <a:pt x="439103" y="112203"/>
                  </a:lnTo>
                  <a:cubicBezTo>
                    <a:pt x="439103" y="107488"/>
                    <a:pt x="439103" y="101831"/>
                    <a:pt x="438150" y="97117"/>
                  </a:cubicBezTo>
                  <a:cubicBezTo>
                    <a:pt x="433388" y="76373"/>
                    <a:pt x="414338" y="54687"/>
                    <a:pt x="377190" y="54687"/>
                  </a:cubicBezTo>
                  <a:cubicBezTo>
                    <a:pt x="375285" y="54687"/>
                    <a:pt x="370523" y="54687"/>
                    <a:pt x="363855" y="54687"/>
                  </a:cubicBezTo>
                  <a:cubicBezTo>
                    <a:pt x="345758" y="53744"/>
                    <a:pt x="316230" y="53744"/>
                    <a:pt x="295275" y="53744"/>
                  </a:cubicBezTo>
                  <a:cubicBezTo>
                    <a:pt x="289560" y="53744"/>
                    <a:pt x="276225" y="49973"/>
                    <a:pt x="263843" y="46201"/>
                  </a:cubicBezTo>
                  <a:cubicBezTo>
                    <a:pt x="248603" y="42430"/>
                    <a:pt x="231458" y="37715"/>
                    <a:pt x="213360" y="33944"/>
                  </a:cubicBezTo>
                  <a:cubicBezTo>
                    <a:pt x="188595" y="29229"/>
                    <a:pt x="162878" y="29229"/>
                    <a:pt x="149543" y="29229"/>
                  </a:cubicBezTo>
                  <a:lnTo>
                    <a:pt x="149543" y="0"/>
                  </a:lnTo>
                  <a:lnTo>
                    <a:pt x="0" y="0"/>
                  </a:lnTo>
                  <a:lnTo>
                    <a:pt x="0" y="263063"/>
                  </a:lnTo>
                  <a:lnTo>
                    <a:pt x="150495" y="263063"/>
                  </a:lnTo>
                  <a:lnTo>
                    <a:pt x="150495" y="224405"/>
                  </a:lnTo>
                  <a:cubicBezTo>
                    <a:pt x="184785" y="231005"/>
                    <a:pt x="243840" y="254577"/>
                    <a:pt x="264795" y="264949"/>
                  </a:cubicBezTo>
                  <a:lnTo>
                    <a:pt x="265748" y="264949"/>
                  </a:lnTo>
                  <a:cubicBezTo>
                    <a:pt x="266700" y="265892"/>
                    <a:pt x="300038" y="277206"/>
                    <a:pt x="340043" y="277206"/>
                  </a:cubicBezTo>
                  <a:cubicBezTo>
                    <a:pt x="377190" y="277206"/>
                    <a:pt x="401003" y="262120"/>
                    <a:pt x="406718" y="258349"/>
                  </a:cubicBezTo>
                  <a:cubicBezTo>
                    <a:pt x="460058" y="230062"/>
                    <a:pt x="581978" y="165947"/>
                    <a:pt x="591503" y="158404"/>
                  </a:cubicBezTo>
                  <a:cubicBezTo>
                    <a:pt x="602933" y="148975"/>
                    <a:pt x="610553" y="132946"/>
                    <a:pt x="610553" y="116917"/>
                  </a:cubicBezTo>
                  <a:cubicBezTo>
                    <a:pt x="609600" y="82973"/>
                    <a:pt x="585788" y="59401"/>
                    <a:pt x="551498" y="59401"/>
                  </a:cubicBezTo>
                  <a:close/>
                  <a:moveTo>
                    <a:pt x="74295" y="208376"/>
                  </a:moveTo>
                  <a:cubicBezTo>
                    <a:pt x="62865" y="208376"/>
                    <a:pt x="53340" y="198947"/>
                    <a:pt x="53340" y="187633"/>
                  </a:cubicBezTo>
                  <a:cubicBezTo>
                    <a:pt x="53340" y="176318"/>
                    <a:pt x="62865" y="166890"/>
                    <a:pt x="74295" y="166890"/>
                  </a:cubicBezTo>
                  <a:cubicBezTo>
                    <a:pt x="85725" y="166890"/>
                    <a:pt x="95250" y="176318"/>
                    <a:pt x="95250" y="187633"/>
                  </a:cubicBezTo>
                  <a:cubicBezTo>
                    <a:pt x="95250" y="198947"/>
                    <a:pt x="86678" y="208376"/>
                    <a:pt x="74295" y="208376"/>
                  </a:cubicBezTo>
                  <a:close/>
                  <a:moveTo>
                    <a:pt x="572453" y="136717"/>
                  </a:moveTo>
                  <a:cubicBezTo>
                    <a:pt x="562928" y="143318"/>
                    <a:pt x="457200" y="199890"/>
                    <a:pt x="391478" y="233834"/>
                  </a:cubicBezTo>
                  <a:lnTo>
                    <a:pt x="389573" y="234777"/>
                  </a:lnTo>
                  <a:cubicBezTo>
                    <a:pt x="389573" y="234777"/>
                    <a:pt x="371475" y="247977"/>
                    <a:pt x="339090" y="247977"/>
                  </a:cubicBezTo>
                  <a:cubicBezTo>
                    <a:pt x="307658" y="247977"/>
                    <a:pt x="279083" y="239491"/>
                    <a:pt x="275273" y="237605"/>
                  </a:cubicBezTo>
                  <a:cubicBezTo>
                    <a:pt x="266700" y="233834"/>
                    <a:pt x="192405" y="200833"/>
                    <a:pt x="149543" y="195176"/>
                  </a:cubicBezTo>
                  <a:lnTo>
                    <a:pt x="149543" y="57516"/>
                  </a:lnTo>
                  <a:cubicBezTo>
                    <a:pt x="161925" y="57516"/>
                    <a:pt x="185738" y="57516"/>
                    <a:pt x="208598" y="62230"/>
                  </a:cubicBezTo>
                  <a:cubicBezTo>
                    <a:pt x="225743" y="65059"/>
                    <a:pt x="241935" y="69773"/>
                    <a:pt x="256223" y="73545"/>
                  </a:cubicBezTo>
                  <a:cubicBezTo>
                    <a:pt x="273368" y="78259"/>
                    <a:pt x="286703" y="82030"/>
                    <a:pt x="296228" y="82030"/>
                  </a:cubicBezTo>
                  <a:cubicBezTo>
                    <a:pt x="316230" y="82030"/>
                    <a:pt x="345758" y="82973"/>
                    <a:pt x="362903" y="82973"/>
                  </a:cubicBezTo>
                  <a:cubicBezTo>
                    <a:pt x="369570" y="82973"/>
                    <a:pt x="375285" y="82973"/>
                    <a:pt x="376238" y="82973"/>
                  </a:cubicBezTo>
                  <a:cubicBezTo>
                    <a:pt x="394335" y="82973"/>
                    <a:pt x="405765" y="90516"/>
                    <a:pt x="409575" y="103717"/>
                  </a:cubicBezTo>
                  <a:cubicBezTo>
                    <a:pt x="412433" y="115031"/>
                    <a:pt x="407670" y="128232"/>
                    <a:pt x="398145" y="133889"/>
                  </a:cubicBezTo>
                  <a:lnTo>
                    <a:pt x="257175" y="136717"/>
                  </a:lnTo>
                  <a:lnTo>
                    <a:pt x="258128" y="165004"/>
                  </a:lnTo>
                  <a:lnTo>
                    <a:pt x="406718" y="162175"/>
                  </a:lnTo>
                  <a:lnTo>
                    <a:pt x="539115" y="90516"/>
                  </a:lnTo>
                  <a:cubicBezTo>
                    <a:pt x="542925" y="88631"/>
                    <a:pt x="546735" y="88631"/>
                    <a:pt x="551498" y="88631"/>
                  </a:cubicBezTo>
                  <a:cubicBezTo>
                    <a:pt x="569595" y="88631"/>
                    <a:pt x="581025" y="99002"/>
                    <a:pt x="581025" y="117860"/>
                  </a:cubicBezTo>
                  <a:cubicBezTo>
                    <a:pt x="581025" y="124460"/>
                    <a:pt x="577215" y="132003"/>
                    <a:pt x="572453" y="136717"/>
                  </a:cubicBez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2BFAEC7-E8CA-8DEE-9A10-6A7F8801706F}"/>
                </a:ext>
              </a:extLst>
            </p:cNvPr>
            <p:cNvSpPr/>
            <p:nvPr/>
          </p:nvSpPr>
          <p:spPr>
            <a:xfrm>
              <a:off x="6594515" y="3244658"/>
              <a:ext cx="302895" cy="300778"/>
            </a:xfrm>
            <a:custGeom>
              <a:avLst/>
              <a:gdLst>
                <a:gd name="connsiteX0" fmla="*/ 151448 w 302895"/>
                <a:gd name="connsiteY0" fmla="*/ 0 h 300778"/>
                <a:gd name="connsiteX1" fmla="*/ 0 w 302895"/>
                <a:gd name="connsiteY1" fmla="*/ 149918 h 300778"/>
                <a:gd name="connsiteX2" fmla="*/ 151448 w 302895"/>
                <a:gd name="connsiteY2" fmla="*/ 300778 h 300778"/>
                <a:gd name="connsiteX3" fmla="*/ 302895 w 302895"/>
                <a:gd name="connsiteY3" fmla="*/ 150861 h 300778"/>
                <a:gd name="connsiteX4" fmla="*/ 151448 w 302895"/>
                <a:gd name="connsiteY4" fmla="*/ 0 h 300778"/>
                <a:gd name="connsiteX5" fmla="*/ 216217 w 302895"/>
                <a:gd name="connsiteY5" fmla="*/ 193290 h 300778"/>
                <a:gd name="connsiteX6" fmla="*/ 202883 w 302895"/>
                <a:gd name="connsiteY6" fmla="*/ 220634 h 300778"/>
                <a:gd name="connsiteX7" fmla="*/ 168592 w 302895"/>
                <a:gd name="connsiteY7" fmla="*/ 231948 h 300778"/>
                <a:gd name="connsiteX8" fmla="*/ 168592 w 302895"/>
                <a:gd name="connsiteY8" fmla="*/ 251749 h 300778"/>
                <a:gd name="connsiteX9" fmla="*/ 139065 w 302895"/>
                <a:gd name="connsiteY9" fmla="*/ 251749 h 300778"/>
                <a:gd name="connsiteX10" fmla="*/ 139065 w 302895"/>
                <a:gd name="connsiteY10" fmla="*/ 231948 h 300778"/>
                <a:gd name="connsiteX11" fmla="*/ 102870 w 302895"/>
                <a:gd name="connsiteY11" fmla="*/ 218748 h 300778"/>
                <a:gd name="connsiteX12" fmla="*/ 89535 w 302895"/>
                <a:gd name="connsiteY12" fmla="*/ 181976 h 300778"/>
                <a:gd name="connsiteX13" fmla="*/ 119063 w 302895"/>
                <a:gd name="connsiteY13" fmla="*/ 181976 h 300778"/>
                <a:gd name="connsiteX14" fmla="*/ 124778 w 302895"/>
                <a:gd name="connsiteY14" fmla="*/ 199890 h 300778"/>
                <a:gd name="connsiteX15" fmla="*/ 140970 w 302895"/>
                <a:gd name="connsiteY15" fmla="*/ 206490 h 300778"/>
                <a:gd name="connsiteX16" fmla="*/ 164783 w 302895"/>
                <a:gd name="connsiteY16" fmla="*/ 206490 h 300778"/>
                <a:gd name="connsiteX17" fmla="*/ 180023 w 302895"/>
                <a:gd name="connsiteY17" fmla="*/ 202719 h 300778"/>
                <a:gd name="connsiteX18" fmla="*/ 185737 w 302895"/>
                <a:gd name="connsiteY18" fmla="*/ 192347 h 300778"/>
                <a:gd name="connsiteX19" fmla="*/ 185737 w 302895"/>
                <a:gd name="connsiteY19" fmla="*/ 184804 h 300778"/>
                <a:gd name="connsiteX20" fmla="*/ 170498 w 302895"/>
                <a:gd name="connsiteY20" fmla="*/ 171604 h 300778"/>
                <a:gd name="connsiteX21" fmla="*/ 130492 w 302895"/>
                <a:gd name="connsiteY21" fmla="*/ 165004 h 300778"/>
                <a:gd name="connsiteX22" fmla="*/ 100965 w 302895"/>
                <a:gd name="connsiteY22" fmla="*/ 152746 h 300778"/>
                <a:gd name="connsiteX23" fmla="*/ 90488 w 302895"/>
                <a:gd name="connsiteY23" fmla="*/ 129174 h 300778"/>
                <a:gd name="connsiteX24" fmla="*/ 90488 w 302895"/>
                <a:gd name="connsiteY24" fmla="*/ 116917 h 300778"/>
                <a:gd name="connsiteX25" fmla="*/ 96203 w 302895"/>
                <a:gd name="connsiteY25" fmla="*/ 97117 h 300778"/>
                <a:gd name="connsiteX26" fmla="*/ 113348 w 302895"/>
                <a:gd name="connsiteY26" fmla="*/ 83916 h 300778"/>
                <a:gd name="connsiteX27" fmla="*/ 138113 w 302895"/>
                <a:gd name="connsiteY27" fmla="*/ 79202 h 300778"/>
                <a:gd name="connsiteX28" fmla="*/ 138113 w 302895"/>
                <a:gd name="connsiteY28" fmla="*/ 57516 h 300778"/>
                <a:gd name="connsiteX29" fmla="*/ 167640 w 302895"/>
                <a:gd name="connsiteY29" fmla="*/ 57516 h 300778"/>
                <a:gd name="connsiteX30" fmla="*/ 167640 w 302895"/>
                <a:gd name="connsiteY30" fmla="*/ 77316 h 300778"/>
                <a:gd name="connsiteX31" fmla="*/ 200025 w 302895"/>
                <a:gd name="connsiteY31" fmla="*/ 90516 h 300778"/>
                <a:gd name="connsiteX32" fmla="*/ 212408 w 302895"/>
                <a:gd name="connsiteY32" fmla="*/ 123517 h 300778"/>
                <a:gd name="connsiteX33" fmla="*/ 182880 w 302895"/>
                <a:gd name="connsiteY33" fmla="*/ 123517 h 300778"/>
                <a:gd name="connsiteX34" fmla="*/ 178117 w 302895"/>
                <a:gd name="connsiteY34" fmla="*/ 109374 h 300778"/>
                <a:gd name="connsiteX35" fmla="*/ 164783 w 302895"/>
                <a:gd name="connsiteY35" fmla="*/ 103717 h 300778"/>
                <a:gd name="connsiteX36" fmla="*/ 140017 w 302895"/>
                <a:gd name="connsiteY36" fmla="*/ 103717 h 300778"/>
                <a:gd name="connsiteX37" fmla="*/ 125730 w 302895"/>
                <a:gd name="connsiteY37" fmla="*/ 107488 h 300778"/>
                <a:gd name="connsiteX38" fmla="*/ 120015 w 302895"/>
                <a:gd name="connsiteY38" fmla="*/ 117860 h 300778"/>
                <a:gd name="connsiteX39" fmla="*/ 120015 w 302895"/>
                <a:gd name="connsiteY39" fmla="*/ 123517 h 300778"/>
                <a:gd name="connsiteX40" fmla="*/ 135255 w 302895"/>
                <a:gd name="connsiteY40" fmla="*/ 136717 h 300778"/>
                <a:gd name="connsiteX41" fmla="*/ 175260 w 302895"/>
                <a:gd name="connsiteY41" fmla="*/ 143318 h 300778"/>
                <a:gd name="connsiteX42" fmla="*/ 205740 w 302895"/>
                <a:gd name="connsiteY42" fmla="*/ 155575 h 300778"/>
                <a:gd name="connsiteX43" fmla="*/ 216217 w 302895"/>
                <a:gd name="connsiteY43" fmla="*/ 178204 h 300778"/>
                <a:gd name="connsiteX44" fmla="*/ 216217 w 302895"/>
                <a:gd name="connsiteY44" fmla="*/ 193290 h 300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02895" h="300778">
                  <a:moveTo>
                    <a:pt x="151448" y="0"/>
                  </a:moveTo>
                  <a:cubicBezTo>
                    <a:pt x="67628" y="0"/>
                    <a:pt x="0" y="66944"/>
                    <a:pt x="0" y="149918"/>
                  </a:cubicBezTo>
                  <a:cubicBezTo>
                    <a:pt x="0" y="232891"/>
                    <a:pt x="67628" y="300778"/>
                    <a:pt x="151448" y="300778"/>
                  </a:cubicBezTo>
                  <a:cubicBezTo>
                    <a:pt x="235267" y="300778"/>
                    <a:pt x="302895" y="233834"/>
                    <a:pt x="302895" y="150861"/>
                  </a:cubicBezTo>
                  <a:cubicBezTo>
                    <a:pt x="302895" y="67887"/>
                    <a:pt x="235267" y="0"/>
                    <a:pt x="151448" y="0"/>
                  </a:cubicBezTo>
                  <a:close/>
                  <a:moveTo>
                    <a:pt x="216217" y="193290"/>
                  </a:moveTo>
                  <a:cubicBezTo>
                    <a:pt x="216217" y="204605"/>
                    <a:pt x="211455" y="214033"/>
                    <a:pt x="202883" y="220634"/>
                  </a:cubicBezTo>
                  <a:cubicBezTo>
                    <a:pt x="194310" y="227234"/>
                    <a:pt x="182880" y="231005"/>
                    <a:pt x="168592" y="231948"/>
                  </a:cubicBezTo>
                  <a:lnTo>
                    <a:pt x="168592" y="251749"/>
                  </a:lnTo>
                  <a:lnTo>
                    <a:pt x="139065" y="251749"/>
                  </a:lnTo>
                  <a:lnTo>
                    <a:pt x="139065" y="231948"/>
                  </a:lnTo>
                  <a:cubicBezTo>
                    <a:pt x="123825" y="231948"/>
                    <a:pt x="111442" y="227234"/>
                    <a:pt x="102870" y="218748"/>
                  </a:cubicBezTo>
                  <a:cubicBezTo>
                    <a:pt x="94298" y="210262"/>
                    <a:pt x="89535" y="198005"/>
                    <a:pt x="89535" y="181976"/>
                  </a:cubicBezTo>
                  <a:lnTo>
                    <a:pt x="119063" y="181976"/>
                  </a:lnTo>
                  <a:cubicBezTo>
                    <a:pt x="119063" y="189519"/>
                    <a:pt x="120967" y="195176"/>
                    <a:pt x="124778" y="199890"/>
                  </a:cubicBezTo>
                  <a:cubicBezTo>
                    <a:pt x="128588" y="203662"/>
                    <a:pt x="134303" y="206490"/>
                    <a:pt x="140970" y="206490"/>
                  </a:cubicBezTo>
                  <a:lnTo>
                    <a:pt x="164783" y="206490"/>
                  </a:lnTo>
                  <a:cubicBezTo>
                    <a:pt x="171450" y="206490"/>
                    <a:pt x="176212" y="205548"/>
                    <a:pt x="180023" y="202719"/>
                  </a:cubicBezTo>
                  <a:cubicBezTo>
                    <a:pt x="183833" y="199890"/>
                    <a:pt x="185737" y="196119"/>
                    <a:pt x="185737" y="192347"/>
                  </a:cubicBezTo>
                  <a:lnTo>
                    <a:pt x="185737" y="184804"/>
                  </a:lnTo>
                  <a:cubicBezTo>
                    <a:pt x="185737" y="178204"/>
                    <a:pt x="180975" y="173490"/>
                    <a:pt x="170498" y="171604"/>
                  </a:cubicBezTo>
                  <a:lnTo>
                    <a:pt x="130492" y="165004"/>
                  </a:lnTo>
                  <a:cubicBezTo>
                    <a:pt x="117157" y="163118"/>
                    <a:pt x="107632" y="158404"/>
                    <a:pt x="100965" y="152746"/>
                  </a:cubicBezTo>
                  <a:cubicBezTo>
                    <a:pt x="94298" y="147089"/>
                    <a:pt x="90488" y="138603"/>
                    <a:pt x="90488" y="129174"/>
                  </a:cubicBezTo>
                  <a:lnTo>
                    <a:pt x="90488" y="116917"/>
                  </a:lnTo>
                  <a:cubicBezTo>
                    <a:pt x="90488" y="109374"/>
                    <a:pt x="92392" y="102774"/>
                    <a:pt x="96203" y="97117"/>
                  </a:cubicBezTo>
                  <a:cubicBezTo>
                    <a:pt x="100013" y="91459"/>
                    <a:pt x="105728" y="86745"/>
                    <a:pt x="113348" y="83916"/>
                  </a:cubicBezTo>
                  <a:cubicBezTo>
                    <a:pt x="120967" y="81088"/>
                    <a:pt x="128588" y="79202"/>
                    <a:pt x="138113" y="79202"/>
                  </a:cubicBezTo>
                  <a:lnTo>
                    <a:pt x="138113" y="57516"/>
                  </a:lnTo>
                  <a:lnTo>
                    <a:pt x="167640" y="57516"/>
                  </a:lnTo>
                  <a:lnTo>
                    <a:pt x="167640" y="77316"/>
                  </a:lnTo>
                  <a:cubicBezTo>
                    <a:pt x="180975" y="78259"/>
                    <a:pt x="192405" y="82973"/>
                    <a:pt x="200025" y="90516"/>
                  </a:cubicBezTo>
                  <a:cubicBezTo>
                    <a:pt x="208598" y="99002"/>
                    <a:pt x="212408" y="109374"/>
                    <a:pt x="212408" y="123517"/>
                  </a:cubicBezTo>
                  <a:lnTo>
                    <a:pt x="182880" y="123517"/>
                  </a:lnTo>
                  <a:cubicBezTo>
                    <a:pt x="182880" y="117860"/>
                    <a:pt x="180975" y="112203"/>
                    <a:pt x="178117" y="109374"/>
                  </a:cubicBezTo>
                  <a:cubicBezTo>
                    <a:pt x="175260" y="105602"/>
                    <a:pt x="170498" y="103717"/>
                    <a:pt x="164783" y="103717"/>
                  </a:cubicBezTo>
                  <a:lnTo>
                    <a:pt x="140017" y="103717"/>
                  </a:lnTo>
                  <a:cubicBezTo>
                    <a:pt x="134303" y="103717"/>
                    <a:pt x="128588" y="104660"/>
                    <a:pt x="125730" y="107488"/>
                  </a:cubicBezTo>
                  <a:cubicBezTo>
                    <a:pt x="121920" y="110317"/>
                    <a:pt x="120015" y="113145"/>
                    <a:pt x="120015" y="117860"/>
                  </a:cubicBezTo>
                  <a:lnTo>
                    <a:pt x="120015" y="123517"/>
                  </a:lnTo>
                  <a:cubicBezTo>
                    <a:pt x="120015" y="131060"/>
                    <a:pt x="124778" y="134832"/>
                    <a:pt x="135255" y="136717"/>
                  </a:cubicBezTo>
                  <a:lnTo>
                    <a:pt x="175260" y="143318"/>
                  </a:lnTo>
                  <a:cubicBezTo>
                    <a:pt x="188595" y="145203"/>
                    <a:pt x="198120" y="149918"/>
                    <a:pt x="205740" y="155575"/>
                  </a:cubicBezTo>
                  <a:cubicBezTo>
                    <a:pt x="212408" y="161232"/>
                    <a:pt x="216217" y="168775"/>
                    <a:pt x="216217" y="178204"/>
                  </a:cubicBezTo>
                  <a:lnTo>
                    <a:pt x="216217" y="19329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156" name="Graphic 155">
            <a:extLst>
              <a:ext uri="{FF2B5EF4-FFF2-40B4-BE49-F238E27FC236}">
                <a16:creationId xmlns:a16="http://schemas.microsoft.com/office/drawing/2014/main" id="{FD52EECC-E1BE-4FF0-D8B9-26497ADC024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859269" y="3205970"/>
            <a:ext cx="774700" cy="609600"/>
          </a:xfrm>
          <a:prstGeom prst="rect">
            <a:avLst/>
          </a:prstGeom>
        </p:spPr>
      </p:pic>
      <p:pic>
        <p:nvPicPr>
          <p:cNvPr id="167" name="Graphic 166">
            <a:extLst>
              <a:ext uri="{FF2B5EF4-FFF2-40B4-BE49-F238E27FC236}">
                <a16:creationId xmlns:a16="http://schemas.microsoft.com/office/drawing/2014/main" id="{B3260805-3354-AC0E-6FF7-69DDB5FD2F9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086933" y="3205970"/>
            <a:ext cx="774700" cy="609600"/>
          </a:xfrm>
          <a:prstGeom prst="rect">
            <a:avLst/>
          </a:prstGeom>
        </p:spPr>
      </p:pic>
      <p:pic>
        <p:nvPicPr>
          <p:cNvPr id="173" name="Graphic 172">
            <a:extLst>
              <a:ext uri="{FF2B5EF4-FFF2-40B4-BE49-F238E27FC236}">
                <a16:creationId xmlns:a16="http://schemas.microsoft.com/office/drawing/2014/main" id="{B51F61DB-EE76-04F2-031C-1E54BD41912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501681" y="4435533"/>
            <a:ext cx="609600" cy="609600"/>
          </a:xfrm>
          <a:prstGeom prst="rect">
            <a:avLst/>
          </a:prstGeom>
        </p:spPr>
      </p:pic>
      <p:pic>
        <p:nvPicPr>
          <p:cNvPr id="175" name="Graphic 174">
            <a:extLst>
              <a:ext uri="{FF2B5EF4-FFF2-40B4-BE49-F238E27FC236}">
                <a16:creationId xmlns:a16="http://schemas.microsoft.com/office/drawing/2014/main" id="{08727218-812A-7CAF-23B8-8D2A6C00196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333874" y="4435533"/>
            <a:ext cx="609600" cy="609600"/>
          </a:xfrm>
          <a:prstGeom prst="rect">
            <a:avLst/>
          </a:prstGeom>
        </p:spPr>
      </p:pic>
      <p:pic>
        <p:nvPicPr>
          <p:cNvPr id="177" name="Graphic 176">
            <a:extLst>
              <a:ext uri="{FF2B5EF4-FFF2-40B4-BE49-F238E27FC236}">
                <a16:creationId xmlns:a16="http://schemas.microsoft.com/office/drawing/2014/main" id="{13681761-D1D6-F186-0ADA-A7D629C4AE6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259586" y="4435533"/>
            <a:ext cx="609600" cy="609600"/>
          </a:xfrm>
          <a:prstGeom prst="rect">
            <a:avLst/>
          </a:prstGeom>
        </p:spPr>
      </p:pic>
      <p:pic>
        <p:nvPicPr>
          <p:cNvPr id="181" name="Graphic 180">
            <a:extLst>
              <a:ext uri="{FF2B5EF4-FFF2-40B4-BE49-F238E27FC236}">
                <a16:creationId xmlns:a16="http://schemas.microsoft.com/office/drawing/2014/main" id="{C83B940B-05A8-377B-15A7-F296CE77880A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938185" y="4435533"/>
            <a:ext cx="609600" cy="609600"/>
          </a:xfrm>
          <a:prstGeom prst="rect">
            <a:avLst/>
          </a:prstGeom>
        </p:spPr>
      </p:pic>
      <p:pic>
        <p:nvPicPr>
          <p:cNvPr id="183" name="Graphic 182">
            <a:extLst>
              <a:ext uri="{FF2B5EF4-FFF2-40B4-BE49-F238E27FC236}">
                <a16:creationId xmlns:a16="http://schemas.microsoft.com/office/drawing/2014/main" id="{C8973A65-0566-4853-9FB9-4A5977E937AD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308113" y="4435533"/>
            <a:ext cx="609600" cy="609600"/>
          </a:xfrm>
          <a:prstGeom prst="rect">
            <a:avLst/>
          </a:prstGeom>
        </p:spPr>
      </p:pic>
      <p:pic>
        <p:nvPicPr>
          <p:cNvPr id="185" name="Graphic 184">
            <a:extLst>
              <a:ext uri="{FF2B5EF4-FFF2-40B4-BE49-F238E27FC236}">
                <a16:creationId xmlns:a16="http://schemas.microsoft.com/office/drawing/2014/main" id="{3596E6AE-03A7-5265-6565-CA77D22B35DA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10244216" y="4435533"/>
            <a:ext cx="609600" cy="609600"/>
          </a:xfrm>
          <a:prstGeom prst="rect">
            <a:avLst/>
          </a:prstGeom>
        </p:spPr>
      </p:pic>
      <p:grpSp>
        <p:nvGrpSpPr>
          <p:cNvPr id="66" name="Group 65">
            <a:extLst>
              <a:ext uri="{FF2B5EF4-FFF2-40B4-BE49-F238E27FC236}">
                <a16:creationId xmlns:a16="http://schemas.microsoft.com/office/drawing/2014/main" id="{7BDBF5D0-554A-099E-D2E0-FA90AAC8A7F4}"/>
              </a:ext>
            </a:extLst>
          </p:cNvPr>
          <p:cNvGrpSpPr/>
          <p:nvPr/>
        </p:nvGrpSpPr>
        <p:grpSpPr>
          <a:xfrm>
            <a:off x="731406" y="3202795"/>
            <a:ext cx="787400" cy="615950"/>
            <a:chOff x="565150" y="3267075"/>
            <a:chExt cx="787400" cy="615950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1C62DB9B-199E-FBD0-E9A1-DD76E3814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150" y="3571875"/>
              <a:ext cx="34925" cy="66675"/>
            </a:xfrm>
            <a:custGeom>
              <a:avLst/>
              <a:gdLst>
                <a:gd name="T0" fmla="*/ 0 w 48"/>
                <a:gd name="T1" fmla="*/ 0 h 92"/>
                <a:gd name="T2" fmla="*/ 0 w 48"/>
                <a:gd name="T3" fmla="*/ 1 h 92"/>
                <a:gd name="T4" fmla="*/ 0 w 48"/>
                <a:gd name="T5" fmla="*/ 2 h 92"/>
                <a:gd name="T6" fmla="*/ 0 w 48"/>
                <a:gd name="T7" fmla="*/ 2 h 92"/>
                <a:gd name="T8" fmla="*/ 0 w 48"/>
                <a:gd name="T9" fmla="*/ 3 h 92"/>
                <a:gd name="T10" fmla="*/ 0 w 48"/>
                <a:gd name="T11" fmla="*/ 3 h 92"/>
                <a:gd name="T12" fmla="*/ 0 w 48"/>
                <a:gd name="T13" fmla="*/ 3 h 92"/>
                <a:gd name="T14" fmla="*/ 0 w 48"/>
                <a:gd name="T15" fmla="*/ 4 h 92"/>
                <a:gd name="T16" fmla="*/ 0 w 48"/>
                <a:gd name="T17" fmla="*/ 4 h 92"/>
                <a:gd name="T18" fmla="*/ 0 w 48"/>
                <a:gd name="T19" fmla="*/ 5 h 92"/>
                <a:gd name="T20" fmla="*/ 0 w 48"/>
                <a:gd name="T21" fmla="*/ 5 h 92"/>
                <a:gd name="T22" fmla="*/ 0 w 48"/>
                <a:gd name="T23" fmla="*/ 5 h 92"/>
                <a:gd name="T24" fmla="*/ 0 w 48"/>
                <a:gd name="T25" fmla="*/ 6 h 92"/>
                <a:gd name="T26" fmla="*/ 0 w 48"/>
                <a:gd name="T27" fmla="*/ 6 h 92"/>
                <a:gd name="T28" fmla="*/ 0 w 48"/>
                <a:gd name="T29" fmla="*/ 6 h 92"/>
                <a:gd name="T30" fmla="*/ 0 w 48"/>
                <a:gd name="T31" fmla="*/ 7 h 92"/>
                <a:gd name="T32" fmla="*/ 0 w 48"/>
                <a:gd name="T33" fmla="*/ 7 h 92"/>
                <a:gd name="T34" fmla="*/ 0 w 48"/>
                <a:gd name="T35" fmla="*/ 7 h 92"/>
                <a:gd name="T36" fmla="*/ 0 w 48"/>
                <a:gd name="T37" fmla="*/ 8 h 92"/>
                <a:gd name="T38" fmla="*/ 0 w 48"/>
                <a:gd name="T39" fmla="*/ 8 h 92"/>
                <a:gd name="T40" fmla="*/ 0 w 48"/>
                <a:gd name="T41" fmla="*/ 8 h 92"/>
                <a:gd name="T42" fmla="*/ 0 w 48"/>
                <a:gd name="T43" fmla="*/ 9 h 92"/>
                <a:gd name="T44" fmla="*/ 0 w 48"/>
                <a:gd name="T45" fmla="*/ 9 h 92"/>
                <a:gd name="T46" fmla="*/ 0 w 48"/>
                <a:gd name="T47" fmla="*/ 10 h 92"/>
                <a:gd name="T48" fmla="*/ 0 w 48"/>
                <a:gd name="T49" fmla="*/ 10 h 92"/>
                <a:gd name="T50" fmla="*/ 0 w 48"/>
                <a:gd name="T51" fmla="*/ 10 h 92"/>
                <a:gd name="T52" fmla="*/ 0 w 48"/>
                <a:gd name="T53" fmla="*/ 11 h 92"/>
                <a:gd name="T54" fmla="*/ 0 w 48"/>
                <a:gd name="T55" fmla="*/ 11 h 92"/>
                <a:gd name="T56" fmla="*/ 0 w 48"/>
                <a:gd name="T57" fmla="*/ 12 h 92"/>
                <a:gd name="T58" fmla="*/ 0 w 48"/>
                <a:gd name="T59" fmla="*/ 12 h 92"/>
                <a:gd name="T60" fmla="*/ 0 w 48"/>
                <a:gd name="T61" fmla="*/ 12 h 92"/>
                <a:gd name="T62" fmla="*/ 0 w 48"/>
                <a:gd name="T63" fmla="*/ 13 h 92"/>
                <a:gd name="T64" fmla="*/ 0 w 48"/>
                <a:gd name="T65" fmla="*/ 13 h 92"/>
                <a:gd name="T66" fmla="*/ 0 w 48"/>
                <a:gd name="T67" fmla="*/ 13 h 92"/>
                <a:gd name="T68" fmla="*/ 0 w 48"/>
                <a:gd name="T69" fmla="*/ 14 h 92"/>
                <a:gd name="T70" fmla="*/ 0 w 48"/>
                <a:gd name="T71" fmla="*/ 14 h 92"/>
                <a:gd name="T72" fmla="*/ 0 w 48"/>
                <a:gd name="T73" fmla="*/ 14 h 92"/>
                <a:gd name="T74" fmla="*/ 0 w 48"/>
                <a:gd name="T75" fmla="*/ 15 h 92"/>
                <a:gd name="T76" fmla="*/ 0 w 48"/>
                <a:gd name="T77" fmla="*/ 15 h 92"/>
                <a:gd name="T78" fmla="*/ 0 w 48"/>
                <a:gd name="T79" fmla="*/ 16 h 92"/>
                <a:gd name="T80" fmla="*/ 0 w 48"/>
                <a:gd name="T81" fmla="*/ 16 h 92"/>
                <a:gd name="T82" fmla="*/ 0 w 48"/>
                <a:gd name="T83" fmla="*/ 17 h 92"/>
                <a:gd name="T84" fmla="*/ 0 w 48"/>
                <a:gd name="T85" fmla="*/ 17 h 92"/>
                <a:gd name="T86" fmla="*/ 0 w 48"/>
                <a:gd name="T87" fmla="*/ 17 h 92"/>
                <a:gd name="T88" fmla="*/ 0 w 48"/>
                <a:gd name="T89" fmla="*/ 18 h 92"/>
                <a:gd name="T90" fmla="*/ 0 w 48"/>
                <a:gd name="T91" fmla="*/ 18 h 92"/>
                <a:gd name="T92" fmla="*/ 0 w 48"/>
                <a:gd name="T93" fmla="*/ 19 h 92"/>
                <a:gd name="T94" fmla="*/ 0 w 48"/>
                <a:gd name="T95" fmla="*/ 19 h 92"/>
                <a:gd name="T96" fmla="*/ 0 w 48"/>
                <a:gd name="T97" fmla="*/ 19 h 92"/>
                <a:gd name="T98" fmla="*/ 0 w 48"/>
                <a:gd name="T99" fmla="*/ 21 h 92"/>
                <a:gd name="T100" fmla="*/ 0 w 48"/>
                <a:gd name="T101" fmla="*/ 21 h 92"/>
                <a:gd name="T102" fmla="*/ 0 w 48"/>
                <a:gd name="T103" fmla="*/ 21 h 92"/>
                <a:gd name="T104" fmla="*/ 0 w 48"/>
                <a:gd name="T105" fmla="*/ 22 h 92"/>
                <a:gd name="T106" fmla="*/ 0 w 48"/>
                <a:gd name="T107" fmla="*/ 22 h 92"/>
                <a:gd name="T108" fmla="*/ 0 w 48"/>
                <a:gd name="T109" fmla="*/ 22 h 92"/>
                <a:gd name="T110" fmla="*/ 0 w 48"/>
                <a:gd name="T111" fmla="*/ 23 h 92"/>
                <a:gd name="T112" fmla="*/ 0 w 48"/>
                <a:gd name="T113" fmla="*/ 23 h 92"/>
                <a:gd name="T114" fmla="*/ 0 w 48"/>
                <a:gd name="T115" fmla="*/ 26 h 92"/>
                <a:gd name="T116" fmla="*/ 0 w 48"/>
                <a:gd name="T117" fmla="*/ 26 h 92"/>
                <a:gd name="T118" fmla="*/ 9 w 48"/>
                <a:gd name="T11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" h="92">
                  <a:moveTo>
                    <a:pt x="40" y="3"/>
                  </a:moveTo>
                  <a:lnTo>
                    <a:pt x="40" y="3"/>
                  </a:lnTo>
                  <a:lnTo>
                    <a:pt x="4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3"/>
                    <a:pt x="0" y="23"/>
                  </a:cubicBezTo>
                  <a:lnTo>
                    <a:pt x="0" y="23"/>
                  </a:ln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lnTo>
                    <a:pt x="0" y="27"/>
                  </a:ln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49"/>
                    <a:pt x="4" y="71"/>
                    <a:pt x="9" y="92"/>
                  </a:cubicBezTo>
                  <a:lnTo>
                    <a:pt x="48" y="84"/>
                  </a:lnTo>
                  <a:cubicBezTo>
                    <a:pt x="43" y="57"/>
                    <a:pt x="40" y="30"/>
                    <a:pt x="40" y="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ED811FD-1F5F-67D5-1E58-76B0E779E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963" y="3281363"/>
              <a:ext cx="69850" cy="52388"/>
            </a:xfrm>
            <a:custGeom>
              <a:avLst/>
              <a:gdLst>
                <a:gd name="T0" fmla="*/ 97 w 97"/>
                <a:gd name="T1" fmla="*/ 38 h 73"/>
                <a:gd name="T2" fmla="*/ 97 w 97"/>
                <a:gd name="T3" fmla="*/ 38 h 73"/>
                <a:gd name="T4" fmla="*/ 85 w 97"/>
                <a:gd name="T5" fmla="*/ 0 h 73"/>
                <a:gd name="T6" fmla="*/ 0 w 97"/>
                <a:gd name="T7" fmla="*/ 38 h 73"/>
                <a:gd name="T8" fmla="*/ 20 w 97"/>
                <a:gd name="T9" fmla="*/ 73 h 73"/>
                <a:gd name="T10" fmla="*/ 97 w 97"/>
                <a:gd name="T11" fmla="*/ 3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73">
                  <a:moveTo>
                    <a:pt x="97" y="38"/>
                  </a:moveTo>
                  <a:lnTo>
                    <a:pt x="97" y="38"/>
                  </a:lnTo>
                  <a:lnTo>
                    <a:pt x="85" y="0"/>
                  </a:lnTo>
                  <a:cubicBezTo>
                    <a:pt x="55" y="9"/>
                    <a:pt x="27" y="22"/>
                    <a:pt x="0" y="38"/>
                  </a:cubicBezTo>
                  <a:lnTo>
                    <a:pt x="20" y="73"/>
                  </a:lnTo>
                  <a:cubicBezTo>
                    <a:pt x="45" y="58"/>
                    <a:pt x="70" y="47"/>
                    <a:pt x="97" y="38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32FEAFED-A3EA-EB36-BE18-F51E157AC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" y="3392488"/>
              <a:ext cx="57150" cy="69850"/>
            </a:xfrm>
            <a:custGeom>
              <a:avLst/>
              <a:gdLst>
                <a:gd name="T0" fmla="*/ 47 w 80"/>
                <a:gd name="T1" fmla="*/ 0 h 97"/>
                <a:gd name="T2" fmla="*/ 39 w 80"/>
                <a:gd name="T3" fmla="*/ 13 h 97"/>
                <a:gd name="T4" fmla="*/ 38 w 80"/>
                <a:gd name="T5" fmla="*/ 13 h 97"/>
                <a:gd name="T6" fmla="*/ 38 w 80"/>
                <a:gd name="T7" fmla="*/ 13 h 97"/>
                <a:gd name="T8" fmla="*/ 38 w 80"/>
                <a:gd name="T9" fmla="*/ 14 h 97"/>
                <a:gd name="T10" fmla="*/ 38 w 80"/>
                <a:gd name="T11" fmla="*/ 14 h 97"/>
                <a:gd name="T12" fmla="*/ 37 w 80"/>
                <a:gd name="T13" fmla="*/ 14 h 97"/>
                <a:gd name="T14" fmla="*/ 37 w 80"/>
                <a:gd name="T15" fmla="*/ 14 h 97"/>
                <a:gd name="T16" fmla="*/ 37 w 80"/>
                <a:gd name="T17" fmla="*/ 15 h 97"/>
                <a:gd name="T18" fmla="*/ 37 w 80"/>
                <a:gd name="T19" fmla="*/ 15 h 97"/>
                <a:gd name="T20" fmla="*/ 37 w 80"/>
                <a:gd name="T21" fmla="*/ 15 h 97"/>
                <a:gd name="T22" fmla="*/ 36 w 80"/>
                <a:gd name="T23" fmla="*/ 16 h 97"/>
                <a:gd name="T24" fmla="*/ 36 w 80"/>
                <a:gd name="T25" fmla="*/ 16 h 97"/>
                <a:gd name="T26" fmla="*/ 36 w 80"/>
                <a:gd name="T27" fmla="*/ 16 h 97"/>
                <a:gd name="T28" fmla="*/ 36 w 80"/>
                <a:gd name="T29" fmla="*/ 17 h 97"/>
                <a:gd name="T30" fmla="*/ 36 w 80"/>
                <a:gd name="T31" fmla="*/ 17 h 97"/>
                <a:gd name="T32" fmla="*/ 35 w 80"/>
                <a:gd name="T33" fmla="*/ 17 h 97"/>
                <a:gd name="T34" fmla="*/ 35 w 80"/>
                <a:gd name="T35" fmla="*/ 17 h 97"/>
                <a:gd name="T36" fmla="*/ 35 w 80"/>
                <a:gd name="T37" fmla="*/ 18 h 97"/>
                <a:gd name="T38" fmla="*/ 35 w 80"/>
                <a:gd name="T39" fmla="*/ 18 h 97"/>
                <a:gd name="T40" fmla="*/ 35 w 80"/>
                <a:gd name="T41" fmla="*/ 18 h 97"/>
                <a:gd name="T42" fmla="*/ 35 w 80"/>
                <a:gd name="T43" fmla="*/ 18 h 97"/>
                <a:gd name="T44" fmla="*/ 35 w 80"/>
                <a:gd name="T45" fmla="*/ 19 h 97"/>
                <a:gd name="T46" fmla="*/ 34 w 80"/>
                <a:gd name="T47" fmla="*/ 19 h 97"/>
                <a:gd name="T48" fmla="*/ 34 w 80"/>
                <a:gd name="T49" fmla="*/ 19 h 97"/>
                <a:gd name="T50" fmla="*/ 34 w 80"/>
                <a:gd name="T51" fmla="*/ 19 h 97"/>
                <a:gd name="T52" fmla="*/ 34 w 80"/>
                <a:gd name="T53" fmla="*/ 19 h 97"/>
                <a:gd name="T54" fmla="*/ 34 w 80"/>
                <a:gd name="T55" fmla="*/ 20 h 97"/>
                <a:gd name="T56" fmla="*/ 34 w 80"/>
                <a:gd name="T57" fmla="*/ 20 h 97"/>
                <a:gd name="T58" fmla="*/ 33 w 80"/>
                <a:gd name="T59" fmla="*/ 20 h 97"/>
                <a:gd name="T60" fmla="*/ 33 w 80"/>
                <a:gd name="T61" fmla="*/ 20 h 97"/>
                <a:gd name="T62" fmla="*/ 33 w 80"/>
                <a:gd name="T63" fmla="*/ 21 h 97"/>
                <a:gd name="T64" fmla="*/ 33 w 80"/>
                <a:gd name="T65" fmla="*/ 21 h 97"/>
                <a:gd name="T66" fmla="*/ 33 w 80"/>
                <a:gd name="T67" fmla="*/ 21 h 97"/>
                <a:gd name="T68" fmla="*/ 33 w 80"/>
                <a:gd name="T69" fmla="*/ 21 h 97"/>
                <a:gd name="T70" fmla="*/ 33 w 80"/>
                <a:gd name="T71" fmla="*/ 22 h 97"/>
                <a:gd name="T72" fmla="*/ 32 w 80"/>
                <a:gd name="T73" fmla="*/ 22 h 97"/>
                <a:gd name="T74" fmla="*/ 32 w 80"/>
                <a:gd name="T75" fmla="*/ 22 h 97"/>
                <a:gd name="T76" fmla="*/ 32 w 80"/>
                <a:gd name="T77" fmla="*/ 22 h 97"/>
                <a:gd name="T78" fmla="*/ 32 w 80"/>
                <a:gd name="T79" fmla="*/ 23 h 97"/>
                <a:gd name="T80" fmla="*/ 32 w 80"/>
                <a:gd name="T81" fmla="*/ 23 h 97"/>
                <a:gd name="T82" fmla="*/ 31 w 80"/>
                <a:gd name="T83" fmla="*/ 23 h 97"/>
                <a:gd name="T84" fmla="*/ 31 w 80"/>
                <a:gd name="T85" fmla="*/ 23 h 97"/>
                <a:gd name="T86" fmla="*/ 31 w 80"/>
                <a:gd name="T87" fmla="*/ 24 h 97"/>
                <a:gd name="T88" fmla="*/ 31 w 80"/>
                <a:gd name="T89" fmla="*/ 24 h 97"/>
                <a:gd name="T90" fmla="*/ 31 w 80"/>
                <a:gd name="T91" fmla="*/ 24 h 97"/>
                <a:gd name="T92" fmla="*/ 30 w 80"/>
                <a:gd name="T93" fmla="*/ 25 h 97"/>
                <a:gd name="T94" fmla="*/ 30 w 80"/>
                <a:gd name="T95" fmla="*/ 25 h 97"/>
                <a:gd name="T96" fmla="*/ 30 w 80"/>
                <a:gd name="T97" fmla="*/ 26 h 97"/>
                <a:gd name="T98" fmla="*/ 30 w 80"/>
                <a:gd name="T99" fmla="*/ 26 h 97"/>
                <a:gd name="T100" fmla="*/ 29 w 80"/>
                <a:gd name="T101" fmla="*/ 27 h 97"/>
                <a:gd name="T102" fmla="*/ 29 w 80"/>
                <a:gd name="T103" fmla="*/ 27 h 97"/>
                <a:gd name="T104" fmla="*/ 37 w 80"/>
                <a:gd name="T10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0" h="97">
                  <a:moveTo>
                    <a:pt x="80" y="24"/>
                  </a:moveTo>
                  <a:lnTo>
                    <a:pt x="80" y="24"/>
                  </a:lnTo>
                  <a:lnTo>
                    <a:pt x="47" y="0"/>
                  </a:lnTo>
                  <a:cubicBezTo>
                    <a:pt x="44" y="4"/>
                    <a:pt x="42" y="8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3"/>
                  </a:cubicBezTo>
                  <a:cubicBezTo>
                    <a:pt x="39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4"/>
                  </a:cubicBezTo>
                  <a:lnTo>
                    <a:pt x="38" y="14"/>
                  </a:ln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lnTo>
                    <a:pt x="38" y="14"/>
                  </a:ln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lnTo>
                    <a:pt x="37" y="15"/>
                  </a:ln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9"/>
                    <a:pt x="35" y="19"/>
                  </a:cubicBezTo>
                  <a:cubicBezTo>
                    <a:pt x="35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20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4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lnTo>
                    <a:pt x="32" y="22"/>
                  </a:lnTo>
                  <a:cubicBezTo>
                    <a:pt x="32" y="22"/>
                    <a:pt x="32" y="23"/>
                    <a:pt x="32" y="23"/>
                  </a:cubicBezTo>
                  <a:lnTo>
                    <a:pt x="32" y="23"/>
                  </a:ln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lnTo>
                    <a:pt x="32" y="23"/>
                  </a:lnTo>
                  <a:cubicBezTo>
                    <a:pt x="32" y="23"/>
                    <a:pt x="32" y="23"/>
                    <a:pt x="31" y="23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1" y="23"/>
                    <a:pt x="31" y="23"/>
                    <a:pt x="31" y="23"/>
                  </a:cubicBezTo>
                  <a:lnTo>
                    <a:pt x="31" y="23"/>
                  </a:lnTo>
                  <a:cubicBezTo>
                    <a:pt x="31" y="23"/>
                    <a:pt x="31" y="23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lnTo>
                    <a:pt x="31" y="24"/>
                  </a:lnTo>
                  <a:cubicBezTo>
                    <a:pt x="31" y="24"/>
                    <a:pt x="31" y="24"/>
                    <a:pt x="31" y="24"/>
                  </a:cubicBezTo>
                  <a:lnTo>
                    <a:pt x="31" y="24"/>
                  </a:ln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lnTo>
                    <a:pt x="30" y="25"/>
                  </a:lnTo>
                  <a:cubicBezTo>
                    <a:pt x="30" y="25"/>
                    <a:pt x="30" y="25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lnTo>
                    <a:pt x="30" y="26"/>
                  </a:lnTo>
                  <a:cubicBezTo>
                    <a:pt x="30" y="26"/>
                    <a:pt x="30" y="26"/>
                    <a:pt x="30" y="26"/>
                  </a:cubicBezTo>
                  <a:lnTo>
                    <a:pt x="30" y="26"/>
                  </a:lnTo>
                  <a:cubicBezTo>
                    <a:pt x="30" y="26"/>
                    <a:pt x="29" y="26"/>
                    <a:pt x="29" y="26"/>
                  </a:cubicBezTo>
                  <a:lnTo>
                    <a:pt x="29" y="26"/>
                  </a:lnTo>
                  <a:cubicBezTo>
                    <a:pt x="29" y="27"/>
                    <a:pt x="29" y="27"/>
                    <a:pt x="29" y="27"/>
                  </a:cubicBezTo>
                  <a:lnTo>
                    <a:pt x="29" y="27"/>
                  </a:lnTo>
                  <a:cubicBezTo>
                    <a:pt x="29" y="27"/>
                    <a:pt x="29" y="27"/>
                    <a:pt x="29" y="27"/>
                  </a:cubicBezTo>
                  <a:lnTo>
                    <a:pt x="29" y="27"/>
                  </a:lnTo>
                  <a:cubicBezTo>
                    <a:pt x="29" y="27"/>
                    <a:pt x="29" y="27"/>
                    <a:pt x="29" y="28"/>
                  </a:cubicBezTo>
                  <a:cubicBezTo>
                    <a:pt x="18" y="45"/>
                    <a:pt x="9" y="63"/>
                    <a:pt x="0" y="81"/>
                  </a:cubicBezTo>
                  <a:lnTo>
                    <a:pt x="37" y="97"/>
                  </a:lnTo>
                  <a:cubicBezTo>
                    <a:pt x="49" y="72"/>
                    <a:pt x="63" y="47"/>
                    <a:pt x="80" y="24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2B1DA945-4B31-7AE6-014B-D0213DB10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8" y="3476625"/>
              <a:ext cx="41275" cy="69850"/>
            </a:xfrm>
            <a:custGeom>
              <a:avLst/>
              <a:gdLst>
                <a:gd name="T0" fmla="*/ 57 w 57"/>
                <a:gd name="T1" fmla="*/ 13 h 96"/>
                <a:gd name="T2" fmla="*/ 57 w 57"/>
                <a:gd name="T3" fmla="*/ 13 h 96"/>
                <a:gd name="T4" fmla="*/ 19 w 57"/>
                <a:gd name="T5" fmla="*/ 0 h 96"/>
                <a:gd name="T6" fmla="*/ 0 w 57"/>
                <a:gd name="T7" fmla="*/ 91 h 96"/>
                <a:gd name="T8" fmla="*/ 0 w 57"/>
                <a:gd name="T9" fmla="*/ 92 h 96"/>
                <a:gd name="T10" fmla="*/ 0 w 57"/>
                <a:gd name="T11" fmla="*/ 92 h 96"/>
                <a:gd name="T12" fmla="*/ 0 w 57"/>
                <a:gd name="T13" fmla="*/ 92 h 96"/>
                <a:gd name="T14" fmla="*/ 40 w 57"/>
                <a:gd name="T15" fmla="*/ 96 h 96"/>
                <a:gd name="T16" fmla="*/ 57 w 57"/>
                <a:gd name="T17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96">
                  <a:moveTo>
                    <a:pt x="57" y="13"/>
                  </a:moveTo>
                  <a:lnTo>
                    <a:pt x="57" y="13"/>
                  </a:lnTo>
                  <a:lnTo>
                    <a:pt x="19" y="0"/>
                  </a:lnTo>
                  <a:cubicBezTo>
                    <a:pt x="9" y="30"/>
                    <a:pt x="3" y="60"/>
                    <a:pt x="0" y="91"/>
                  </a:cubicBezTo>
                  <a:cubicBezTo>
                    <a:pt x="0" y="91"/>
                    <a:pt x="0" y="91"/>
                    <a:pt x="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2"/>
                    <a:pt x="0" y="92"/>
                  </a:cubicBezTo>
                  <a:lnTo>
                    <a:pt x="40" y="96"/>
                  </a:lnTo>
                  <a:cubicBezTo>
                    <a:pt x="42" y="68"/>
                    <a:pt x="48" y="40"/>
                    <a:pt x="57" y="1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BB47FC0A-41C5-A740-6FE6-B07EFBA34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" y="3267075"/>
              <a:ext cx="74613" cy="34925"/>
            </a:xfrm>
            <a:custGeom>
              <a:avLst/>
              <a:gdLst>
                <a:gd name="T0" fmla="*/ 102 w 105"/>
                <a:gd name="T1" fmla="*/ 0 h 49"/>
                <a:gd name="T2" fmla="*/ 101 w 105"/>
                <a:gd name="T3" fmla="*/ 0 h 49"/>
                <a:gd name="T4" fmla="*/ 100 w 105"/>
                <a:gd name="T5" fmla="*/ 0 h 49"/>
                <a:gd name="T6" fmla="*/ 99 w 105"/>
                <a:gd name="T7" fmla="*/ 0 h 49"/>
                <a:gd name="T8" fmla="*/ 99 w 105"/>
                <a:gd name="T9" fmla="*/ 0 h 49"/>
                <a:gd name="T10" fmla="*/ 98 w 105"/>
                <a:gd name="T11" fmla="*/ 0 h 49"/>
                <a:gd name="T12" fmla="*/ 98 w 105"/>
                <a:gd name="T13" fmla="*/ 0 h 49"/>
                <a:gd name="T14" fmla="*/ 97 w 105"/>
                <a:gd name="T15" fmla="*/ 0 h 49"/>
                <a:gd name="T16" fmla="*/ 96 w 105"/>
                <a:gd name="T17" fmla="*/ 0 h 49"/>
                <a:gd name="T18" fmla="*/ 96 w 105"/>
                <a:gd name="T19" fmla="*/ 0 h 49"/>
                <a:gd name="T20" fmla="*/ 95 w 105"/>
                <a:gd name="T21" fmla="*/ 0 h 49"/>
                <a:gd name="T22" fmla="*/ 94 w 105"/>
                <a:gd name="T23" fmla="*/ 0 h 49"/>
                <a:gd name="T24" fmla="*/ 94 w 105"/>
                <a:gd name="T25" fmla="*/ 0 h 49"/>
                <a:gd name="T26" fmla="*/ 93 w 105"/>
                <a:gd name="T27" fmla="*/ 0 h 49"/>
                <a:gd name="T28" fmla="*/ 93 w 105"/>
                <a:gd name="T29" fmla="*/ 0 h 49"/>
                <a:gd name="T30" fmla="*/ 92 w 105"/>
                <a:gd name="T31" fmla="*/ 0 h 49"/>
                <a:gd name="T32" fmla="*/ 91 w 105"/>
                <a:gd name="T33" fmla="*/ 0 h 49"/>
                <a:gd name="T34" fmla="*/ 91 w 105"/>
                <a:gd name="T35" fmla="*/ 0 h 49"/>
                <a:gd name="T36" fmla="*/ 90 w 105"/>
                <a:gd name="T37" fmla="*/ 0 h 49"/>
                <a:gd name="T38" fmla="*/ 90 w 105"/>
                <a:gd name="T39" fmla="*/ 0 h 49"/>
                <a:gd name="T40" fmla="*/ 89 w 105"/>
                <a:gd name="T41" fmla="*/ 0 h 49"/>
                <a:gd name="T42" fmla="*/ 88 w 105"/>
                <a:gd name="T43" fmla="*/ 0 h 49"/>
                <a:gd name="T44" fmla="*/ 88 w 105"/>
                <a:gd name="T45" fmla="*/ 0 h 49"/>
                <a:gd name="T46" fmla="*/ 87 w 105"/>
                <a:gd name="T47" fmla="*/ 0 h 49"/>
                <a:gd name="T48" fmla="*/ 87 w 105"/>
                <a:gd name="T49" fmla="*/ 0 h 49"/>
                <a:gd name="T50" fmla="*/ 86 w 105"/>
                <a:gd name="T51" fmla="*/ 0 h 49"/>
                <a:gd name="T52" fmla="*/ 86 w 105"/>
                <a:gd name="T53" fmla="*/ 0 h 49"/>
                <a:gd name="T54" fmla="*/ 85 w 105"/>
                <a:gd name="T55" fmla="*/ 0 h 49"/>
                <a:gd name="T56" fmla="*/ 84 w 105"/>
                <a:gd name="T57" fmla="*/ 0 h 49"/>
                <a:gd name="T58" fmla="*/ 84 w 105"/>
                <a:gd name="T59" fmla="*/ 0 h 49"/>
                <a:gd name="T60" fmla="*/ 83 w 105"/>
                <a:gd name="T61" fmla="*/ 0 h 49"/>
                <a:gd name="T62" fmla="*/ 83 w 105"/>
                <a:gd name="T63" fmla="*/ 0 h 49"/>
                <a:gd name="T64" fmla="*/ 82 w 105"/>
                <a:gd name="T65" fmla="*/ 0 h 49"/>
                <a:gd name="T66" fmla="*/ 81 w 105"/>
                <a:gd name="T67" fmla="*/ 0 h 49"/>
                <a:gd name="T68" fmla="*/ 81 w 105"/>
                <a:gd name="T69" fmla="*/ 0 h 49"/>
                <a:gd name="T70" fmla="*/ 80 w 105"/>
                <a:gd name="T71" fmla="*/ 0 h 49"/>
                <a:gd name="T72" fmla="*/ 80 w 105"/>
                <a:gd name="T73" fmla="*/ 0 h 49"/>
                <a:gd name="T74" fmla="*/ 79 w 105"/>
                <a:gd name="T75" fmla="*/ 0 h 49"/>
                <a:gd name="T76" fmla="*/ 78 w 105"/>
                <a:gd name="T77" fmla="*/ 0 h 49"/>
                <a:gd name="T78" fmla="*/ 78 w 105"/>
                <a:gd name="T79" fmla="*/ 0 h 49"/>
                <a:gd name="T80" fmla="*/ 77 w 105"/>
                <a:gd name="T81" fmla="*/ 0 h 49"/>
                <a:gd name="T82" fmla="*/ 76 w 105"/>
                <a:gd name="T83" fmla="*/ 0 h 49"/>
                <a:gd name="T84" fmla="*/ 75 w 105"/>
                <a:gd name="T85" fmla="*/ 0 h 49"/>
                <a:gd name="T86" fmla="*/ 75 w 105"/>
                <a:gd name="T87" fmla="*/ 1 h 49"/>
                <a:gd name="T88" fmla="*/ 74 w 105"/>
                <a:gd name="T89" fmla="*/ 1 h 49"/>
                <a:gd name="T90" fmla="*/ 73 w 105"/>
                <a:gd name="T91" fmla="*/ 1 h 49"/>
                <a:gd name="T92" fmla="*/ 73 w 105"/>
                <a:gd name="T93" fmla="*/ 1 h 49"/>
                <a:gd name="T94" fmla="*/ 72 w 105"/>
                <a:gd name="T95" fmla="*/ 1 h 49"/>
                <a:gd name="T96" fmla="*/ 72 w 105"/>
                <a:gd name="T97" fmla="*/ 1 h 49"/>
                <a:gd name="T98" fmla="*/ 71 w 105"/>
                <a:gd name="T99" fmla="*/ 1 h 49"/>
                <a:gd name="T100" fmla="*/ 70 w 105"/>
                <a:gd name="T101" fmla="*/ 1 h 49"/>
                <a:gd name="T102" fmla="*/ 70 w 105"/>
                <a:gd name="T103" fmla="*/ 1 h 49"/>
                <a:gd name="T104" fmla="*/ 68 w 105"/>
                <a:gd name="T105" fmla="*/ 1 h 49"/>
                <a:gd name="T106" fmla="*/ 68 w 105"/>
                <a:gd name="T107" fmla="*/ 1 h 49"/>
                <a:gd name="T108" fmla="*/ 67 w 105"/>
                <a:gd name="T109" fmla="*/ 1 h 49"/>
                <a:gd name="T110" fmla="*/ 66 w 105"/>
                <a:gd name="T111" fmla="*/ 1 h 49"/>
                <a:gd name="T112" fmla="*/ 65 w 105"/>
                <a:gd name="T113" fmla="*/ 1 h 49"/>
                <a:gd name="T114" fmla="*/ 64 w 105"/>
                <a:gd name="T115" fmla="*/ 1 h 49"/>
                <a:gd name="T116" fmla="*/ 63 w 105"/>
                <a:gd name="T117" fmla="*/ 1 h 49"/>
                <a:gd name="T118" fmla="*/ 63 w 105"/>
                <a:gd name="T119" fmla="*/ 1 h 49"/>
                <a:gd name="T120" fmla="*/ 61 w 105"/>
                <a:gd name="T121" fmla="*/ 1 h 49"/>
                <a:gd name="T122" fmla="*/ 92 w 105"/>
                <a:gd name="T123" fmla="*/ 3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5" h="49">
                  <a:moveTo>
                    <a:pt x="92" y="39"/>
                  </a:moveTo>
                  <a:lnTo>
                    <a:pt x="92" y="39"/>
                  </a:lnTo>
                  <a:cubicBezTo>
                    <a:pt x="96" y="39"/>
                    <a:pt x="100" y="39"/>
                    <a:pt x="104" y="40"/>
                  </a:cubicBezTo>
                  <a:lnTo>
                    <a:pt x="105" y="0"/>
                  </a:lnTo>
                  <a:cubicBezTo>
                    <a:pt x="104" y="0"/>
                    <a:pt x="103" y="0"/>
                    <a:pt x="102" y="0"/>
                  </a:cubicBezTo>
                  <a:lnTo>
                    <a:pt x="102" y="0"/>
                  </a:lnTo>
                  <a:cubicBezTo>
                    <a:pt x="101" y="0"/>
                    <a:pt x="101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101" y="0"/>
                  </a:lnTo>
                  <a:cubicBezTo>
                    <a:pt x="101" y="0"/>
                    <a:pt x="101" y="0"/>
                    <a:pt x="101" y="0"/>
                  </a:cubicBezTo>
                  <a:lnTo>
                    <a:pt x="101" y="0"/>
                  </a:lnTo>
                  <a:cubicBezTo>
                    <a:pt x="101" y="0"/>
                    <a:pt x="101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6" y="0"/>
                    <a:pt x="76" y="0"/>
                  </a:cubicBezTo>
                  <a:lnTo>
                    <a:pt x="76" y="0"/>
                  </a:ln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76" y="0"/>
                    <a:pt x="75" y="0"/>
                  </a:cubicBezTo>
                  <a:lnTo>
                    <a:pt x="75" y="0"/>
                  </a:lnTo>
                  <a:cubicBezTo>
                    <a:pt x="75" y="0"/>
                    <a:pt x="75" y="0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"/>
                  </a:ln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lnTo>
                    <a:pt x="72" y="1"/>
                  </a:lnTo>
                  <a:cubicBezTo>
                    <a:pt x="72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lnTo>
                    <a:pt x="71" y="1"/>
                  </a:ln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lnTo>
                    <a:pt x="70" y="1"/>
                  </a:lnTo>
                  <a:cubicBezTo>
                    <a:pt x="70" y="1"/>
                    <a:pt x="70" y="1"/>
                    <a:pt x="70" y="1"/>
                  </a:cubicBezTo>
                  <a:lnTo>
                    <a:pt x="70" y="1"/>
                  </a:ln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lnTo>
                    <a:pt x="70" y="1"/>
                  </a:lnTo>
                  <a:cubicBezTo>
                    <a:pt x="69" y="1"/>
                    <a:pt x="69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lnTo>
                    <a:pt x="69" y="1"/>
                  </a:lnTo>
                  <a:cubicBezTo>
                    <a:pt x="69" y="1"/>
                    <a:pt x="69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7" y="1"/>
                    <a:pt x="67" y="1"/>
                    <a:pt x="67" y="1"/>
                  </a:cubicBezTo>
                  <a:lnTo>
                    <a:pt x="67" y="1"/>
                  </a:lnTo>
                  <a:cubicBezTo>
                    <a:pt x="67" y="1"/>
                    <a:pt x="67" y="1"/>
                    <a:pt x="66" y="1"/>
                  </a:cubicBezTo>
                  <a:lnTo>
                    <a:pt x="66" y="1"/>
                  </a:ln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lnTo>
                    <a:pt x="65" y="1"/>
                  </a:lnTo>
                  <a:cubicBezTo>
                    <a:pt x="65" y="1"/>
                    <a:pt x="64" y="1"/>
                    <a:pt x="64" y="1"/>
                  </a:cubicBezTo>
                  <a:lnTo>
                    <a:pt x="64" y="1"/>
                  </a:lnTo>
                  <a:cubicBezTo>
                    <a:pt x="64" y="1"/>
                    <a:pt x="64" y="1"/>
                    <a:pt x="64" y="1"/>
                  </a:cubicBezTo>
                  <a:lnTo>
                    <a:pt x="64" y="1"/>
                  </a:lnTo>
                  <a:cubicBezTo>
                    <a:pt x="64" y="1"/>
                    <a:pt x="64" y="1"/>
                    <a:pt x="64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1"/>
                    <a:pt x="64" y="1"/>
                    <a:pt x="64" y="1"/>
                  </a:cubicBezTo>
                  <a:lnTo>
                    <a:pt x="63" y="1"/>
                  </a:lnTo>
                  <a:cubicBezTo>
                    <a:pt x="63" y="1"/>
                    <a:pt x="63" y="1"/>
                    <a:pt x="63" y="1"/>
                  </a:cubicBezTo>
                  <a:lnTo>
                    <a:pt x="63" y="1"/>
                  </a:ln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lnTo>
                    <a:pt x="63" y="1"/>
                  </a:lnTo>
                  <a:cubicBezTo>
                    <a:pt x="62" y="1"/>
                    <a:pt x="62" y="1"/>
                    <a:pt x="61" y="1"/>
                  </a:cubicBezTo>
                  <a:lnTo>
                    <a:pt x="61" y="1"/>
                  </a:lnTo>
                  <a:cubicBezTo>
                    <a:pt x="61" y="1"/>
                    <a:pt x="61" y="1"/>
                    <a:pt x="61" y="1"/>
                  </a:cubicBezTo>
                  <a:lnTo>
                    <a:pt x="61" y="1"/>
                  </a:lnTo>
                  <a:cubicBezTo>
                    <a:pt x="61" y="1"/>
                    <a:pt x="61" y="1"/>
                    <a:pt x="61" y="1"/>
                  </a:cubicBezTo>
                  <a:lnTo>
                    <a:pt x="61" y="1"/>
                  </a:lnTo>
                  <a:cubicBezTo>
                    <a:pt x="61" y="1"/>
                    <a:pt x="61" y="1"/>
                    <a:pt x="61" y="1"/>
                  </a:cubicBezTo>
                  <a:cubicBezTo>
                    <a:pt x="60" y="1"/>
                    <a:pt x="58" y="2"/>
                    <a:pt x="57" y="2"/>
                  </a:cubicBezTo>
                  <a:lnTo>
                    <a:pt x="57" y="2"/>
                  </a:lnTo>
                  <a:cubicBezTo>
                    <a:pt x="37" y="3"/>
                    <a:pt x="18" y="6"/>
                    <a:pt x="0" y="9"/>
                  </a:cubicBezTo>
                  <a:lnTo>
                    <a:pt x="8" y="49"/>
                  </a:lnTo>
                  <a:cubicBezTo>
                    <a:pt x="36" y="42"/>
                    <a:pt x="64" y="39"/>
                    <a:pt x="92" y="39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55B6A0F1-F617-11F5-4F6A-58AC4AC46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38" y="3324225"/>
              <a:ext cx="66675" cy="65088"/>
            </a:xfrm>
            <a:custGeom>
              <a:avLst/>
              <a:gdLst>
                <a:gd name="T0" fmla="*/ 69 w 93"/>
                <a:gd name="T1" fmla="*/ 0 h 89"/>
                <a:gd name="T2" fmla="*/ 68 w 93"/>
                <a:gd name="T3" fmla="*/ 1 h 89"/>
                <a:gd name="T4" fmla="*/ 68 w 93"/>
                <a:gd name="T5" fmla="*/ 1 h 89"/>
                <a:gd name="T6" fmla="*/ 68 w 93"/>
                <a:gd name="T7" fmla="*/ 1 h 89"/>
                <a:gd name="T8" fmla="*/ 67 w 93"/>
                <a:gd name="T9" fmla="*/ 2 h 89"/>
                <a:gd name="T10" fmla="*/ 67 w 93"/>
                <a:gd name="T11" fmla="*/ 2 h 89"/>
                <a:gd name="T12" fmla="*/ 67 w 93"/>
                <a:gd name="T13" fmla="*/ 2 h 89"/>
                <a:gd name="T14" fmla="*/ 66 w 93"/>
                <a:gd name="T15" fmla="*/ 2 h 89"/>
                <a:gd name="T16" fmla="*/ 66 w 93"/>
                <a:gd name="T17" fmla="*/ 2 h 89"/>
                <a:gd name="T18" fmla="*/ 66 w 93"/>
                <a:gd name="T19" fmla="*/ 3 h 89"/>
                <a:gd name="T20" fmla="*/ 66 w 93"/>
                <a:gd name="T21" fmla="*/ 3 h 89"/>
                <a:gd name="T22" fmla="*/ 65 w 93"/>
                <a:gd name="T23" fmla="*/ 3 h 89"/>
                <a:gd name="T24" fmla="*/ 65 w 93"/>
                <a:gd name="T25" fmla="*/ 3 h 89"/>
                <a:gd name="T26" fmla="*/ 65 w 93"/>
                <a:gd name="T27" fmla="*/ 3 h 89"/>
                <a:gd name="T28" fmla="*/ 65 w 93"/>
                <a:gd name="T29" fmla="*/ 3 h 89"/>
                <a:gd name="T30" fmla="*/ 64 w 93"/>
                <a:gd name="T31" fmla="*/ 3 h 89"/>
                <a:gd name="T32" fmla="*/ 64 w 93"/>
                <a:gd name="T33" fmla="*/ 4 h 89"/>
                <a:gd name="T34" fmla="*/ 64 w 93"/>
                <a:gd name="T35" fmla="*/ 4 h 89"/>
                <a:gd name="T36" fmla="*/ 64 w 93"/>
                <a:gd name="T37" fmla="*/ 4 h 89"/>
                <a:gd name="T38" fmla="*/ 64 w 93"/>
                <a:gd name="T39" fmla="*/ 4 h 89"/>
                <a:gd name="T40" fmla="*/ 63 w 93"/>
                <a:gd name="T41" fmla="*/ 4 h 89"/>
                <a:gd name="T42" fmla="*/ 63 w 93"/>
                <a:gd name="T43" fmla="*/ 5 h 89"/>
                <a:gd name="T44" fmla="*/ 63 w 93"/>
                <a:gd name="T45" fmla="*/ 5 h 89"/>
                <a:gd name="T46" fmla="*/ 63 w 93"/>
                <a:gd name="T47" fmla="*/ 5 h 89"/>
                <a:gd name="T48" fmla="*/ 62 w 93"/>
                <a:gd name="T49" fmla="*/ 5 h 89"/>
                <a:gd name="T50" fmla="*/ 62 w 93"/>
                <a:gd name="T51" fmla="*/ 5 h 89"/>
                <a:gd name="T52" fmla="*/ 62 w 93"/>
                <a:gd name="T53" fmla="*/ 5 h 89"/>
                <a:gd name="T54" fmla="*/ 62 w 93"/>
                <a:gd name="T55" fmla="*/ 6 h 89"/>
                <a:gd name="T56" fmla="*/ 62 w 93"/>
                <a:gd name="T57" fmla="*/ 6 h 89"/>
                <a:gd name="T58" fmla="*/ 61 w 93"/>
                <a:gd name="T59" fmla="*/ 6 h 89"/>
                <a:gd name="T60" fmla="*/ 61 w 93"/>
                <a:gd name="T61" fmla="*/ 6 h 89"/>
                <a:gd name="T62" fmla="*/ 61 w 93"/>
                <a:gd name="T63" fmla="*/ 6 h 89"/>
                <a:gd name="T64" fmla="*/ 61 w 93"/>
                <a:gd name="T65" fmla="*/ 6 h 89"/>
                <a:gd name="T66" fmla="*/ 60 w 93"/>
                <a:gd name="T67" fmla="*/ 6 h 89"/>
                <a:gd name="T68" fmla="*/ 60 w 93"/>
                <a:gd name="T69" fmla="*/ 7 h 89"/>
                <a:gd name="T70" fmla="*/ 60 w 93"/>
                <a:gd name="T71" fmla="*/ 7 h 89"/>
                <a:gd name="T72" fmla="*/ 60 w 93"/>
                <a:gd name="T73" fmla="*/ 7 h 89"/>
                <a:gd name="T74" fmla="*/ 60 w 93"/>
                <a:gd name="T75" fmla="*/ 7 h 89"/>
                <a:gd name="T76" fmla="*/ 59 w 93"/>
                <a:gd name="T77" fmla="*/ 7 h 89"/>
                <a:gd name="T78" fmla="*/ 59 w 93"/>
                <a:gd name="T79" fmla="*/ 8 h 89"/>
                <a:gd name="T80" fmla="*/ 59 w 93"/>
                <a:gd name="T81" fmla="*/ 8 h 89"/>
                <a:gd name="T82" fmla="*/ 58 w 93"/>
                <a:gd name="T83" fmla="*/ 8 h 89"/>
                <a:gd name="T84" fmla="*/ 58 w 93"/>
                <a:gd name="T85" fmla="*/ 9 h 89"/>
                <a:gd name="T86" fmla="*/ 57 w 93"/>
                <a:gd name="T87" fmla="*/ 9 h 89"/>
                <a:gd name="T88" fmla="*/ 57 w 93"/>
                <a:gd name="T89" fmla="*/ 9 h 89"/>
                <a:gd name="T90" fmla="*/ 57 w 93"/>
                <a:gd name="T91" fmla="*/ 10 h 89"/>
                <a:gd name="T92" fmla="*/ 56 w 93"/>
                <a:gd name="T93" fmla="*/ 10 h 89"/>
                <a:gd name="T94" fmla="*/ 55 w 93"/>
                <a:gd name="T95" fmla="*/ 10 h 89"/>
                <a:gd name="T96" fmla="*/ 54 w 93"/>
                <a:gd name="T97" fmla="*/ 11 h 89"/>
                <a:gd name="T98" fmla="*/ 53 w 93"/>
                <a:gd name="T99" fmla="*/ 12 h 89"/>
                <a:gd name="T100" fmla="*/ 93 w 93"/>
                <a:gd name="T101" fmla="*/ 32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3" h="89">
                  <a:moveTo>
                    <a:pt x="93" y="32"/>
                  </a:moveTo>
                  <a:lnTo>
                    <a:pt x="93" y="32"/>
                  </a:lnTo>
                  <a:lnTo>
                    <a:pt x="69" y="0"/>
                  </a:ln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7" y="1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3"/>
                    <a:pt x="66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4" y="3"/>
                    <a:pt x="64" y="3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lnTo>
                    <a:pt x="63" y="4"/>
                  </a:lnTo>
                  <a:cubicBezTo>
                    <a:pt x="63" y="4"/>
                    <a:pt x="63" y="4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lnTo>
                    <a:pt x="61" y="6"/>
                  </a:ln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0" y="6"/>
                  </a:cubicBezTo>
                  <a:cubicBezTo>
                    <a:pt x="60" y="6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lnTo>
                    <a:pt x="60" y="7"/>
                  </a:ln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59" y="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7"/>
                    <a:pt x="59" y="7"/>
                    <a:pt x="59" y="7"/>
                  </a:cubicBezTo>
                  <a:lnTo>
                    <a:pt x="59" y="7"/>
                  </a:ln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lnTo>
                    <a:pt x="59" y="8"/>
                  </a:lnTo>
                  <a:cubicBezTo>
                    <a:pt x="59" y="8"/>
                    <a:pt x="58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lnTo>
                    <a:pt x="58" y="8"/>
                  </a:lnTo>
                  <a:cubicBezTo>
                    <a:pt x="58" y="8"/>
                    <a:pt x="58" y="8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lnTo>
                    <a:pt x="57" y="9"/>
                  </a:ln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10"/>
                    <a:pt x="56" y="10"/>
                    <a:pt x="56" y="10"/>
                  </a:cubicBezTo>
                  <a:lnTo>
                    <a:pt x="56" y="10"/>
                  </a:lnTo>
                  <a:cubicBezTo>
                    <a:pt x="56" y="10"/>
                    <a:pt x="56" y="10"/>
                    <a:pt x="56" y="10"/>
                  </a:cubicBezTo>
                  <a:lnTo>
                    <a:pt x="56" y="10"/>
                  </a:lnTo>
                  <a:cubicBezTo>
                    <a:pt x="56" y="10"/>
                    <a:pt x="56" y="10"/>
                    <a:pt x="55" y="10"/>
                  </a:cubicBezTo>
                  <a:lnTo>
                    <a:pt x="55" y="10"/>
                  </a:lnTo>
                  <a:cubicBezTo>
                    <a:pt x="55" y="11"/>
                    <a:pt x="55" y="11"/>
                    <a:pt x="54" y="1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4" y="12"/>
                    <a:pt x="54" y="12"/>
                    <a:pt x="53" y="12"/>
                  </a:cubicBezTo>
                  <a:lnTo>
                    <a:pt x="53" y="12"/>
                  </a:lnTo>
                  <a:cubicBezTo>
                    <a:pt x="53" y="12"/>
                    <a:pt x="53" y="12"/>
                    <a:pt x="53" y="12"/>
                  </a:cubicBezTo>
                  <a:cubicBezTo>
                    <a:pt x="34" y="27"/>
                    <a:pt x="16" y="44"/>
                    <a:pt x="0" y="62"/>
                  </a:cubicBezTo>
                  <a:lnTo>
                    <a:pt x="30" y="89"/>
                  </a:lnTo>
                  <a:cubicBezTo>
                    <a:pt x="49" y="68"/>
                    <a:pt x="70" y="49"/>
                    <a:pt x="93" y="32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11">
              <a:extLst>
                <a:ext uri="{FF2B5EF4-FFF2-40B4-BE49-F238E27FC236}">
                  <a16:creationId xmlns:a16="http://schemas.microsoft.com/office/drawing/2014/main" id="{CDD7799F-2947-EB3E-EBAD-7D5EB7A9E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600" y="3295650"/>
              <a:ext cx="68263" cy="55563"/>
            </a:xfrm>
            <a:custGeom>
              <a:avLst/>
              <a:gdLst>
                <a:gd name="T0" fmla="*/ 60 w 96"/>
                <a:gd name="T1" fmla="*/ 24 h 77"/>
                <a:gd name="T2" fmla="*/ 58 w 96"/>
                <a:gd name="T3" fmla="*/ 23 h 77"/>
                <a:gd name="T4" fmla="*/ 58 w 96"/>
                <a:gd name="T5" fmla="*/ 22 h 77"/>
                <a:gd name="T6" fmla="*/ 58 w 96"/>
                <a:gd name="T7" fmla="*/ 22 h 77"/>
                <a:gd name="T8" fmla="*/ 57 w 96"/>
                <a:gd name="T9" fmla="*/ 22 h 77"/>
                <a:gd name="T10" fmla="*/ 57 w 96"/>
                <a:gd name="T11" fmla="*/ 22 h 77"/>
                <a:gd name="T12" fmla="*/ 56 w 96"/>
                <a:gd name="T13" fmla="*/ 21 h 77"/>
                <a:gd name="T14" fmla="*/ 56 w 96"/>
                <a:gd name="T15" fmla="*/ 21 h 77"/>
                <a:gd name="T16" fmla="*/ 56 w 96"/>
                <a:gd name="T17" fmla="*/ 21 h 77"/>
                <a:gd name="T18" fmla="*/ 55 w 96"/>
                <a:gd name="T19" fmla="*/ 21 h 77"/>
                <a:gd name="T20" fmla="*/ 55 w 96"/>
                <a:gd name="T21" fmla="*/ 20 h 77"/>
                <a:gd name="T22" fmla="*/ 55 w 96"/>
                <a:gd name="T23" fmla="*/ 20 h 77"/>
                <a:gd name="T24" fmla="*/ 54 w 96"/>
                <a:gd name="T25" fmla="*/ 20 h 77"/>
                <a:gd name="T26" fmla="*/ 54 w 96"/>
                <a:gd name="T27" fmla="*/ 20 h 77"/>
                <a:gd name="T28" fmla="*/ 54 w 96"/>
                <a:gd name="T29" fmla="*/ 20 h 77"/>
                <a:gd name="T30" fmla="*/ 53 w 96"/>
                <a:gd name="T31" fmla="*/ 20 h 77"/>
                <a:gd name="T32" fmla="*/ 53 w 96"/>
                <a:gd name="T33" fmla="*/ 19 h 77"/>
                <a:gd name="T34" fmla="*/ 53 w 96"/>
                <a:gd name="T35" fmla="*/ 19 h 77"/>
                <a:gd name="T36" fmla="*/ 52 w 96"/>
                <a:gd name="T37" fmla="*/ 19 h 77"/>
                <a:gd name="T38" fmla="*/ 52 w 96"/>
                <a:gd name="T39" fmla="*/ 19 h 77"/>
                <a:gd name="T40" fmla="*/ 52 w 96"/>
                <a:gd name="T41" fmla="*/ 19 h 77"/>
                <a:gd name="T42" fmla="*/ 52 w 96"/>
                <a:gd name="T43" fmla="*/ 18 h 77"/>
                <a:gd name="T44" fmla="*/ 51 w 96"/>
                <a:gd name="T45" fmla="*/ 18 h 77"/>
                <a:gd name="T46" fmla="*/ 51 w 96"/>
                <a:gd name="T47" fmla="*/ 18 h 77"/>
                <a:gd name="T48" fmla="*/ 51 w 96"/>
                <a:gd name="T49" fmla="*/ 18 h 77"/>
                <a:gd name="T50" fmla="*/ 50 w 96"/>
                <a:gd name="T51" fmla="*/ 18 h 77"/>
                <a:gd name="T52" fmla="*/ 50 w 96"/>
                <a:gd name="T53" fmla="*/ 18 h 77"/>
                <a:gd name="T54" fmla="*/ 50 w 96"/>
                <a:gd name="T55" fmla="*/ 17 h 77"/>
                <a:gd name="T56" fmla="*/ 50 w 96"/>
                <a:gd name="T57" fmla="*/ 17 h 77"/>
                <a:gd name="T58" fmla="*/ 49 w 96"/>
                <a:gd name="T59" fmla="*/ 17 h 77"/>
                <a:gd name="T60" fmla="*/ 49 w 96"/>
                <a:gd name="T61" fmla="*/ 17 h 77"/>
                <a:gd name="T62" fmla="*/ 49 w 96"/>
                <a:gd name="T63" fmla="*/ 17 h 77"/>
                <a:gd name="T64" fmla="*/ 48 w 96"/>
                <a:gd name="T65" fmla="*/ 17 h 77"/>
                <a:gd name="T66" fmla="*/ 48 w 96"/>
                <a:gd name="T67" fmla="*/ 17 h 77"/>
                <a:gd name="T68" fmla="*/ 48 w 96"/>
                <a:gd name="T69" fmla="*/ 16 h 77"/>
                <a:gd name="T70" fmla="*/ 48 w 96"/>
                <a:gd name="T71" fmla="*/ 16 h 77"/>
                <a:gd name="T72" fmla="*/ 47 w 96"/>
                <a:gd name="T73" fmla="*/ 16 h 77"/>
                <a:gd name="T74" fmla="*/ 47 w 96"/>
                <a:gd name="T75" fmla="*/ 16 h 77"/>
                <a:gd name="T76" fmla="*/ 47 w 96"/>
                <a:gd name="T77" fmla="*/ 16 h 77"/>
                <a:gd name="T78" fmla="*/ 47 w 96"/>
                <a:gd name="T79" fmla="*/ 16 h 77"/>
                <a:gd name="T80" fmla="*/ 46 w 96"/>
                <a:gd name="T81" fmla="*/ 15 h 77"/>
                <a:gd name="T82" fmla="*/ 46 w 96"/>
                <a:gd name="T83" fmla="*/ 15 h 77"/>
                <a:gd name="T84" fmla="*/ 46 w 96"/>
                <a:gd name="T85" fmla="*/ 15 h 77"/>
                <a:gd name="T86" fmla="*/ 45 w 96"/>
                <a:gd name="T87" fmla="*/ 15 h 77"/>
                <a:gd name="T88" fmla="*/ 45 w 96"/>
                <a:gd name="T89" fmla="*/ 15 h 77"/>
                <a:gd name="T90" fmla="*/ 45 w 96"/>
                <a:gd name="T91" fmla="*/ 15 h 77"/>
                <a:gd name="T92" fmla="*/ 44 w 96"/>
                <a:gd name="T93" fmla="*/ 14 h 77"/>
                <a:gd name="T94" fmla="*/ 44 w 96"/>
                <a:gd name="T95" fmla="*/ 14 h 77"/>
                <a:gd name="T96" fmla="*/ 44 w 96"/>
                <a:gd name="T97" fmla="*/ 14 h 77"/>
                <a:gd name="T98" fmla="*/ 43 w 96"/>
                <a:gd name="T99" fmla="*/ 14 h 77"/>
                <a:gd name="T100" fmla="*/ 43 w 96"/>
                <a:gd name="T101" fmla="*/ 14 h 77"/>
                <a:gd name="T102" fmla="*/ 43 w 96"/>
                <a:gd name="T103" fmla="*/ 13 h 77"/>
                <a:gd name="T104" fmla="*/ 43 w 96"/>
                <a:gd name="T105" fmla="*/ 13 h 77"/>
                <a:gd name="T106" fmla="*/ 42 w 96"/>
                <a:gd name="T107" fmla="*/ 13 h 77"/>
                <a:gd name="T108" fmla="*/ 42 w 96"/>
                <a:gd name="T109" fmla="*/ 13 h 77"/>
                <a:gd name="T110" fmla="*/ 40 w 96"/>
                <a:gd name="T111" fmla="*/ 12 h 77"/>
                <a:gd name="T112" fmla="*/ 40 w 96"/>
                <a:gd name="T113" fmla="*/ 12 h 77"/>
                <a:gd name="T114" fmla="*/ 0 w 96"/>
                <a:gd name="T115" fmla="*/ 37 h 77"/>
                <a:gd name="T116" fmla="*/ 60 w 96"/>
                <a:gd name="T117" fmla="*/ 2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77">
                  <a:moveTo>
                    <a:pt x="60" y="24"/>
                  </a:moveTo>
                  <a:lnTo>
                    <a:pt x="60" y="24"/>
                  </a:lnTo>
                  <a:lnTo>
                    <a:pt x="60" y="24"/>
                  </a:lnTo>
                  <a:cubicBezTo>
                    <a:pt x="60" y="24"/>
                    <a:pt x="60" y="23"/>
                    <a:pt x="59" y="23"/>
                  </a:cubicBezTo>
                  <a:lnTo>
                    <a:pt x="59" y="23"/>
                  </a:lnTo>
                  <a:cubicBezTo>
                    <a:pt x="59" y="23"/>
                    <a:pt x="59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lnTo>
                    <a:pt x="58" y="22"/>
                  </a:ln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lnTo>
                    <a:pt x="58" y="22"/>
                  </a:lnTo>
                  <a:cubicBezTo>
                    <a:pt x="58" y="22"/>
                    <a:pt x="57" y="22"/>
                    <a:pt x="57" y="22"/>
                  </a:cubicBezTo>
                  <a:lnTo>
                    <a:pt x="57" y="22"/>
                  </a:lnTo>
                  <a:cubicBezTo>
                    <a:pt x="57" y="22"/>
                    <a:pt x="57" y="22"/>
                    <a:pt x="57" y="22"/>
                  </a:cubicBezTo>
                  <a:lnTo>
                    <a:pt x="57" y="22"/>
                  </a:lnTo>
                  <a:cubicBezTo>
                    <a:pt x="57" y="22"/>
                    <a:pt x="57" y="22"/>
                    <a:pt x="57" y="22"/>
                  </a:cubicBezTo>
                  <a:lnTo>
                    <a:pt x="57" y="22"/>
                  </a:lnTo>
                  <a:cubicBezTo>
                    <a:pt x="57" y="21"/>
                    <a:pt x="56" y="21"/>
                    <a:pt x="56" y="21"/>
                  </a:cubicBezTo>
                  <a:lnTo>
                    <a:pt x="56" y="21"/>
                  </a:ln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lnTo>
                    <a:pt x="56" y="21"/>
                  </a:ln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lnTo>
                    <a:pt x="56" y="21"/>
                  </a:lnTo>
                  <a:cubicBezTo>
                    <a:pt x="55" y="21"/>
                    <a:pt x="55" y="21"/>
                    <a:pt x="55" y="21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lnTo>
                    <a:pt x="54" y="20"/>
                  </a:ln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lnTo>
                    <a:pt x="53" y="19"/>
                  </a:lnTo>
                  <a:cubicBezTo>
                    <a:pt x="53" y="19"/>
                    <a:pt x="53" y="19"/>
                    <a:pt x="53" y="19"/>
                  </a:cubicBezTo>
                  <a:lnTo>
                    <a:pt x="53" y="19"/>
                  </a:ln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lnTo>
                    <a:pt x="52" y="19"/>
                  </a:lnTo>
                  <a:cubicBezTo>
                    <a:pt x="52" y="19"/>
                    <a:pt x="52" y="19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0" y="18"/>
                  </a:cubicBezTo>
                  <a:cubicBezTo>
                    <a:pt x="50" y="18"/>
                    <a:pt x="50" y="18"/>
                    <a:pt x="50" y="18"/>
                  </a:cubicBezTo>
                  <a:lnTo>
                    <a:pt x="50" y="18"/>
                  </a:ln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lnTo>
                    <a:pt x="50" y="17"/>
                  </a:ln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8" y="17"/>
                    <a:pt x="48" y="17"/>
                  </a:cubicBezTo>
                  <a:lnTo>
                    <a:pt x="48" y="17"/>
                  </a:ln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lnTo>
                    <a:pt x="47" y="16"/>
                  </a:ln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6" y="16"/>
                  </a:cubicBezTo>
                  <a:cubicBezTo>
                    <a:pt x="46" y="16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4"/>
                    <a:pt x="44" y="14"/>
                    <a:pt x="44" y="14"/>
                  </a:cubicBezTo>
                  <a:lnTo>
                    <a:pt x="44" y="14"/>
                  </a:ln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lnTo>
                    <a:pt x="44" y="14"/>
                  </a:ln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lnTo>
                    <a:pt x="44" y="14"/>
                  </a:lnTo>
                  <a:cubicBezTo>
                    <a:pt x="43" y="14"/>
                    <a:pt x="43" y="14"/>
                    <a:pt x="43" y="14"/>
                  </a:cubicBezTo>
                  <a:lnTo>
                    <a:pt x="43" y="14"/>
                  </a:lnTo>
                  <a:cubicBezTo>
                    <a:pt x="43" y="14"/>
                    <a:pt x="43" y="14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lnTo>
                    <a:pt x="43" y="13"/>
                  </a:lnTo>
                  <a:cubicBezTo>
                    <a:pt x="42" y="13"/>
                    <a:pt x="42" y="13"/>
                    <a:pt x="42" y="13"/>
                  </a:cubicBezTo>
                  <a:lnTo>
                    <a:pt x="42" y="13"/>
                  </a:ln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lnTo>
                    <a:pt x="42" y="13"/>
                  </a:lnTo>
                  <a:cubicBezTo>
                    <a:pt x="42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2"/>
                    <a:pt x="40" y="12"/>
                  </a:cubicBezTo>
                  <a:lnTo>
                    <a:pt x="40" y="12"/>
                  </a:ln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1" y="7"/>
                    <a:pt x="24" y="4"/>
                    <a:pt x="17" y="0"/>
                  </a:cubicBezTo>
                  <a:lnTo>
                    <a:pt x="0" y="37"/>
                  </a:lnTo>
                  <a:cubicBezTo>
                    <a:pt x="24" y="48"/>
                    <a:pt x="46" y="62"/>
                    <a:pt x="67" y="77"/>
                  </a:cubicBezTo>
                  <a:lnTo>
                    <a:pt x="96" y="49"/>
                  </a:lnTo>
                  <a:cubicBezTo>
                    <a:pt x="85" y="40"/>
                    <a:pt x="73" y="31"/>
                    <a:pt x="60" y="24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12">
              <a:extLst>
                <a:ext uri="{FF2B5EF4-FFF2-40B4-BE49-F238E27FC236}">
                  <a16:creationId xmlns:a16="http://schemas.microsoft.com/office/drawing/2014/main" id="{678E1D45-5EF5-B4CF-7FCC-1E8EEF910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463" y="3268663"/>
              <a:ext cx="69850" cy="42863"/>
            </a:xfrm>
            <a:custGeom>
              <a:avLst/>
              <a:gdLst>
                <a:gd name="T0" fmla="*/ 87 w 96"/>
                <a:gd name="T1" fmla="*/ 18 h 59"/>
                <a:gd name="T2" fmla="*/ 85 w 96"/>
                <a:gd name="T3" fmla="*/ 17 h 59"/>
                <a:gd name="T4" fmla="*/ 85 w 96"/>
                <a:gd name="T5" fmla="*/ 17 h 59"/>
                <a:gd name="T6" fmla="*/ 84 w 96"/>
                <a:gd name="T7" fmla="*/ 17 h 59"/>
                <a:gd name="T8" fmla="*/ 83 w 96"/>
                <a:gd name="T9" fmla="*/ 17 h 59"/>
                <a:gd name="T10" fmla="*/ 83 w 96"/>
                <a:gd name="T11" fmla="*/ 17 h 59"/>
                <a:gd name="T12" fmla="*/ 83 w 96"/>
                <a:gd name="T13" fmla="*/ 17 h 59"/>
                <a:gd name="T14" fmla="*/ 82 w 96"/>
                <a:gd name="T15" fmla="*/ 16 h 59"/>
                <a:gd name="T16" fmla="*/ 82 w 96"/>
                <a:gd name="T17" fmla="*/ 16 h 59"/>
                <a:gd name="T18" fmla="*/ 82 w 96"/>
                <a:gd name="T19" fmla="*/ 16 h 59"/>
                <a:gd name="T20" fmla="*/ 81 w 96"/>
                <a:gd name="T21" fmla="*/ 16 h 59"/>
                <a:gd name="T22" fmla="*/ 81 w 96"/>
                <a:gd name="T23" fmla="*/ 16 h 59"/>
                <a:gd name="T24" fmla="*/ 80 w 96"/>
                <a:gd name="T25" fmla="*/ 16 h 59"/>
                <a:gd name="T26" fmla="*/ 80 w 96"/>
                <a:gd name="T27" fmla="*/ 16 h 59"/>
                <a:gd name="T28" fmla="*/ 80 w 96"/>
                <a:gd name="T29" fmla="*/ 16 h 59"/>
                <a:gd name="T30" fmla="*/ 80 w 96"/>
                <a:gd name="T31" fmla="*/ 16 h 59"/>
                <a:gd name="T32" fmla="*/ 79 w 96"/>
                <a:gd name="T33" fmla="*/ 15 h 59"/>
                <a:gd name="T34" fmla="*/ 79 w 96"/>
                <a:gd name="T35" fmla="*/ 15 h 59"/>
                <a:gd name="T36" fmla="*/ 79 w 96"/>
                <a:gd name="T37" fmla="*/ 15 h 59"/>
                <a:gd name="T38" fmla="*/ 78 w 96"/>
                <a:gd name="T39" fmla="*/ 15 h 59"/>
                <a:gd name="T40" fmla="*/ 78 w 96"/>
                <a:gd name="T41" fmla="*/ 15 h 59"/>
                <a:gd name="T42" fmla="*/ 78 w 96"/>
                <a:gd name="T43" fmla="*/ 15 h 59"/>
                <a:gd name="T44" fmla="*/ 78 w 96"/>
                <a:gd name="T45" fmla="*/ 15 h 59"/>
                <a:gd name="T46" fmla="*/ 77 w 96"/>
                <a:gd name="T47" fmla="*/ 15 h 59"/>
                <a:gd name="T48" fmla="*/ 77 w 96"/>
                <a:gd name="T49" fmla="*/ 15 h 59"/>
                <a:gd name="T50" fmla="*/ 77 w 96"/>
                <a:gd name="T51" fmla="*/ 15 h 59"/>
                <a:gd name="T52" fmla="*/ 77 w 96"/>
                <a:gd name="T53" fmla="*/ 15 h 59"/>
                <a:gd name="T54" fmla="*/ 76 w 96"/>
                <a:gd name="T55" fmla="*/ 15 h 59"/>
                <a:gd name="T56" fmla="*/ 76 w 96"/>
                <a:gd name="T57" fmla="*/ 14 h 59"/>
                <a:gd name="T58" fmla="*/ 76 w 96"/>
                <a:gd name="T59" fmla="*/ 14 h 59"/>
                <a:gd name="T60" fmla="*/ 76 w 96"/>
                <a:gd name="T61" fmla="*/ 14 h 59"/>
                <a:gd name="T62" fmla="*/ 75 w 96"/>
                <a:gd name="T63" fmla="*/ 14 h 59"/>
                <a:gd name="T64" fmla="*/ 75 w 96"/>
                <a:gd name="T65" fmla="*/ 14 h 59"/>
                <a:gd name="T66" fmla="*/ 75 w 96"/>
                <a:gd name="T67" fmla="*/ 14 h 59"/>
                <a:gd name="T68" fmla="*/ 75 w 96"/>
                <a:gd name="T69" fmla="*/ 14 h 59"/>
                <a:gd name="T70" fmla="*/ 74 w 96"/>
                <a:gd name="T71" fmla="*/ 14 h 59"/>
                <a:gd name="T72" fmla="*/ 74 w 96"/>
                <a:gd name="T73" fmla="*/ 14 h 59"/>
                <a:gd name="T74" fmla="*/ 74 w 96"/>
                <a:gd name="T75" fmla="*/ 14 h 59"/>
                <a:gd name="T76" fmla="*/ 74 w 96"/>
                <a:gd name="T77" fmla="*/ 14 h 59"/>
                <a:gd name="T78" fmla="*/ 73 w 96"/>
                <a:gd name="T79" fmla="*/ 14 h 59"/>
                <a:gd name="T80" fmla="*/ 73 w 96"/>
                <a:gd name="T81" fmla="*/ 14 h 59"/>
                <a:gd name="T82" fmla="*/ 73 w 96"/>
                <a:gd name="T83" fmla="*/ 13 h 59"/>
                <a:gd name="T84" fmla="*/ 72 w 96"/>
                <a:gd name="T85" fmla="*/ 13 h 59"/>
                <a:gd name="T86" fmla="*/ 72 w 96"/>
                <a:gd name="T87" fmla="*/ 13 h 59"/>
                <a:gd name="T88" fmla="*/ 72 w 96"/>
                <a:gd name="T89" fmla="*/ 13 h 59"/>
                <a:gd name="T90" fmla="*/ 72 w 96"/>
                <a:gd name="T91" fmla="*/ 13 h 59"/>
                <a:gd name="T92" fmla="*/ 71 w 96"/>
                <a:gd name="T93" fmla="*/ 13 h 59"/>
                <a:gd name="T94" fmla="*/ 71 w 96"/>
                <a:gd name="T95" fmla="*/ 13 h 59"/>
                <a:gd name="T96" fmla="*/ 70 w 96"/>
                <a:gd name="T97" fmla="*/ 13 h 59"/>
                <a:gd name="T98" fmla="*/ 70 w 96"/>
                <a:gd name="T99" fmla="*/ 13 h 59"/>
                <a:gd name="T100" fmla="*/ 70 w 96"/>
                <a:gd name="T101" fmla="*/ 13 h 59"/>
                <a:gd name="T102" fmla="*/ 69 w 96"/>
                <a:gd name="T103" fmla="*/ 13 h 59"/>
                <a:gd name="T104" fmla="*/ 69 w 96"/>
                <a:gd name="T105" fmla="*/ 12 h 59"/>
                <a:gd name="T106" fmla="*/ 68 w 96"/>
                <a:gd name="T107" fmla="*/ 12 h 59"/>
                <a:gd name="T108" fmla="*/ 68 w 96"/>
                <a:gd name="T109" fmla="*/ 12 h 59"/>
                <a:gd name="T110" fmla="*/ 68 w 96"/>
                <a:gd name="T111" fmla="*/ 12 h 59"/>
                <a:gd name="T112" fmla="*/ 67 w 96"/>
                <a:gd name="T113" fmla="*/ 12 h 59"/>
                <a:gd name="T114" fmla="*/ 67 w 96"/>
                <a:gd name="T115" fmla="*/ 12 h 59"/>
                <a:gd name="T116" fmla="*/ 65 w 96"/>
                <a:gd name="T117" fmla="*/ 11 h 59"/>
                <a:gd name="T118" fmla="*/ 65 w 96"/>
                <a:gd name="T119" fmla="*/ 11 h 59"/>
                <a:gd name="T120" fmla="*/ 5 w 96"/>
                <a:gd name="T121" fmla="*/ 0 h 59"/>
                <a:gd name="T122" fmla="*/ 96 w 96"/>
                <a:gd name="T123" fmla="*/ 2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59">
                  <a:moveTo>
                    <a:pt x="96" y="21"/>
                  </a:moveTo>
                  <a:lnTo>
                    <a:pt x="96" y="21"/>
                  </a:lnTo>
                  <a:cubicBezTo>
                    <a:pt x="93" y="20"/>
                    <a:pt x="90" y="19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6" y="18"/>
                    <a:pt x="86" y="17"/>
                    <a:pt x="85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5" y="17"/>
                    <a:pt x="84" y="17"/>
                    <a:pt x="84" y="17"/>
                  </a:cubicBezTo>
                  <a:lnTo>
                    <a:pt x="84" y="17"/>
                  </a:lnTo>
                  <a:cubicBezTo>
                    <a:pt x="84" y="17"/>
                    <a:pt x="84" y="17"/>
                    <a:pt x="84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4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lnTo>
                    <a:pt x="79" y="15"/>
                  </a:ln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lnTo>
                    <a:pt x="72" y="13"/>
                  </a:ln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0" y="13"/>
                  </a:cubicBezTo>
                  <a:lnTo>
                    <a:pt x="70" y="13"/>
                  </a:ln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lnTo>
                    <a:pt x="70" y="13"/>
                  </a:ln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lnTo>
                    <a:pt x="69" y="12"/>
                  </a:lnTo>
                  <a:cubicBezTo>
                    <a:pt x="69" y="12"/>
                    <a:pt x="69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7" y="12"/>
                    <a:pt x="67" y="12"/>
                    <a:pt x="67" y="12"/>
                  </a:cubicBezTo>
                  <a:lnTo>
                    <a:pt x="67" y="12"/>
                  </a:lnTo>
                  <a:cubicBezTo>
                    <a:pt x="67" y="12"/>
                    <a:pt x="67" y="12"/>
                    <a:pt x="67" y="1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12"/>
                    <a:pt x="67" y="12"/>
                    <a:pt x="67" y="12"/>
                  </a:cubicBezTo>
                  <a:lnTo>
                    <a:pt x="67" y="12"/>
                  </a:lnTo>
                  <a:cubicBezTo>
                    <a:pt x="66" y="12"/>
                    <a:pt x="66" y="12"/>
                    <a:pt x="66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1"/>
                    <a:pt x="65" y="11"/>
                    <a:pt x="65" y="11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5" y="11"/>
                    <a:pt x="65" y="11"/>
                  </a:cubicBezTo>
                  <a:lnTo>
                    <a:pt x="65" y="11"/>
                  </a:lnTo>
                  <a:cubicBezTo>
                    <a:pt x="64" y="11"/>
                    <a:pt x="64" y="11"/>
                    <a:pt x="63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44" y="6"/>
                    <a:pt x="25" y="3"/>
                    <a:pt x="5" y="0"/>
                  </a:cubicBezTo>
                  <a:lnTo>
                    <a:pt x="0" y="39"/>
                  </a:lnTo>
                  <a:cubicBezTo>
                    <a:pt x="28" y="43"/>
                    <a:pt x="56" y="49"/>
                    <a:pt x="82" y="59"/>
                  </a:cubicBezTo>
                  <a:lnTo>
                    <a:pt x="96" y="21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13">
              <a:extLst>
                <a:ext uri="{FF2B5EF4-FFF2-40B4-BE49-F238E27FC236}">
                  <a16:creationId xmlns:a16="http://schemas.microsoft.com/office/drawing/2014/main" id="{7C1FDE8B-8154-50E1-9484-C512DA7DF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063" y="3632200"/>
              <a:ext cx="39688" cy="44450"/>
            </a:xfrm>
            <a:custGeom>
              <a:avLst/>
              <a:gdLst>
                <a:gd name="T0" fmla="*/ 0 w 54"/>
                <a:gd name="T1" fmla="*/ 47 h 60"/>
                <a:gd name="T2" fmla="*/ 0 w 54"/>
                <a:gd name="T3" fmla="*/ 47 h 60"/>
                <a:gd name="T4" fmla="*/ 38 w 54"/>
                <a:gd name="T5" fmla="*/ 60 h 60"/>
                <a:gd name="T6" fmla="*/ 40 w 54"/>
                <a:gd name="T7" fmla="*/ 55 h 60"/>
                <a:gd name="T8" fmla="*/ 40 w 54"/>
                <a:gd name="T9" fmla="*/ 55 h 60"/>
                <a:gd name="T10" fmla="*/ 40 w 54"/>
                <a:gd name="T11" fmla="*/ 55 h 60"/>
                <a:gd name="T12" fmla="*/ 40 w 54"/>
                <a:gd name="T13" fmla="*/ 55 h 60"/>
                <a:gd name="T14" fmla="*/ 40 w 54"/>
                <a:gd name="T15" fmla="*/ 55 h 60"/>
                <a:gd name="T16" fmla="*/ 40 w 54"/>
                <a:gd name="T17" fmla="*/ 55 h 60"/>
                <a:gd name="T18" fmla="*/ 40 w 54"/>
                <a:gd name="T19" fmla="*/ 55 h 60"/>
                <a:gd name="T20" fmla="*/ 40 w 54"/>
                <a:gd name="T21" fmla="*/ 55 h 60"/>
                <a:gd name="T22" fmla="*/ 40 w 54"/>
                <a:gd name="T23" fmla="*/ 54 h 60"/>
                <a:gd name="T24" fmla="*/ 40 w 54"/>
                <a:gd name="T25" fmla="*/ 54 h 60"/>
                <a:gd name="T26" fmla="*/ 40 w 54"/>
                <a:gd name="T27" fmla="*/ 54 h 60"/>
                <a:gd name="T28" fmla="*/ 40 w 54"/>
                <a:gd name="T29" fmla="*/ 54 h 60"/>
                <a:gd name="T30" fmla="*/ 40 w 54"/>
                <a:gd name="T31" fmla="*/ 54 h 60"/>
                <a:gd name="T32" fmla="*/ 40 w 54"/>
                <a:gd name="T33" fmla="*/ 54 h 60"/>
                <a:gd name="T34" fmla="*/ 40 w 54"/>
                <a:gd name="T35" fmla="*/ 54 h 60"/>
                <a:gd name="T36" fmla="*/ 40 w 54"/>
                <a:gd name="T37" fmla="*/ 54 h 60"/>
                <a:gd name="T38" fmla="*/ 40 w 54"/>
                <a:gd name="T39" fmla="*/ 54 h 60"/>
                <a:gd name="T40" fmla="*/ 40 w 54"/>
                <a:gd name="T41" fmla="*/ 54 h 60"/>
                <a:gd name="T42" fmla="*/ 40 w 54"/>
                <a:gd name="T43" fmla="*/ 54 h 60"/>
                <a:gd name="T44" fmla="*/ 40 w 54"/>
                <a:gd name="T45" fmla="*/ 53 h 60"/>
                <a:gd name="T46" fmla="*/ 41 w 54"/>
                <a:gd name="T47" fmla="*/ 53 h 60"/>
                <a:gd name="T48" fmla="*/ 41 w 54"/>
                <a:gd name="T49" fmla="*/ 53 h 60"/>
                <a:gd name="T50" fmla="*/ 41 w 54"/>
                <a:gd name="T51" fmla="*/ 53 h 60"/>
                <a:gd name="T52" fmla="*/ 41 w 54"/>
                <a:gd name="T53" fmla="*/ 53 h 60"/>
                <a:gd name="T54" fmla="*/ 41 w 54"/>
                <a:gd name="T55" fmla="*/ 53 h 60"/>
                <a:gd name="T56" fmla="*/ 41 w 54"/>
                <a:gd name="T57" fmla="*/ 53 h 60"/>
                <a:gd name="T58" fmla="*/ 41 w 54"/>
                <a:gd name="T59" fmla="*/ 53 h 60"/>
                <a:gd name="T60" fmla="*/ 41 w 54"/>
                <a:gd name="T61" fmla="*/ 53 h 60"/>
                <a:gd name="T62" fmla="*/ 41 w 54"/>
                <a:gd name="T63" fmla="*/ 53 h 60"/>
                <a:gd name="T64" fmla="*/ 41 w 54"/>
                <a:gd name="T65" fmla="*/ 53 h 60"/>
                <a:gd name="T66" fmla="*/ 41 w 54"/>
                <a:gd name="T67" fmla="*/ 53 h 60"/>
                <a:gd name="T68" fmla="*/ 41 w 54"/>
                <a:gd name="T69" fmla="*/ 52 h 60"/>
                <a:gd name="T70" fmla="*/ 41 w 54"/>
                <a:gd name="T71" fmla="*/ 52 h 60"/>
                <a:gd name="T72" fmla="*/ 54 w 54"/>
                <a:gd name="T73" fmla="*/ 0 h 60"/>
                <a:gd name="T74" fmla="*/ 13 w 54"/>
                <a:gd name="T75" fmla="*/ 0 h 60"/>
                <a:gd name="T76" fmla="*/ 0 w 54"/>
                <a:gd name="T77" fmla="*/ 4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4" h="60">
                  <a:moveTo>
                    <a:pt x="0" y="47"/>
                  </a:moveTo>
                  <a:lnTo>
                    <a:pt x="0" y="47"/>
                  </a:lnTo>
                  <a:lnTo>
                    <a:pt x="38" y="60"/>
                  </a:lnTo>
                  <a:cubicBezTo>
                    <a:pt x="39" y="59"/>
                    <a:pt x="39" y="57"/>
                    <a:pt x="40" y="55"/>
                  </a:cubicBezTo>
                  <a:lnTo>
                    <a:pt x="40" y="55"/>
                  </a:ln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3"/>
                  </a:cubicBezTo>
                  <a:cubicBezTo>
                    <a:pt x="40" y="53"/>
                    <a:pt x="40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6" y="35"/>
                    <a:pt x="51" y="18"/>
                    <a:pt x="54" y="0"/>
                  </a:cubicBezTo>
                  <a:lnTo>
                    <a:pt x="13" y="0"/>
                  </a:lnTo>
                  <a:cubicBezTo>
                    <a:pt x="10" y="16"/>
                    <a:pt x="6" y="32"/>
                    <a:pt x="0" y="47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14">
              <a:extLst>
                <a:ext uri="{FF2B5EF4-FFF2-40B4-BE49-F238E27FC236}">
                  <a16:creationId xmlns:a16="http://schemas.microsoft.com/office/drawing/2014/main" id="{B1922D16-364C-39BB-374E-A3F82E859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75" y="3763963"/>
              <a:ext cx="66675" cy="63500"/>
            </a:xfrm>
            <a:custGeom>
              <a:avLst/>
              <a:gdLst>
                <a:gd name="T0" fmla="*/ 23 w 93"/>
                <a:gd name="T1" fmla="*/ 89 h 89"/>
                <a:gd name="T2" fmla="*/ 23 w 93"/>
                <a:gd name="T3" fmla="*/ 88 h 89"/>
                <a:gd name="T4" fmla="*/ 23 w 93"/>
                <a:gd name="T5" fmla="*/ 88 h 89"/>
                <a:gd name="T6" fmla="*/ 24 w 93"/>
                <a:gd name="T7" fmla="*/ 88 h 89"/>
                <a:gd name="T8" fmla="*/ 24 w 93"/>
                <a:gd name="T9" fmla="*/ 88 h 89"/>
                <a:gd name="T10" fmla="*/ 24 w 93"/>
                <a:gd name="T11" fmla="*/ 88 h 89"/>
                <a:gd name="T12" fmla="*/ 24 w 93"/>
                <a:gd name="T13" fmla="*/ 87 h 89"/>
                <a:gd name="T14" fmla="*/ 25 w 93"/>
                <a:gd name="T15" fmla="*/ 87 h 89"/>
                <a:gd name="T16" fmla="*/ 25 w 93"/>
                <a:gd name="T17" fmla="*/ 87 h 89"/>
                <a:gd name="T18" fmla="*/ 25 w 93"/>
                <a:gd name="T19" fmla="*/ 87 h 89"/>
                <a:gd name="T20" fmla="*/ 26 w 93"/>
                <a:gd name="T21" fmla="*/ 86 h 89"/>
                <a:gd name="T22" fmla="*/ 26 w 93"/>
                <a:gd name="T23" fmla="*/ 86 h 89"/>
                <a:gd name="T24" fmla="*/ 26 w 93"/>
                <a:gd name="T25" fmla="*/ 86 h 89"/>
                <a:gd name="T26" fmla="*/ 26 w 93"/>
                <a:gd name="T27" fmla="*/ 86 h 89"/>
                <a:gd name="T28" fmla="*/ 27 w 93"/>
                <a:gd name="T29" fmla="*/ 86 h 89"/>
                <a:gd name="T30" fmla="*/ 27 w 93"/>
                <a:gd name="T31" fmla="*/ 85 h 89"/>
                <a:gd name="T32" fmla="*/ 27 w 93"/>
                <a:gd name="T33" fmla="*/ 85 h 89"/>
                <a:gd name="T34" fmla="*/ 28 w 93"/>
                <a:gd name="T35" fmla="*/ 85 h 89"/>
                <a:gd name="T36" fmla="*/ 28 w 93"/>
                <a:gd name="T37" fmla="*/ 85 h 89"/>
                <a:gd name="T38" fmla="*/ 28 w 93"/>
                <a:gd name="T39" fmla="*/ 85 h 89"/>
                <a:gd name="T40" fmla="*/ 29 w 93"/>
                <a:gd name="T41" fmla="*/ 84 h 89"/>
                <a:gd name="T42" fmla="*/ 29 w 93"/>
                <a:gd name="T43" fmla="*/ 84 h 89"/>
                <a:gd name="T44" fmla="*/ 29 w 93"/>
                <a:gd name="T45" fmla="*/ 84 h 89"/>
                <a:gd name="T46" fmla="*/ 29 w 93"/>
                <a:gd name="T47" fmla="*/ 84 h 89"/>
                <a:gd name="T48" fmla="*/ 30 w 93"/>
                <a:gd name="T49" fmla="*/ 83 h 89"/>
                <a:gd name="T50" fmla="*/ 30 w 93"/>
                <a:gd name="T51" fmla="*/ 83 h 89"/>
                <a:gd name="T52" fmla="*/ 30 w 93"/>
                <a:gd name="T53" fmla="*/ 83 h 89"/>
                <a:gd name="T54" fmla="*/ 31 w 93"/>
                <a:gd name="T55" fmla="*/ 83 h 89"/>
                <a:gd name="T56" fmla="*/ 31 w 93"/>
                <a:gd name="T57" fmla="*/ 83 h 89"/>
                <a:gd name="T58" fmla="*/ 31 w 93"/>
                <a:gd name="T59" fmla="*/ 82 h 89"/>
                <a:gd name="T60" fmla="*/ 31 w 93"/>
                <a:gd name="T61" fmla="*/ 82 h 89"/>
                <a:gd name="T62" fmla="*/ 32 w 93"/>
                <a:gd name="T63" fmla="*/ 82 h 89"/>
                <a:gd name="T64" fmla="*/ 32 w 93"/>
                <a:gd name="T65" fmla="*/ 82 h 89"/>
                <a:gd name="T66" fmla="*/ 32 w 93"/>
                <a:gd name="T67" fmla="*/ 82 h 89"/>
                <a:gd name="T68" fmla="*/ 33 w 93"/>
                <a:gd name="T69" fmla="*/ 81 h 89"/>
                <a:gd name="T70" fmla="*/ 33 w 93"/>
                <a:gd name="T71" fmla="*/ 81 h 89"/>
                <a:gd name="T72" fmla="*/ 33 w 93"/>
                <a:gd name="T73" fmla="*/ 81 h 89"/>
                <a:gd name="T74" fmla="*/ 34 w 93"/>
                <a:gd name="T75" fmla="*/ 80 h 89"/>
                <a:gd name="T76" fmla="*/ 34 w 93"/>
                <a:gd name="T77" fmla="*/ 80 h 89"/>
                <a:gd name="T78" fmla="*/ 35 w 93"/>
                <a:gd name="T79" fmla="*/ 80 h 89"/>
                <a:gd name="T80" fmla="*/ 35 w 93"/>
                <a:gd name="T81" fmla="*/ 80 h 89"/>
                <a:gd name="T82" fmla="*/ 35 w 93"/>
                <a:gd name="T83" fmla="*/ 79 h 89"/>
                <a:gd name="T84" fmla="*/ 36 w 93"/>
                <a:gd name="T85" fmla="*/ 79 h 89"/>
                <a:gd name="T86" fmla="*/ 36 w 93"/>
                <a:gd name="T87" fmla="*/ 79 h 89"/>
                <a:gd name="T88" fmla="*/ 37 w 93"/>
                <a:gd name="T89" fmla="*/ 78 h 89"/>
                <a:gd name="T90" fmla="*/ 37 w 93"/>
                <a:gd name="T91" fmla="*/ 78 h 89"/>
                <a:gd name="T92" fmla="*/ 38 w 93"/>
                <a:gd name="T93" fmla="*/ 78 h 89"/>
                <a:gd name="T94" fmla="*/ 38 w 93"/>
                <a:gd name="T95" fmla="*/ 77 h 89"/>
                <a:gd name="T96" fmla="*/ 39 w 93"/>
                <a:gd name="T97" fmla="*/ 77 h 89"/>
                <a:gd name="T98" fmla="*/ 40 w 93"/>
                <a:gd name="T99" fmla="*/ 75 h 89"/>
                <a:gd name="T100" fmla="*/ 41 w 93"/>
                <a:gd name="T101" fmla="*/ 7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3" h="89">
                  <a:moveTo>
                    <a:pt x="0" y="56"/>
                  </a:moveTo>
                  <a:lnTo>
                    <a:pt x="0" y="56"/>
                  </a:lnTo>
                  <a:lnTo>
                    <a:pt x="23" y="89"/>
                  </a:ln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7"/>
                    <a:pt x="24" y="87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4" y="87"/>
                    <a:pt x="24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6" y="87"/>
                    <a:pt x="26" y="87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4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30" y="84"/>
                    <a:pt x="30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2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lnTo>
                    <a:pt x="33" y="81"/>
                  </a:ln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4" y="81"/>
                  </a:cubicBezTo>
                  <a:lnTo>
                    <a:pt x="34" y="81"/>
                  </a:lnTo>
                  <a:cubicBezTo>
                    <a:pt x="34" y="81"/>
                    <a:pt x="34" y="80"/>
                    <a:pt x="34" y="80"/>
                  </a:cubicBezTo>
                  <a:lnTo>
                    <a:pt x="34" y="80"/>
                  </a:lnTo>
                  <a:cubicBezTo>
                    <a:pt x="34" y="80"/>
                    <a:pt x="34" y="80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lnTo>
                    <a:pt x="35" y="80"/>
                  </a:ln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79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5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8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lnTo>
                    <a:pt x="37" y="78"/>
                  </a:lnTo>
                  <a:cubicBezTo>
                    <a:pt x="37" y="78"/>
                    <a:pt x="37" y="78"/>
                    <a:pt x="37" y="78"/>
                  </a:cubicBezTo>
                  <a:lnTo>
                    <a:pt x="37" y="78"/>
                  </a:ln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8" y="77"/>
                    <a:pt x="38" y="77"/>
                    <a:pt x="38" y="77"/>
                  </a:cubicBezTo>
                  <a:lnTo>
                    <a:pt x="38" y="77"/>
                  </a:lnTo>
                  <a:cubicBezTo>
                    <a:pt x="39" y="77"/>
                    <a:pt x="39" y="77"/>
                    <a:pt x="39" y="77"/>
                  </a:cubicBezTo>
                  <a:cubicBezTo>
                    <a:pt x="39" y="77"/>
                    <a:pt x="39" y="77"/>
                    <a:pt x="39" y="77"/>
                  </a:cubicBezTo>
                  <a:cubicBezTo>
                    <a:pt x="39" y="77"/>
                    <a:pt x="39" y="77"/>
                    <a:pt x="39" y="77"/>
                  </a:cubicBezTo>
                  <a:cubicBezTo>
                    <a:pt x="39" y="77"/>
                    <a:pt x="39" y="76"/>
                    <a:pt x="39" y="76"/>
                  </a:cubicBezTo>
                  <a:cubicBezTo>
                    <a:pt x="39" y="76"/>
                    <a:pt x="40" y="76"/>
                    <a:pt x="40" y="76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40" y="76"/>
                    <a:pt x="40" y="76"/>
                    <a:pt x="40" y="75"/>
                  </a:cubicBezTo>
                  <a:lnTo>
                    <a:pt x="40" y="75"/>
                  </a:lnTo>
                  <a:cubicBezTo>
                    <a:pt x="40" y="75"/>
                    <a:pt x="40" y="75"/>
                    <a:pt x="40" y="75"/>
                  </a:cubicBezTo>
                  <a:lnTo>
                    <a:pt x="41" y="75"/>
                  </a:lnTo>
                  <a:cubicBezTo>
                    <a:pt x="41" y="75"/>
                    <a:pt x="41" y="75"/>
                    <a:pt x="41" y="75"/>
                  </a:cubicBezTo>
                  <a:cubicBezTo>
                    <a:pt x="60" y="60"/>
                    <a:pt x="77" y="44"/>
                    <a:pt x="93" y="27"/>
                  </a:cubicBezTo>
                  <a:lnTo>
                    <a:pt x="63" y="0"/>
                  </a:lnTo>
                  <a:cubicBezTo>
                    <a:pt x="44" y="21"/>
                    <a:pt x="23" y="39"/>
                    <a:pt x="0" y="56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15">
              <a:extLst>
                <a:ext uri="{FF2B5EF4-FFF2-40B4-BE49-F238E27FC236}">
                  <a16:creationId xmlns:a16="http://schemas.microsoft.com/office/drawing/2014/main" id="{5B2E1A0C-8B44-6083-7F18-9F2C81D41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8" y="3659188"/>
              <a:ext cx="50800" cy="69850"/>
            </a:xfrm>
            <a:custGeom>
              <a:avLst/>
              <a:gdLst>
                <a:gd name="T0" fmla="*/ 38 w 72"/>
                <a:gd name="T1" fmla="*/ 0 h 97"/>
                <a:gd name="T2" fmla="*/ 22 w 72"/>
                <a:gd name="T3" fmla="*/ 69 h 97"/>
                <a:gd name="T4" fmla="*/ 22 w 72"/>
                <a:gd name="T5" fmla="*/ 69 h 97"/>
                <a:gd name="T6" fmla="*/ 23 w 72"/>
                <a:gd name="T7" fmla="*/ 69 h 97"/>
                <a:gd name="T8" fmla="*/ 23 w 72"/>
                <a:gd name="T9" fmla="*/ 70 h 97"/>
                <a:gd name="T10" fmla="*/ 23 w 72"/>
                <a:gd name="T11" fmla="*/ 70 h 97"/>
                <a:gd name="T12" fmla="*/ 23 w 72"/>
                <a:gd name="T13" fmla="*/ 70 h 97"/>
                <a:gd name="T14" fmla="*/ 23 w 72"/>
                <a:gd name="T15" fmla="*/ 70 h 97"/>
                <a:gd name="T16" fmla="*/ 23 w 72"/>
                <a:gd name="T17" fmla="*/ 70 h 97"/>
                <a:gd name="T18" fmla="*/ 23 w 72"/>
                <a:gd name="T19" fmla="*/ 70 h 97"/>
                <a:gd name="T20" fmla="*/ 24 w 72"/>
                <a:gd name="T21" fmla="*/ 71 h 97"/>
                <a:gd name="T22" fmla="*/ 24 w 72"/>
                <a:gd name="T23" fmla="*/ 71 h 97"/>
                <a:gd name="T24" fmla="*/ 24 w 72"/>
                <a:gd name="T25" fmla="*/ 71 h 97"/>
                <a:gd name="T26" fmla="*/ 24 w 72"/>
                <a:gd name="T27" fmla="*/ 71 h 97"/>
                <a:gd name="T28" fmla="*/ 24 w 72"/>
                <a:gd name="T29" fmla="*/ 71 h 97"/>
                <a:gd name="T30" fmla="*/ 24 w 72"/>
                <a:gd name="T31" fmla="*/ 72 h 97"/>
                <a:gd name="T32" fmla="*/ 24 w 72"/>
                <a:gd name="T33" fmla="*/ 72 h 97"/>
                <a:gd name="T34" fmla="*/ 24 w 72"/>
                <a:gd name="T35" fmla="*/ 72 h 97"/>
                <a:gd name="T36" fmla="*/ 24 w 72"/>
                <a:gd name="T37" fmla="*/ 72 h 97"/>
                <a:gd name="T38" fmla="*/ 24 w 72"/>
                <a:gd name="T39" fmla="*/ 72 h 97"/>
                <a:gd name="T40" fmla="*/ 24 w 72"/>
                <a:gd name="T41" fmla="*/ 72 h 97"/>
                <a:gd name="T42" fmla="*/ 24 w 72"/>
                <a:gd name="T43" fmla="*/ 73 h 97"/>
                <a:gd name="T44" fmla="*/ 25 w 72"/>
                <a:gd name="T45" fmla="*/ 73 h 97"/>
                <a:gd name="T46" fmla="*/ 25 w 72"/>
                <a:gd name="T47" fmla="*/ 73 h 97"/>
                <a:gd name="T48" fmla="*/ 25 w 72"/>
                <a:gd name="T49" fmla="*/ 74 h 97"/>
                <a:gd name="T50" fmla="*/ 25 w 72"/>
                <a:gd name="T51" fmla="*/ 74 h 97"/>
                <a:gd name="T52" fmla="*/ 25 w 72"/>
                <a:gd name="T53" fmla="*/ 74 h 97"/>
                <a:gd name="T54" fmla="*/ 25 w 72"/>
                <a:gd name="T55" fmla="*/ 74 h 97"/>
                <a:gd name="T56" fmla="*/ 25 w 72"/>
                <a:gd name="T57" fmla="*/ 74 h 97"/>
                <a:gd name="T58" fmla="*/ 26 w 72"/>
                <a:gd name="T59" fmla="*/ 75 h 97"/>
                <a:gd name="T60" fmla="*/ 38 w 72"/>
                <a:gd name="T61" fmla="*/ 97 h 97"/>
                <a:gd name="T62" fmla="*/ 38 w 72"/>
                <a:gd name="T6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97">
                  <a:moveTo>
                    <a:pt x="38" y="0"/>
                  </a:moveTo>
                  <a:lnTo>
                    <a:pt x="38" y="0"/>
                  </a:lnTo>
                  <a:lnTo>
                    <a:pt x="0" y="12"/>
                  </a:lnTo>
                  <a:cubicBezTo>
                    <a:pt x="6" y="31"/>
                    <a:pt x="14" y="50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lnTo>
                    <a:pt x="25" y="73"/>
                  </a:lnTo>
                  <a:cubicBezTo>
                    <a:pt x="25" y="73"/>
                    <a:pt x="25" y="73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lnTo>
                    <a:pt x="25" y="74"/>
                  </a:lnTo>
                  <a:cubicBezTo>
                    <a:pt x="25" y="74"/>
                    <a:pt x="25" y="74"/>
                    <a:pt x="25" y="74"/>
                  </a:cubicBezTo>
                  <a:lnTo>
                    <a:pt x="25" y="74"/>
                  </a:lnTo>
                  <a:cubicBezTo>
                    <a:pt x="25" y="74"/>
                    <a:pt x="25" y="74"/>
                    <a:pt x="25" y="74"/>
                  </a:cubicBezTo>
                  <a:cubicBezTo>
                    <a:pt x="25" y="75"/>
                    <a:pt x="25" y="75"/>
                    <a:pt x="26" y="75"/>
                  </a:cubicBezTo>
                  <a:lnTo>
                    <a:pt x="26" y="75"/>
                  </a:lnTo>
                  <a:cubicBezTo>
                    <a:pt x="26" y="75"/>
                    <a:pt x="26" y="75"/>
                    <a:pt x="26" y="75"/>
                  </a:cubicBezTo>
                  <a:cubicBezTo>
                    <a:pt x="29" y="83"/>
                    <a:pt x="33" y="90"/>
                    <a:pt x="38" y="97"/>
                  </a:cubicBezTo>
                  <a:lnTo>
                    <a:pt x="72" y="77"/>
                  </a:lnTo>
                  <a:cubicBezTo>
                    <a:pt x="58" y="53"/>
                    <a:pt x="47" y="27"/>
                    <a:pt x="38" y="0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E91238EA-DDCA-0E93-414F-E38695A35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088" y="3817938"/>
              <a:ext cx="69850" cy="52388"/>
            </a:xfrm>
            <a:custGeom>
              <a:avLst/>
              <a:gdLst>
                <a:gd name="T0" fmla="*/ 0 w 98"/>
                <a:gd name="T1" fmla="*/ 33 h 72"/>
                <a:gd name="T2" fmla="*/ 41 w 98"/>
                <a:gd name="T3" fmla="*/ 62 h 72"/>
                <a:gd name="T4" fmla="*/ 42 w 98"/>
                <a:gd name="T5" fmla="*/ 62 h 72"/>
                <a:gd name="T6" fmla="*/ 42 w 98"/>
                <a:gd name="T7" fmla="*/ 62 h 72"/>
                <a:gd name="T8" fmla="*/ 42 w 98"/>
                <a:gd name="T9" fmla="*/ 61 h 72"/>
                <a:gd name="T10" fmla="*/ 42 w 98"/>
                <a:gd name="T11" fmla="*/ 61 h 72"/>
                <a:gd name="T12" fmla="*/ 43 w 98"/>
                <a:gd name="T13" fmla="*/ 61 h 72"/>
                <a:gd name="T14" fmla="*/ 43 w 98"/>
                <a:gd name="T15" fmla="*/ 61 h 72"/>
                <a:gd name="T16" fmla="*/ 44 w 98"/>
                <a:gd name="T17" fmla="*/ 61 h 72"/>
                <a:gd name="T18" fmla="*/ 44 w 98"/>
                <a:gd name="T19" fmla="*/ 61 h 72"/>
                <a:gd name="T20" fmla="*/ 44 w 98"/>
                <a:gd name="T21" fmla="*/ 61 h 72"/>
                <a:gd name="T22" fmla="*/ 44 w 98"/>
                <a:gd name="T23" fmla="*/ 61 h 72"/>
                <a:gd name="T24" fmla="*/ 45 w 98"/>
                <a:gd name="T25" fmla="*/ 61 h 72"/>
                <a:gd name="T26" fmla="*/ 45 w 98"/>
                <a:gd name="T27" fmla="*/ 60 h 72"/>
                <a:gd name="T28" fmla="*/ 45 w 98"/>
                <a:gd name="T29" fmla="*/ 60 h 72"/>
                <a:gd name="T30" fmla="*/ 45 w 98"/>
                <a:gd name="T31" fmla="*/ 60 h 72"/>
                <a:gd name="T32" fmla="*/ 45 w 98"/>
                <a:gd name="T33" fmla="*/ 60 h 72"/>
                <a:gd name="T34" fmla="*/ 45 w 98"/>
                <a:gd name="T35" fmla="*/ 60 h 72"/>
                <a:gd name="T36" fmla="*/ 46 w 98"/>
                <a:gd name="T37" fmla="*/ 60 h 72"/>
                <a:gd name="T38" fmla="*/ 46 w 98"/>
                <a:gd name="T39" fmla="*/ 60 h 72"/>
                <a:gd name="T40" fmla="*/ 46 w 98"/>
                <a:gd name="T41" fmla="*/ 60 h 72"/>
                <a:gd name="T42" fmla="*/ 46 w 98"/>
                <a:gd name="T43" fmla="*/ 60 h 72"/>
                <a:gd name="T44" fmla="*/ 46 w 98"/>
                <a:gd name="T45" fmla="*/ 60 h 72"/>
                <a:gd name="T46" fmla="*/ 46 w 98"/>
                <a:gd name="T47" fmla="*/ 60 h 72"/>
                <a:gd name="T48" fmla="*/ 47 w 98"/>
                <a:gd name="T49" fmla="*/ 60 h 72"/>
                <a:gd name="T50" fmla="*/ 47 w 98"/>
                <a:gd name="T51" fmla="*/ 60 h 72"/>
                <a:gd name="T52" fmla="*/ 47 w 98"/>
                <a:gd name="T53" fmla="*/ 60 h 72"/>
                <a:gd name="T54" fmla="*/ 47 w 98"/>
                <a:gd name="T55" fmla="*/ 59 h 72"/>
                <a:gd name="T56" fmla="*/ 47 w 98"/>
                <a:gd name="T57" fmla="*/ 59 h 72"/>
                <a:gd name="T58" fmla="*/ 47 w 98"/>
                <a:gd name="T59" fmla="*/ 59 h 72"/>
                <a:gd name="T60" fmla="*/ 48 w 98"/>
                <a:gd name="T61" fmla="*/ 59 h 72"/>
                <a:gd name="T62" fmla="*/ 48 w 98"/>
                <a:gd name="T63" fmla="*/ 59 h 72"/>
                <a:gd name="T64" fmla="*/ 48 w 98"/>
                <a:gd name="T65" fmla="*/ 59 h 72"/>
                <a:gd name="T66" fmla="*/ 48 w 98"/>
                <a:gd name="T67" fmla="*/ 59 h 72"/>
                <a:gd name="T68" fmla="*/ 49 w 98"/>
                <a:gd name="T69" fmla="*/ 59 h 72"/>
                <a:gd name="T70" fmla="*/ 49 w 98"/>
                <a:gd name="T71" fmla="*/ 59 h 72"/>
                <a:gd name="T72" fmla="*/ 49 w 98"/>
                <a:gd name="T73" fmla="*/ 59 h 72"/>
                <a:gd name="T74" fmla="*/ 49 w 98"/>
                <a:gd name="T75" fmla="*/ 59 h 72"/>
                <a:gd name="T76" fmla="*/ 49 w 98"/>
                <a:gd name="T77" fmla="*/ 59 h 72"/>
                <a:gd name="T78" fmla="*/ 49 w 98"/>
                <a:gd name="T79" fmla="*/ 59 h 72"/>
                <a:gd name="T80" fmla="*/ 50 w 98"/>
                <a:gd name="T81" fmla="*/ 58 h 72"/>
                <a:gd name="T82" fmla="*/ 50 w 98"/>
                <a:gd name="T83" fmla="*/ 58 h 72"/>
                <a:gd name="T84" fmla="*/ 50 w 98"/>
                <a:gd name="T85" fmla="*/ 58 h 72"/>
                <a:gd name="T86" fmla="*/ 50 w 98"/>
                <a:gd name="T87" fmla="*/ 58 h 72"/>
                <a:gd name="T88" fmla="*/ 50 w 98"/>
                <a:gd name="T89" fmla="*/ 58 h 72"/>
                <a:gd name="T90" fmla="*/ 51 w 98"/>
                <a:gd name="T91" fmla="*/ 58 h 72"/>
                <a:gd name="T92" fmla="*/ 51 w 98"/>
                <a:gd name="T93" fmla="*/ 58 h 72"/>
                <a:gd name="T94" fmla="*/ 52 w 98"/>
                <a:gd name="T95" fmla="*/ 58 h 72"/>
                <a:gd name="T96" fmla="*/ 52 w 98"/>
                <a:gd name="T97" fmla="*/ 58 h 72"/>
                <a:gd name="T98" fmla="*/ 52 w 98"/>
                <a:gd name="T99" fmla="*/ 58 h 72"/>
                <a:gd name="T100" fmla="*/ 53 w 98"/>
                <a:gd name="T101" fmla="*/ 57 h 72"/>
                <a:gd name="T102" fmla="*/ 53 w 98"/>
                <a:gd name="T103" fmla="*/ 57 h 72"/>
                <a:gd name="T104" fmla="*/ 53 w 98"/>
                <a:gd name="T105" fmla="*/ 57 h 72"/>
                <a:gd name="T106" fmla="*/ 98 w 98"/>
                <a:gd name="T107" fmla="*/ 35 h 72"/>
                <a:gd name="T108" fmla="*/ 0 w 98"/>
                <a:gd name="T109" fmla="*/ 3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8" h="72">
                  <a:moveTo>
                    <a:pt x="0" y="33"/>
                  </a:moveTo>
                  <a:lnTo>
                    <a:pt x="0" y="33"/>
                  </a:lnTo>
                  <a:lnTo>
                    <a:pt x="12" y="72"/>
                  </a:lnTo>
                  <a:cubicBezTo>
                    <a:pt x="22" y="69"/>
                    <a:pt x="31" y="66"/>
                    <a:pt x="41" y="62"/>
                  </a:cubicBezTo>
                  <a:cubicBezTo>
                    <a:pt x="41" y="62"/>
                    <a:pt x="41" y="62"/>
                    <a:pt x="42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62"/>
                    <a:pt x="42" y="62"/>
                    <a:pt x="42" y="62"/>
                  </a:cubicBezTo>
                  <a:lnTo>
                    <a:pt x="42" y="62"/>
                  </a:lnTo>
                  <a:cubicBezTo>
                    <a:pt x="42" y="62"/>
                    <a:pt x="42" y="61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lnTo>
                    <a:pt x="42" y="61"/>
                  </a:ln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lnTo>
                    <a:pt x="43" y="61"/>
                  </a:lnTo>
                  <a:cubicBezTo>
                    <a:pt x="43" y="61"/>
                    <a:pt x="43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lnTo>
                    <a:pt x="44" y="61"/>
                  </a:lnTo>
                  <a:cubicBezTo>
                    <a:pt x="44" y="61"/>
                    <a:pt x="44" y="61"/>
                    <a:pt x="44" y="61"/>
                  </a:cubicBezTo>
                  <a:lnTo>
                    <a:pt x="44" y="61"/>
                  </a:ln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9" y="59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50" y="59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69" y="50"/>
                    <a:pt x="83" y="43"/>
                    <a:pt x="98" y="35"/>
                  </a:cubicBezTo>
                  <a:lnTo>
                    <a:pt x="78" y="0"/>
                  </a:lnTo>
                  <a:cubicBezTo>
                    <a:pt x="53" y="14"/>
                    <a:pt x="27" y="25"/>
                    <a:pt x="0" y="3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CDA033E2-583B-6214-F32C-6D9CA5A65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3788" y="3690938"/>
              <a:ext cx="58738" cy="69850"/>
            </a:xfrm>
            <a:custGeom>
              <a:avLst/>
              <a:gdLst>
                <a:gd name="T0" fmla="*/ 0 w 80"/>
                <a:gd name="T1" fmla="*/ 72 h 96"/>
                <a:gd name="T2" fmla="*/ 0 w 80"/>
                <a:gd name="T3" fmla="*/ 72 h 96"/>
                <a:gd name="T4" fmla="*/ 32 w 80"/>
                <a:gd name="T5" fmla="*/ 96 h 96"/>
                <a:gd name="T6" fmla="*/ 65 w 80"/>
                <a:gd name="T7" fmla="*/ 47 h 96"/>
                <a:gd name="T8" fmla="*/ 65 w 80"/>
                <a:gd name="T9" fmla="*/ 47 h 96"/>
                <a:gd name="T10" fmla="*/ 65 w 80"/>
                <a:gd name="T11" fmla="*/ 47 h 96"/>
                <a:gd name="T12" fmla="*/ 65 w 80"/>
                <a:gd name="T13" fmla="*/ 47 h 96"/>
                <a:gd name="T14" fmla="*/ 65 w 80"/>
                <a:gd name="T15" fmla="*/ 46 h 96"/>
                <a:gd name="T16" fmla="*/ 65 w 80"/>
                <a:gd name="T17" fmla="*/ 46 h 96"/>
                <a:gd name="T18" fmla="*/ 65 w 80"/>
                <a:gd name="T19" fmla="*/ 46 h 96"/>
                <a:gd name="T20" fmla="*/ 65 w 80"/>
                <a:gd name="T21" fmla="*/ 46 h 96"/>
                <a:gd name="T22" fmla="*/ 65 w 80"/>
                <a:gd name="T23" fmla="*/ 46 h 96"/>
                <a:gd name="T24" fmla="*/ 65 w 80"/>
                <a:gd name="T25" fmla="*/ 46 h 96"/>
                <a:gd name="T26" fmla="*/ 65 w 80"/>
                <a:gd name="T27" fmla="*/ 46 h 96"/>
                <a:gd name="T28" fmla="*/ 65 w 80"/>
                <a:gd name="T29" fmla="*/ 46 h 96"/>
                <a:gd name="T30" fmla="*/ 66 w 80"/>
                <a:gd name="T31" fmla="*/ 45 h 96"/>
                <a:gd name="T32" fmla="*/ 66 w 80"/>
                <a:gd name="T33" fmla="*/ 45 h 96"/>
                <a:gd name="T34" fmla="*/ 66 w 80"/>
                <a:gd name="T35" fmla="*/ 45 h 96"/>
                <a:gd name="T36" fmla="*/ 66 w 80"/>
                <a:gd name="T37" fmla="*/ 45 h 96"/>
                <a:gd name="T38" fmla="*/ 66 w 80"/>
                <a:gd name="T39" fmla="*/ 45 h 96"/>
                <a:gd name="T40" fmla="*/ 66 w 80"/>
                <a:gd name="T41" fmla="*/ 45 h 96"/>
                <a:gd name="T42" fmla="*/ 66 w 80"/>
                <a:gd name="T43" fmla="*/ 45 h 96"/>
                <a:gd name="T44" fmla="*/ 66 w 80"/>
                <a:gd name="T45" fmla="*/ 45 h 96"/>
                <a:gd name="T46" fmla="*/ 66 w 80"/>
                <a:gd name="T47" fmla="*/ 45 h 96"/>
                <a:gd name="T48" fmla="*/ 66 w 80"/>
                <a:gd name="T49" fmla="*/ 45 h 96"/>
                <a:gd name="T50" fmla="*/ 66 w 80"/>
                <a:gd name="T51" fmla="*/ 45 h 96"/>
                <a:gd name="T52" fmla="*/ 66 w 80"/>
                <a:gd name="T53" fmla="*/ 45 h 96"/>
                <a:gd name="T54" fmla="*/ 66 w 80"/>
                <a:gd name="T55" fmla="*/ 45 h 96"/>
                <a:gd name="T56" fmla="*/ 66 w 80"/>
                <a:gd name="T57" fmla="*/ 44 h 96"/>
                <a:gd name="T58" fmla="*/ 66 w 80"/>
                <a:gd name="T59" fmla="*/ 44 h 96"/>
                <a:gd name="T60" fmla="*/ 66 w 80"/>
                <a:gd name="T61" fmla="*/ 44 h 96"/>
                <a:gd name="T62" fmla="*/ 66 w 80"/>
                <a:gd name="T63" fmla="*/ 44 h 96"/>
                <a:gd name="T64" fmla="*/ 66 w 80"/>
                <a:gd name="T65" fmla="*/ 44 h 96"/>
                <a:gd name="T66" fmla="*/ 66 w 80"/>
                <a:gd name="T67" fmla="*/ 44 h 96"/>
                <a:gd name="T68" fmla="*/ 66 w 80"/>
                <a:gd name="T69" fmla="*/ 44 h 96"/>
                <a:gd name="T70" fmla="*/ 66 w 80"/>
                <a:gd name="T71" fmla="*/ 44 h 96"/>
                <a:gd name="T72" fmla="*/ 66 w 80"/>
                <a:gd name="T73" fmla="*/ 44 h 96"/>
                <a:gd name="T74" fmla="*/ 66 w 80"/>
                <a:gd name="T75" fmla="*/ 44 h 96"/>
                <a:gd name="T76" fmla="*/ 67 w 80"/>
                <a:gd name="T77" fmla="*/ 44 h 96"/>
                <a:gd name="T78" fmla="*/ 67 w 80"/>
                <a:gd name="T79" fmla="*/ 44 h 96"/>
                <a:gd name="T80" fmla="*/ 67 w 80"/>
                <a:gd name="T81" fmla="*/ 43 h 96"/>
                <a:gd name="T82" fmla="*/ 67 w 80"/>
                <a:gd name="T83" fmla="*/ 43 h 96"/>
                <a:gd name="T84" fmla="*/ 67 w 80"/>
                <a:gd name="T85" fmla="*/ 43 h 96"/>
                <a:gd name="T86" fmla="*/ 67 w 80"/>
                <a:gd name="T87" fmla="*/ 43 h 96"/>
                <a:gd name="T88" fmla="*/ 67 w 80"/>
                <a:gd name="T89" fmla="*/ 43 h 96"/>
                <a:gd name="T90" fmla="*/ 67 w 80"/>
                <a:gd name="T91" fmla="*/ 43 h 96"/>
                <a:gd name="T92" fmla="*/ 67 w 80"/>
                <a:gd name="T93" fmla="*/ 43 h 96"/>
                <a:gd name="T94" fmla="*/ 67 w 80"/>
                <a:gd name="T95" fmla="*/ 43 h 96"/>
                <a:gd name="T96" fmla="*/ 67 w 80"/>
                <a:gd name="T97" fmla="*/ 43 h 96"/>
                <a:gd name="T98" fmla="*/ 67 w 80"/>
                <a:gd name="T99" fmla="*/ 43 h 96"/>
                <a:gd name="T100" fmla="*/ 67 w 80"/>
                <a:gd name="T101" fmla="*/ 42 h 96"/>
                <a:gd name="T102" fmla="*/ 68 w 80"/>
                <a:gd name="T103" fmla="*/ 42 h 96"/>
                <a:gd name="T104" fmla="*/ 68 w 80"/>
                <a:gd name="T105" fmla="*/ 42 h 96"/>
                <a:gd name="T106" fmla="*/ 68 w 80"/>
                <a:gd name="T107" fmla="*/ 42 h 96"/>
                <a:gd name="T108" fmla="*/ 68 w 80"/>
                <a:gd name="T109" fmla="*/ 42 h 96"/>
                <a:gd name="T110" fmla="*/ 68 w 80"/>
                <a:gd name="T111" fmla="*/ 42 h 96"/>
                <a:gd name="T112" fmla="*/ 80 w 80"/>
                <a:gd name="T113" fmla="*/ 16 h 96"/>
                <a:gd name="T114" fmla="*/ 44 w 80"/>
                <a:gd name="T115" fmla="*/ 0 h 96"/>
                <a:gd name="T116" fmla="*/ 0 w 80"/>
                <a:gd name="T117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0" h="96">
                  <a:moveTo>
                    <a:pt x="0" y="72"/>
                  </a:moveTo>
                  <a:lnTo>
                    <a:pt x="0" y="72"/>
                  </a:lnTo>
                  <a:lnTo>
                    <a:pt x="32" y="96"/>
                  </a:lnTo>
                  <a:cubicBezTo>
                    <a:pt x="44" y="81"/>
                    <a:pt x="55" y="64"/>
                    <a:pt x="65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7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6" y="46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7" y="44"/>
                    <a:pt x="67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4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72" y="33"/>
                    <a:pt x="76" y="25"/>
                    <a:pt x="80" y="16"/>
                  </a:cubicBezTo>
                  <a:lnTo>
                    <a:pt x="44" y="0"/>
                  </a:lnTo>
                  <a:cubicBezTo>
                    <a:pt x="32" y="25"/>
                    <a:pt x="17" y="50"/>
                    <a:pt x="0" y="72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18">
              <a:extLst>
                <a:ext uri="{FF2B5EF4-FFF2-40B4-BE49-F238E27FC236}">
                  <a16:creationId xmlns:a16="http://schemas.microsoft.com/office/drawing/2014/main" id="{715AD061-CEB8-CACA-F632-D38DD17D6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" y="3798888"/>
              <a:ext cx="69850" cy="57150"/>
            </a:xfrm>
            <a:custGeom>
              <a:avLst/>
              <a:gdLst>
                <a:gd name="T0" fmla="*/ 24 w 97"/>
                <a:gd name="T1" fmla="*/ 49 h 79"/>
                <a:gd name="T2" fmla="*/ 26 w 97"/>
                <a:gd name="T3" fmla="*/ 50 h 79"/>
                <a:gd name="T4" fmla="*/ 27 w 97"/>
                <a:gd name="T5" fmla="*/ 51 h 79"/>
                <a:gd name="T6" fmla="*/ 28 w 97"/>
                <a:gd name="T7" fmla="*/ 51 h 79"/>
                <a:gd name="T8" fmla="*/ 28 w 97"/>
                <a:gd name="T9" fmla="*/ 51 h 79"/>
                <a:gd name="T10" fmla="*/ 28 w 97"/>
                <a:gd name="T11" fmla="*/ 51 h 79"/>
                <a:gd name="T12" fmla="*/ 28 w 97"/>
                <a:gd name="T13" fmla="*/ 51 h 79"/>
                <a:gd name="T14" fmla="*/ 29 w 97"/>
                <a:gd name="T15" fmla="*/ 51 h 79"/>
                <a:gd name="T16" fmla="*/ 29 w 97"/>
                <a:gd name="T17" fmla="*/ 52 h 79"/>
                <a:gd name="T18" fmla="*/ 29 w 97"/>
                <a:gd name="T19" fmla="*/ 52 h 79"/>
                <a:gd name="T20" fmla="*/ 30 w 97"/>
                <a:gd name="T21" fmla="*/ 52 h 79"/>
                <a:gd name="T22" fmla="*/ 30 w 97"/>
                <a:gd name="T23" fmla="*/ 52 h 79"/>
                <a:gd name="T24" fmla="*/ 30 w 97"/>
                <a:gd name="T25" fmla="*/ 52 h 79"/>
                <a:gd name="T26" fmla="*/ 30 w 97"/>
                <a:gd name="T27" fmla="*/ 52 h 79"/>
                <a:gd name="T28" fmla="*/ 30 w 97"/>
                <a:gd name="T29" fmla="*/ 53 h 79"/>
                <a:gd name="T30" fmla="*/ 31 w 97"/>
                <a:gd name="T31" fmla="*/ 53 h 79"/>
                <a:gd name="T32" fmla="*/ 31 w 97"/>
                <a:gd name="T33" fmla="*/ 53 h 79"/>
                <a:gd name="T34" fmla="*/ 31 w 97"/>
                <a:gd name="T35" fmla="*/ 53 h 79"/>
                <a:gd name="T36" fmla="*/ 31 w 97"/>
                <a:gd name="T37" fmla="*/ 53 h 79"/>
                <a:gd name="T38" fmla="*/ 32 w 97"/>
                <a:gd name="T39" fmla="*/ 53 h 79"/>
                <a:gd name="T40" fmla="*/ 32 w 97"/>
                <a:gd name="T41" fmla="*/ 53 h 79"/>
                <a:gd name="T42" fmla="*/ 32 w 97"/>
                <a:gd name="T43" fmla="*/ 54 h 79"/>
                <a:gd name="T44" fmla="*/ 32 w 97"/>
                <a:gd name="T45" fmla="*/ 54 h 79"/>
                <a:gd name="T46" fmla="*/ 33 w 97"/>
                <a:gd name="T47" fmla="*/ 54 h 79"/>
                <a:gd name="T48" fmla="*/ 33 w 97"/>
                <a:gd name="T49" fmla="*/ 54 h 79"/>
                <a:gd name="T50" fmla="*/ 33 w 97"/>
                <a:gd name="T51" fmla="*/ 54 h 79"/>
                <a:gd name="T52" fmla="*/ 33 w 97"/>
                <a:gd name="T53" fmla="*/ 54 h 79"/>
                <a:gd name="T54" fmla="*/ 33 w 97"/>
                <a:gd name="T55" fmla="*/ 54 h 79"/>
                <a:gd name="T56" fmla="*/ 34 w 97"/>
                <a:gd name="T57" fmla="*/ 55 h 79"/>
                <a:gd name="T58" fmla="*/ 34 w 97"/>
                <a:gd name="T59" fmla="*/ 55 h 79"/>
                <a:gd name="T60" fmla="*/ 34 w 97"/>
                <a:gd name="T61" fmla="*/ 55 h 79"/>
                <a:gd name="T62" fmla="*/ 34 w 97"/>
                <a:gd name="T63" fmla="*/ 55 h 79"/>
                <a:gd name="T64" fmla="*/ 35 w 97"/>
                <a:gd name="T65" fmla="*/ 55 h 79"/>
                <a:gd name="T66" fmla="*/ 35 w 97"/>
                <a:gd name="T67" fmla="*/ 55 h 79"/>
                <a:gd name="T68" fmla="*/ 35 w 97"/>
                <a:gd name="T69" fmla="*/ 55 h 79"/>
                <a:gd name="T70" fmla="*/ 36 w 97"/>
                <a:gd name="T71" fmla="*/ 56 h 79"/>
                <a:gd name="T72" fmla="*/ 36 w 97"/>
                <a:gd name="T73" fmla="*/ 56 h 79"/>
                <a:gd name="T74" fmla="*/ 36 w 97"/>
                <a:gd name="T75" fmla="*/ 56 h 79"/>
                <a:gd name="T76" fmla="*/ 36 w 97"/>
                <a:gd name="T77" fmla="*/ 56 h 79"/>
                <a:gd name="T78" fmla="*/ 37 w 97"/>
                <a:gd name="T79" fmla="*/ 56 h 79"/>
                <a:gd name="T80" fmla="*/ 37 w 97"/>
                <a:gd name="T81" fmla="*/ 57 h 79"/>
                <a:gd name="T82" fmla="*/ 37 w 97"/>
                <a:gd name="T83" fmla="*/ 57 h 79"/>
                <a:gd name="T84" fmla="*/ 38 w 97"/>
                <a:gd name="T85" fmla="*/ 57 h 79"/>
                <a:gd name="T86" fmla="*/ 80 w 97"/>
                <a:gd name="T87" fmla="*/ 79 h 79"/>
                <a:gd name="T88" fmla="*/ 0 w 97"/>
                <a:gd name="T89" fmla="*/ 3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7" h="79">
                  <a:moveTo>
                    <a:pt x="0" y="32"/>
                  </a:moveTo>
                  <a:lnTo>
                    <a:pt x="0" y="32"/>
                  </a:lnTo>
                  <a:cubicBezTo>
                    <a:pt x="8" y="38"/>
                    <a:pt x="16" y="43"/>
                    <a:pt x="24" y="49"/>
                  </a:cubicBezTo>
                  <a:lnTo>
                    <a:pt x="24" y="49"/>
                  </a:lnTo>
                  <a:cubicBezTo>
                    <a:pt x="25" y="49"/>
                    <a:pt x="26" y="50"/>
                    <a:pt x="26" y="50"/>
                  </a:cubicBezTo>
                  <a:lnTo>
                    <a:pt x="26" y="50"/>
                  </a:lnTo>
                  <a:cubicBezTo>
                    <a:pt x="27" y="50"/>
                    <a:pt x="27" y="50"/>
                    <a:pt x="27" y="50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7" y="50"/>
                    <a:pt x="27" y="51"/>
                    <a:pt x="27" y="51"/>
                  </a:cubicBezTo>
                  <a:lnTo>
                    <a:pt x="27" y="51"/>
                  </a:lnTo>
                  <a:cubicBezTo>
                    <a:pt x="27" y="51"/>
                    <a:pt x="28" y="51"/>
                    <a:pt x="28" y="51"/>
                  </a:cubicBezTo>
                  <a:lnTo>
                    <a:pt x="28" y="51"/>
                  </a:ln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lnTo>
                    <a:pt x="28" y="51"/>
                  </a:lnTo>
                  <a:cubicBezTo>
                    <a:pt x="28" y="51"/>
                    <a:pt x="28" y="51"/>
                    <a:pt x="28" y="51"/>
                  </a:cubicBezTo>
                  <a:lnTo>
                    <a:pt x="28" y="51"/>
                  </a:ln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lnTo>
                    <a:pt x="28" y="51"/>
                  </a:lnTo>
                  <a:cubicBezTo>
                    <a:pt x="29" y="51"/>
                    <a:pt x="29" y="51"/>
                    <a:pt x="29" y="51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30" y="52"/>
                  </a:cubicBezTo>
                  <a:lnTo>
                    <a:pt x="30" y="52"/>
                  </a:ln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4" y="54"/>
                    <a:pt x="34" y="54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6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52" y="65"/>
                    <a:pt x="66" y="73"/>
                    <a:pt x="80" y="79"/>
                  </a:cubicBezTo>
                  <a:lnTo>
                    <a:pt x="97" y="43"/>
                  </a:lnTo>
                  <a:cubicBezTo>
                    <a:pt x="71" y="31"/>
                    <a:pt x="47" y="17"/>
                    <a:pt x="24" y="0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C68AFC5D-7AE3-F90B-7260-FF62F9E2E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3" y="3848100"/>
              <a:ext cx="65088" cy="34925"/>
            </a:xfrm>
            <a:custGeom>
              <a:avLst/>
              <a:gdLst>
                <a:gd name="T0" fmla="*/ 0 w 92"/>
                <a:gd name="T1" fmla="*/ 48 h 49"/>
                <a:gd name="T2" fmla="*/ 1 w 92"/>
                <a:gd name="T3" fmla="*/ 48 h 49"/>
                <a:gd name="T4" fmla="*/ 5 w 92"/>
                <a:gd name="T5" fmla="*/ 49 h 49"/>
                <a:gd name="T6" fmla="*/ 5 w 92"/>
                <a:gd name="T7" fmla="*/ 49 h 49"/>
                <a:gd name="T8" fmla="*/ 6 w 92"/>
                <a:gd name="T9" fmla="*/ 49 h 49"/>
                <a:gd name="T10" fmla="*/ 6 w 92"/>
                <a:gd name="T11" fmla="*/ 49 h 49"/>
                <a:gd name="T12" fmla="*/ 7 w 92"/>
                <a:gd name="T13" fmla="*/ 49 h 49"/>
                <a:gd name="T14" fmla="*/ 8 w 92"/>
                <a:gd name="T15" fmla="*/ 49 h 49"/>
                <a:gd name="T16" fmla="*/ 8 w 92"/>
                <a:gd name="T17" fmla="*/ 49 h 49"/>
                <a:gd name="T18" fmla="*/ 9 w 92"/>
                <a:gd name="T19" fmla="*/ 49 h 49"/>
                <a:gd name="T20" fmla="*/ 9 w 92"/>
                <a:gd name="T21" fmla="*/ 48 h 49"/>
                <a:gd name="T22" fmla="*/ 9 w 92"/>
                <a:gd name="T23" fmla="*/ 48 h 49"/>
                <a:gd name="T24" fmla="*/ 10 w 92"/>
                <a:gd name="T25" fmla="*/ 48 h 49"/>
                <a:gd name="T26" fmla="*/ 10 w 92"/>
                <a:gd name="T27" fmla="*/ 48 h 49"/>
                <a:gd name="T28" fmla="*/ 10 w 92"/>
                <a:gd name="T29" fmla="*/ 48 h 49"/>
                <a:gd name="T30" fmla="*/ 11 w 92"/>
                <a:gd name="T31" fmla="*/ 48 h 49"/>
                <a:gd name="T32" fmla="*/ 11 w 92"/>
                <a:gd name="T33" fmla="*/ 48 h 49"/>
                <a:gd name="T34" fmla="*/ 12 w 92"/>
                <a:gd name="T35" fmla="*/ 48 h 49"/>
                <a:gd name="T36" fmla="*/ 12 w 92"/>
                <a:gd name="T37" fmla="*/ 48 h 49"/>
                <a:gd name="T38" fmla="*/ 12 w 92"/>
                <a:gd name="T39" fmla="*/ 48 h 49"/>
                <a:gd name="T40" fmla="*/ 13 w 92"/>
                <a:gd name="T41" fmla="*/ 48 h 49"/>
                <a:gd name="T42" fmla="*/ 13 w 92"/>
                <a:gd name="T43" fmla="*/ 48 h 49"/>
                <a:gd name="T44" fmla="*/ 13 w 92"/>
                <a:gd name="T45" fmla="*/ 48 h 49"/>
                <a:gd name="T46" fmla="*/ 14 w 92"/>
                <a:gd name="T47" fmla="*/ 48 h 49"/>
                <a:gd name="T48" fmla="*/ 14 w 92"/>
                <a:gd name="T49" fmla="*/ 48 h 49"/>
                <a:gd name="T50" fmla="*/ 14 w 92"/>
                <a:gd name="T51" fmla="*/ 48 h 49"/>
                <a:gd name="T52" fmla="*/ 15 w 92"/>
                <a:gd name="T53" fmla="*/ 48 h 49"/>
                <a:gd name="T54" fmla="*/ 15 w 92"/>
                <a:gd name="T55" fmla="*/ 48 h 49"/>
                <a:gd name="T56" fmla="*/ 15 w 92"/>
                <a:gd name="T57" fmla="*/ 48 h 49"/>
                <a:gd name="T58" fmla="*/ 16 w 92"/>
                <a:gd name="T59" fmla="*/ 48 h 49"/>
                <a:gd name="T60" fmla="*/ 16 w 92"/>
                <a:gd name="T61" fmla="*/ 48 h 49"/>
                <a:gd name="T62" fmla="*/ 16 w 92"/>
                <a:gd name="T63" fmla="*/ 48 h 49"/>
                <a:gd name="T64" fmla="*/ 17 w 92"/>
                <a:gd name="T65" fmla="*/ 48 h 49"/>
                <a:gd name="T66" fmla="*/ 17 w 92"/>
                <a:gd name="T67" fmla="*/ 48 h 49"/>
                <a:gd name="T68" fmla="*/ 17 w 92"/>
                <a:gd name="T69" fmla="*/ 48 h 49"/>
                <a:gd name="T70" fmla="*/ 18 w 92"/>
                <a:gd name="T71" fmla="*/ 48 h 49"/>
                <a:gd name="T72" fmla="*/ 18 w 92"/>
                <a:gd name="T73" fmla="*/ 48 h 49"/>
                <a:gd name="T74" fmla="*/ 19 w 92"/>
                <a:gd name="T75" fmla="*/ 48 h 49"/>
                <a:gd name="T76" fmla="*/ 19 w 92"/>
                <a:gd name="T77" fmla="*/ 48 h 49"/>
                <a:gd name="T78" fmla="*/ 19 w 92"/>
                <a:gd name="T79" fmla="*/ 48 h 49"/>
                <a:gd name="T80" fmla="*/ 20 w 92"/>
                <a:gd name="T81" fmla="*/ 48 h 49"/>
                <a:gd name="T82" fmla="*/ 20 w 92"/>
                <a:gd name="T83" fmla="*/ 48 h 49"/>
                <a:gd name="T84" fmla="*/ 20 w 92"/>
                <a:gd name="T85" fmla="*/ 48 h 49"/>
                <a:gd name="T86" fmla="*/ 21 w 92"/>
                <a:gd name="T87" fmla="*/ 48 h 49"/>
                <a:gd name="T88" fmla="*/ 21 w 92"/>
                <a:gd name="T89" fmla="*/ 48 h 49"/>
                <a:gd name="T90" fmla="*/ 21 w 92"/>
                <a:gd name="T91" fmla="*/ 48 h 49"/>
                <a:gd name="T92" fmla="*/ 22 w 92"/>
                <a:gd name="T93" fmla="*/ 48 h 49"/>
                <a:gd name="T94" fmla="*/ 22 w 92"/>
                <a:gd name="T95" fmla="*/ 48 h 49"/>
                <a:gd name="T96" fmla="*/ 22 w 92"/>
                <a:gd name="T97" fmla="*/ 48 h 49"/>
                <a:gd name="T98" fmla="*/ 23 w 92"/>
                <a:gd name="T99" fmla="*/ 48 h 49"/>
                <a:gd name="T100" fmla="*/ 23 w 92"/>
                <a:gd name="T101" fmla="*/ 48 h 49"/>
                <a:gd name="T102" fmla="*/ 6 w 92"/>
                <a:gd name="T103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49">
                  <a:moveTo>
                    <a:pt x="6" y="8"/>
                  </a:moveTo>
                  <a:lnTo>
                    <a:pt x="6" y="8"/>
                  </a:lnTo>
                  <a:cubicBezTo>
                    <a:pt x="4" y="8"/>
                    <a:pt x="2" y="8"/>
                    <a:pt x="0" y="8"/>
                  </a:cubicBezTo>
                  <a:lnTo>
                    <a:pt x="0" y="48"/>
                  </a:lnTo>
                  <a:cubicBezTo>
                    <a:pt x="0" y="48"/>
                    <a:pt x="1" y="48"/>
                    <a:pt x="1" y="48"/>
                  </a:cubicBezTo>
                  <a:lnTo>
                    <a:pt x="1" y="48"/>
                  </a:ln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8"/>
                    <a:pt x="3" y="49"/>
                    <a:pt x="4" y="49"/>
                  </a:cubicBezTo>
                  <a:cubicBezTo>
                    <a:pt x="4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lnTo>
                    <a:pt x="20" y="48"/>
                  </a:lnTo>
                  <a:cubicBezTo>
                    <a:pt x="20" y="48"/>
                    <a:pt x="20" y="48"/>
                    <a:pt x="20" y="48"/>
                  </a:cubicBezTo>
                  <a:lnTo>
                    <a:pt x="20" y="48"/>
                  </a:ln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lnTo>
                    <a:pt x="21" y="48"/>
                  </a:lnTo>
                  <a:cubicBezTo>
                    <a:pt x="21" y="48"/>
                    <a:pt x="21" y="48"/>
                    <a:pt x="21" y="48"/>
                  </a:cubicBezTo>
                  <a:lnTo>
                    <a:pt x="21" y="48"/>
                  </a:ln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lnTo>
                    <a:pt x="22" y="48"/>
                  </a:ln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lnTo>
                    <a:pt x="23" y="48"/>
                  </a:lnTo>
                  <a:cubicBezTo>
                    <a:pt x="23" y="48"/>
                    <a:pt x="24" y="48"/>
                    <a:pt x="24" y="48"/>
                  </a:cubicBezTo>
                  <a:cubicBezTo>
                    <a:pt x="47" y="47"/>
                    <a:pt x="70" y="44"/>
                    <a:pt x="92" y="40"/>
                  </a:cubicBezTo>
                  <a:lnTo>
                    <a:pt x="84" y="0"/>
                  </a:lnTo>
                  <a:cubicBezTo>
                    <a:pt x="59" y="6"/>
                    <a:pt x="32" y="8"/>
                    <a:pt x="6" y="8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20">
              <a:extLst>
                <a:ext uri="{FF2B5EF4-FFF2-40B4-BE49-F238E27FC236}">
                  <a16:creationId xmlns:a16="http://schemas.microsoft.com/office/drawing/2014/main" id="{015D061B-8916-3BF8-4EE1-5C5282AF5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736975"/>
              <a:ext cx="65088" cy="66675"/>
            </a:xfrm>
            <a:custGeom>
              <a:avLst/>
              <a:gdLst>
                <a:gd name="T0" fmla="*/ 5 w 89"/>
                <a:gd name="T1" fmla="*/ 29 h 93"/>
                <a:gd name="T2" fmla="*/ 5 w 89"/>
                <a:gd name="T3" fmla="*/ 30 h 93"/>
                <a:gd name="T4" fmla="*/ 6 w 89"/>
                <a:gd name="T5" fmla="*/ 30 h 93"/>
                <a:gd name="T6" fmla="*/ 6 w 89"/>
                <a:gd name="T7" fmla="*/ 31 h 93"/>
                <a:gd name="T8" fmla="*/ 7 w 89"/>
                <a:gd name="T9" fmla="*/ 32 h 93"/>
                <a:gd name="T10" fmla="*/ 7 w 89"/>
                <a:gd name="T11" fmla="*/ 32 h 93"/>
                <a:gd name="T12" fmla="*/ 8 w 89"/>
                <a:gd name="T13" fmla="*/ 33 h 93"/>
                <a:gd name="T14" fmla="*/ 8 w 89"/>
                <a:gd name="T15" fmla="*/ 33 h 93"/>
                <a:gd name="T16" fmla="*/ 8 w 89"/>
                <a:gd name="T17" fmla="*/ 34 h 93"/>
                <a:gd name="T18" fmla="*/ 9 w 89"/>
                <a:gd name="T19" fmla="*/ 34 h 93"/>
                <a:gd name="T20" fmla="*/ 9 w 89"/>
                <a:gd name="T21" fmla="*/ 35 h 93"/>
                <a:gd name="T22" fmla="*/ 10 w 89"/>
                <a:gd name="T23" fmla="*/ 36 h 93"/>
                <a:gd name="T24" fmla="*/ 10 w 89"/>
                <a:gd name="T25" fmla="*/ 36 h 93"/>
                <a:gd name="T26" fmla="*/ 11 w 89"/>
                <a:gd name="T27" fmla="*/ 37 h 93"/>
                <a:gd name="T28" fmla="*/ 12 w 89"/>
                <a:gd name="T29" fmla="*/ 38 h 93"/>
                <a:gd name="T30" fmla="*/ 12 w 89"/>
                <a:gd name="T31" fmla="*/ 39 h 93"/>
                <a:gd name="T32" fmla="*/ 13 w 89"/>
                <a:gd name="T33" fmla="*/ 39 h 93"/>
                <a:gd name="T34" fmla="*/ 13 w 89"/>
                <a:gd name="T35" fmla="*/ 40 h 93"/>
                <a:gd name="T36" fmla="*/ 14 w 89"/>
                <a:gd name="T37" fmla="*/ 41 h 93"/>
                <a:gd name="T38" fmla="*/ 15 w 89"/>
                <a:gd name="T39" fmla="*/ 42 h 93"/>
                <a:gd name="T40" fmla="*/ 16 w 89"/>
                <a:gd name="T41" fmla="*/ 43 h 93"/>
                <a:gd name="T42" fmla="*/ 16 w 89"/>
                <a:gd name="T43" fmla="*/ 44 h 93"/>
                <a:gd name="T44" fmla="*/ 17 w 89"/>
                <a:gd name="T45" fmla="*/ 45 h 93"/>
                <a:gd name="T46" fmla="*/ 17 w 89"/>
                <a:gd name="T47" fmla="*/ 45 h 93"/>
                <a:gd name="T48" fmla="*/ 18 w 89"/>
                <a:gd name="T49" fmla="*/ 46 h 93"/>
                <a:gd name="T50" fmla="*/ 18 w 89"/>
                <a:gd name="T51" fmla="*/ 47 h 93"/>
                <a:gd name="T52" fmla="*/ 19 w 89"/>
                <a:gd name="T53" fmla="*/ 47 h 93"/>
                <a:gd name="T54" fmla="*/ 19 w 89"/>
                <a:gd name="T55" fmla="*/ 48 h 93"/>
                <a:gd name="T56" fmla="*/ 20 w 89"/>
                <a:gd name="T57" fmla="*/ 48 h 93"/>
                <a:gd name="T58" fmla="*/ 21 w 89"/>
                <a:gd name="T59" fmla="*/ 49 h 93"/>
                <a:gd name="T60" fmla="*/ 21 w 89"/>
                <a:gd name="T61" fmla="*/ 50 h 93"/>
                <a:gd name="T62" fmla="*/ 21 w 89"/>
                <a:gd name="T63" fmla="*/ 50 h 93"/>
                <a:gd name="T64" fmla="*/ 22 w 89"/>
                <a:gd name="T65" fmla="*/ 51 h 93"/>
                <a:gd name="T66" fmla="*/ 22 w 89"/>
                <a:gd name="T67" fmla="*/ 51 h 93"/>
                <a:gd name="T68" fmla="*/ 23 w 89"/>
                <a:gd name="T69" fmla="*/ 52 h 93"/>
                <a:gd name="T70" fmla="*/ 23 w 89"/>
                <a:gd name="T71" fmla="*/ 52 h 93"/>
                <a:gd name="T72" fmla="*/ 23 w 89"/>
                <a:gd name="T73" fmla="*/ 53 h 93"/>
                <a:gd name="T74" fmla="*/ 24 w 89"/>
                <a:gd name="T75" fmla="*/ 53 h 93"/>
                <a:gd name="T76" fmla="*/ 24 w 89"/>
                <a:gd name="T77" fmla="*/ 54 h 93"/>
                <a:gd name="T78" fmla="*/ 25 w 89"/>
                <a:gd name="T79" fmla="*/ 54 h 93"/>
                <a:gd name="T80" fmla="*/ 25 w 89"/>
                <a:gd name="T81" fmla="*/ 54 h 93"/>
                <a:gd name="T82" fmla="*/ 25 w 89"/>
                <a:gd name="T83" fmla="*/ 55 h 93"/>
                <a:gd name="T84" fmla="*/ 26 w 89"/>
                <a:gd name="T85" fmla="*/ 56 h 93"/>
                <a:gd name="T86" fmla="*/ 27 w 89"/>
                <a:gd name="T87" fmla="*/ 56 h 93"/>
                <a:gd name="T88" fmla="*/ 27 w 89"/>
                <a:gd name="T89" fmla="*/ 57 h 93"/>
                <a:gd name="T90" fmla="*/ 27 w 89"/>
                <a:gd name="T91" fmla="*/ 57 h 93"/>
                <a:gd name="T92" fmla="*/ 28 w 89"/>
                <a:gd name="T93" fmla="*/ 58 h 93"/>
                <a:gd name="T94" fmla="*/ 28 w 89"/>
                <a:gd name="T95" fmla="*/ 58 h 93"/>
                <a:gd name="T96" fmla="*/ 29 w 89"/>
                <a:gd name="T97" fmla="*/ 59 h 93"/>
                <a:gd name="T98" fmla="*/ 30 w 89"/>
                <a:gd name="T99" fmla="*/ 60 h 93"/>
                <a:gd name="T100" fmla="*/ 31 w 89"/>
                <a:gd name="T101" fmla="*/ 62 h 93"/>
                <a:gd name="T102" fmla="*/ 59 w 89"/>
                <a:gd name="T103" fmla="*/ 89 h 93"/>
                <a:gd name="T104" fmla="*/ 59 w 89"/>
                <a:gd name="T105" fmla="*/ 90 h 93"/>
                <a:gd name="T106" fmla="*/ 60 w 89"/>
                <a:gd name="T107" fmla="*/ 90 h 93"/>
                <a:gd name="T108" fmla="*/ 60 w 89"/>
                <a:gd name="T109" fmla="*/ 91 h 93"/>
                <a:gd name="T110" fmla="*/ 61 w 89"/>
                <a:gd name="T111" fmla="*/ 91 h 93"/>
                <a:gd name="T112" fmla="*/ 61 w 89"/>
                <a:gd name="T113" fmla="*/ 92 h 93"/>
                <a:gd name="T114" fmla="*/ 62 w 89"/>
                <a:gd name="T115" fmla="*/ 9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9" h="93">
                  <a:moveTo>
                    <a:pt x="33" y="0"/>
                  </a:moveTo>
                  <a:lnTo>
                    <a:pt x="33" y="0"/>
                  </a:lnTo>
                  <a:lnTo>
                    <a:pt x="0" y="23"/>
                  </a:lnTo>
                  <a:cubicBezTo>
                    <a:pt x="1" y="25"/>
                    <a:pt x="3" y="26"/>
                    <a:pt x="4" y="28"/>
                  </a:cubicBezTo>
                  <a:lnTo>
                    <a:pt x="4" y="28"/>
                  </a:ln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5" y="29"/>
                  </a:ln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0" y="35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2" y="38"/>
                  </a:cubicBezTo>
                  <a:lnTo>
                    <a:pt x="12" y="38"/>
                  </a:ln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lnTo>
                    <a:pt x="12" y="39"/>
                  </a:ln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lnTo>
                    <a:pt x="13" y="40"/>
                  </a:ln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1"/>
                  </a:cubicBezTo>
                  <a:lnTo>
                    <a:pt x="13" y="41"/>
                  </a:ln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6" y="43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6" y="43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lnTo>
                    <a:pt x="16" y="44"/>
                  </a:lnTo>
                  <a:cubicBezTo>
                    <a:pt x="16" y="44"/>
                    <a:pt x="16" y="44"/>
                    <a:pt x="16" y="44"/>
                  </a:cubicBezTo>
                  <a:lnTo>
                    <a:pt x="16" y="44"/>
                  </a:ln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lnTo>
                    <a:pt x="17" y="45"/>
                  </a:ln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6"/>
                    <a:pt x="18" y="46"/>
                    <a:pt x="18" y="46"/>
                  </a:cubicBezTo>
                  <a:cubicBezTo>
                    <a:pt x="18" y="46"/>
                    <a:pt x="18" y="46"/>
                    <a:pt x="18" y="46"/>
                  </a:cubicBezTo>
                  <a:lnTo>
                    <a:pt x="18" y="46"/>
                  </a:lnTo>
                  <a:cubicBezTo>
                    <a:pt x="18" y="46"/>
                    <a:pt x="18" y="46"/>
                    <a:pt x="18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8" y="46"/>
                    <a:pt x="18" y="46"/>
                    <a:pt x="18" y="46"/>
                  </a:cubicBezTo>
                  <a:lnTo>
                    <a:pt x="18" y="46"/>
                  </a:lnTo>
                  <a:cubicBezTo>
                    <a:pt x="18" y="46"/>
                    <a:pt x="18" y="46"/>
                    <a:pt x="18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8" y="46"/>
                    <a:pt x="18" y="47"/>
                    <a:pt x="18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7"/>
                    <a:pt x="18" y="47"/>
                    <a:pt x="1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7"/>
                    <a:pt x="19" y="47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2" y="50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lnTo>
                    <a:pt x="25" y="54"/>
                  </a:ln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6" y="55"/>
                    <a:pt x="26" y="55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7" y="56"/>
                    <a:pt x="27" y="5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7" y="56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9" y="58"/>
                  </a:cubicBezTo>
                  <a:lnTo>
                    <a:pt x="29" y="59"/>
                  </a:ln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lnTo>
                    <a:pt x="29" y="59"/>
                  </a:ln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60"/>
                    <a:pt x="29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lnTo>
                    <a:pt x="30" y="60"/>
                  </a:ln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40" y="71"/>
                    <a:pt x="49" y="80"/>
                    <a:pt x="58" y="88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lnTo>
                    <a:pt x="58" y="89"/>
                  </a:lnTo>
                  <a:cubicBezTo>
                    <a:pt x="59" y="89"/>
                    <a:pt x="59" y="89"/>
                    <a:pt x="59" y="89"/>
                  </a:cubicBezTo>
                  <a:lnTo>
                    <a:pt x="59" y="89"/>
                  </a:ln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lnTo>
                    <a:pt x="59" y="89"/>
                  </a:lnTo>
                  <a:cubicBezTo>
                    <a:pt x="59" y="90"/>
                    <a:pt x="59" y="90"/>
                    <a:pt x="59" y="90"/>
                  </a:cubicBezTo>
                  <a:lnTo>
                    <a:pt x="59" y="90"/>
                  </a:lnTo>
                  <a:cubicBezTo>
                    <a:pt x="59" y="90"/>
                    <a:pt x="59" y="90"/>
                    <a:pt x="59" y="90"/>
                  </a:cubicBezTo>
                  <a:lnTo>
                    <a:pt x="59" y="90"/>
                  </a:lnTo>
                  <a:cubicBezTo>
                    <a:pt x="59" y="90"/>
                    <a:pt x="60" y="90"/>
                    <a:pt x="60" y="90"/>
                  </a:cubicBezTo>
                  <a:lnTo>
                    <a:pt x="60" y="90"/>
                  </a:ln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3"/>
                  </a:cubicBezTo>
                  <a:lnTo>
                    <a:pt x="89" y="63"/>
                  </a:lnTo>
                  <a:cubicBezTo>
                    <a:pt x="68" y="44"/>
                    <a:pt x="49" y="23"/>
                    <a:pt x="33" y="0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21">
              <a:extLst>
                <a:ext uri="{FF2B5EF4-FFF2-40B4-BE49-F238E27FC236}">
                  <a16:creationId xmlns:a16="http://schemas.microsoft.com/office/drawing/2014/main" id="{438155EC-9D3F-B758-9F10-6C4922034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113" y="3838575"/>
              <a:ext cx="68263" cy="42863"/>
            </a:xfrm>
            <a:custGeom>
              <a:avLst/>
              <a:gdLst>
                <a:gd name="T0" fmla="*/ 0 w 95"/>
                <a:gd name="T1" fmla="*/ 38 h 58"/>
                <a:gd name="T2" fmla="*/ 0 w 95"/>
                <a:gd name="T3" fmla="*/ 38 h 58"/>
                <a:gd name="T4" fmla="*/ 91 w 95"/>
                <a:gd name="T5" fmla="*/ 58 h 58"/>
                <a:gd name="T6" fmla="*/ 95 w 95"/>
                <a:gd name="T7" fmla="*/ 18 h 58"/>
                <a:gd name="T8" fmla="*/ 13 w 95"/>
                <a:gd name="T9" fmla="*/ 0 h 58"/>
                <a:gd name="T10" fmla="*/ 0 w 95"/>
                <a:gd name="T11" fmla="*/ 3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" h="58">
                  <a:moveTo>
                    <a:pt x="0" y="38"/>
                  </a:moveTo>
                  <a:lnTo>
                    <a:pt x="0" y="38"/>
                  </a:lnTo>
                  <a:cubicBezTo>
                    <a:pt x="29" y="48"/>
                    <a:pt x="59" y="55"/>
                    <a:pt x="91" y="58"/>
                  </a:cubicBezTo>
                  <a:lnTo>
                    <a:pt x="95" y="18"/>
                  </a:lnTo>
                  <a:cubicBezTo>
                    <a:pt x="67" y="15"/>
                    <a:pt x="39" y="9"/>
                    <a:pt x="13" y="0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22">
              <a:extLst>
                <a:ext uri="{FF2B5EF4-FFF2-40B4-BE49-F238E27FC236}">
                  <a16:creationId xmlns:a16="http://schemas.microsoft.com/office/drawing/2014/main" id="{54FF32E5-07AB-6AC4-D00D-7163B2F6E8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2938" y="3343275"/>
              <a:ext cx="458788" cy="461963"/>
            </a:xfrm>
            <a:custGeom>
              <a:avLst/>
              <a:gdLst>
                <a:gd name="T0" fmla="*/ 457 w 637"/>
                <a:gd name="T1" fmla="*/ 412 h 641"/>
                <a:gd name="T2" fmla="*/ 457 w 637"/>
                <a:gd name="T3" fmla="*/ 412 h 641"/>
                <a:gd name="T4" fmla="*/ 429 w 637"/>
                <a:gd name="T5" fmla="*/ 471 h 641"/>
                <a:gd name="T6" fmla="*/ 356 w 637"/>
                <a:gd name="T7" fmla="*/ 495 h 641"/>
                <a:gd name="T8" fmla="*/ 356 w 637"/>
                <a:gd name="T9" fmla="*/ 538 h 641"/>
                <a:gd name="T10" fmla="*/ 293 w 637"/>
                <a:gd name="T11" fmla="*/ 538 h 641"/>
                <a:gd name="T12" fmla="*/ 293 w 637"/>
                <a:gd name="T13" fmla="*/ 495 h 641"/>
                <a:gd name="T14" fmla="*/ 217 w 637"/>
                <a:gd name="T15" fmla="*/ 466 h 641"/>
                <a:gd name="T16" fmla="*/ 189 w 637"/>
                <a:gd name="T17" fmla="*/ 388 h 641"/>
                <a:gd name="T18" fmla="*/ 251 w 637"/>
                <a:gd name="T19" fmla="*/ 388 h 641"/>
                <a:gd name="T20" fmla="*/ 263 w 637"/>
                <a:gd name="T21" fmla="*/ 425 h 641"/>
                <a:gd name="T22" fmla="*/ 297 w 637"/>
                <a:gd name="T23" fmla="*/ 439 h 641"/>
                <a:gd name="T24" fmla="*/ 348 w 637"/>
                <a:gd name="T25" fmla="*/ 439 h 641"/>
                <a:gd name="T26" fmla="*/ 381 w 637"/>
                <a:gd name="T27" fmla="*/ 430 h 641"/>
                <a:gd name="T28" fmla="*/ 393 w 637"/>
                <a:gd name="T29" fmla="*/ 408 h 641"/>
                <a:gd name="T30" fmla="*/ 393 w 637"/>
                <a:gd name="T31" fmla="*/ 392 h 641"/>
                <a:gd name="T32" fmla="*/ 360 w 637"/>
                <a:gd name="T33" fmla="*/ 364 h 641"/>
                <a:gd name="T34" fmla="*/ 276 w 637"/>
                <a:gd name="T35" fmla="*/ 350 h 641"/>
                <a:gd name="T36" fmla="*/ 213 w 637"/>
                <a:gd name="T37" fmla="*/ 324 h 641"/>
                <a:gd name="T38" fmla="*/ 192 w 637"/>
                <a:gd name="T39" fmla="*/ 274 h 641"/>
                <a:gd name="T40" fmla="*/ 192 w 637"/>
                <a:gd name="T41" fmla="*/ 248 h 641"/>
                <a:gd name="T42" fmla="*/ 205 w 637"/>
                <a:gd name="T43" fmla="*/ 206 h 641"/>
                <a:gd name="T44" fmla="*/ 240 w 637"/>
                <a:gd name="T45" fmla="*/ 178 h 641"/>
                <a:gd name="T46" fmla="*/ 293 w 637"/>
                <a:gd name="T47" fmla="*/ 167 h 641"/>
                <a:gd name="T48" fmla="*/ 293 w 637"/>
                <a:gd name="T49" fmla="*/ 123 h 641"/>
                <a:gd name="T50" fmla="*/ 356 w 637"/>
                <a:gd name="T51" fmla="*/ 123 h 641"/>
                <a:gd name="T52" fmla="*/ 356 w 637"/>
                <a:gd name="T53" fmla="*/ 167 h 641"/>
                <a:gd name="T54" fmla="*/ 425 w 637"/>
                <a:gd name="T55" fmla="*/ 195 h 641"/>
                <a:gd name="T56" fmla="*/ 451 w 637"/>
                <a:gd name="T57" fmla="*/ 265 h 641"/>
                <a:gd name="T58" fmla="*/ 388 w 637"/>
                <a:gd name="T59" fmla="*/ 265 h 641"/>
                <a:gd name="T60" fmla="*/ 378 w 637"/>
                <a:gd name="T61" fmla="*/ 234 h 641"/>
                <a:gd name="T62" fmla="*/ 350 w 637"/>
                <a:gd name="T63" fmla="*/ 223 h 641"/>
                <a:gd name="T64" fmla="*/ 298 w 637"/>
                <a:gd name="T65" fmla="*/ 223 h 641"/>
                <a:gd name="T66" fmla="*/ 267 w 637"/>
                <a:gd name="T67" fmla="*/ 231 h 641"/>
                <a:gd name="T68" fmla="*/ 255 w 637"/>
                <a:gd name="T69" fmla="*/ 253 h 641"/>
                <a:gd name="T70" fmla="*/ 255 w 637"/>
                <a:gd name="T71" fmla="*/ 265 h 641"/>
                <a:gd name="T72" fmla="*/ 287 w 637"/>
                <a:gd name="T73" fmla="*/ 294 h 641"/>
                <a:gd name="T74" fmla="*/ 371 w 637"/>
                <a:gd name="T75" fmla="*/ 308 h 641"/>
                <a:gd name="T76" fmla="*/ 435 w 637"/>
                <a:gd name="T77" fmla="*/ 334 h 641"/>
                <a:gd name="T78" fmla="*/ 457 w 637"/>
                <a:gd name="T79" fmla="*/ 382 h 641"/>
                <a:gd name="T80" fmla="*/ 457 w 637"/>
                <a:gd name="T81" fmla="*/ 412 h 641"/>
                <a:gd name="T82" fmla="*/ 457 w 637"/>
                <a:gd name="T83" fmla="*/ 412 h 641"/>
                <a:gd name="T84" fmla="*/ 519 w 637"/>
                <a:gd name="T85" fmla="*/ 252 h 641"/>
                <a:gd name="T86" fmla="*/ 519 w 637"/>
                <a:gd name="T87" fmla="*/ 252 h 641"/>
                <a:gd name="T88" fmla="*/ 519 w 637"/>
                <a:gd name="T89" fmla="*/ 69 h 641"/>
                <a:gd name="T90" fmla="*/ 321 w 637"/>
                <a:gd name="T91" fmla="*/ 0 h 641"/>
                <a:gd name="T92" fmla="*/ 0 w 637"/>
                <a:gd name="T93" fmla="*/ 321 h 641"/>
                <a:gd name="T94" fmla="*/ 321 w 637"/>
                <a:gd name="T95" fmla="*/ 641 h 641"/>
                <a:gd name="T96" fmla="*/ 637 w 637"/>
                <a:gd name="T97" fmla="*/ 371 h 641"/>
                <a:gd name="T98" fmla="*/ 519 w 637"/>
                <a:gd name="T99" fmla="*/ 252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37" h="641">
                  <a:moveTo>
                    <a:pt x="457" y="412"/>
                  </a:moveTo>
                  <a:lnTo>
                    <a:pt x="457" y="412"/>
                  </a:lnTo>
                  <a:cubicBezTo>
                    <a:pt x="457" y="436"/>
                    <a:pt x="447" y="456"/>
                    <a:pt x="429" y="471"/>
                  </a:cubicBezTo>
                  <a:cubicBezTo>
                    <a:pt x="411" y="485"/>
                    <a:pt x="386" y="494"/>
                    <a:pt x="356" y="495"/>
                  </a:cubicBezTo>
                  <a:lnTo>
                    <a:pt x="356" y="538"/>
                  </a:lnTo>
                  <a:lnTo>
                    <a:pt x="293" y="538"/>
                  </a:lnTo>
                  <a:lnTo>
                    <a:pt x="293" y="495"/>
                  </a:lnTo>
                  <a:cubicBezTo>
                    <a:pt x="261" y="494"/>
                    <a:pt x="235" y="485"/>
                    <a:pt x="217" y="466"/>
                  </a:cubicBezTo>
                  <a:cubicBezTo>
                    <a:pt x="198" y="447"/>
                    <a:pt x="189" y="421"/>
                    <a:pt x="189" y="388"/>
                  </a:cubicBezTo>
                  <a:lnTo>
                    <a:pt x="251" y="388"/>
                  </a:lnTo>
                  <a:cubicBezTo>
                    <a:pt x="251" y="404"/>
                    <a:pt x="255" y="416"/>
                    <a:pt x="263" y="425"/>
                  </a:cubicBezTo>
                  <a:cubicBezTo>
                    <a:pt x="271" y="434"/>
                    <a:pt x="283" y="439"/>
                    <a:pt x="297" y="439"/>
                  </a:cubicBezTo>
                  <a:lnTo>
                    <a:pt x="348" y="439"/>
                  </a:lnTo>
                  <a:cubicBezTo>
                    <a:pt x="361" y="439"/>
                    <a:pt x="372" y="436"/>
                    <a:pt x="381" y="430"/>
                  </a:cubicBezTo>
                  <a:cubicBezTo>
                    <a:pt x="389" y="425"/>
                    <a:pt x="393" y="417"/>
                    <a:pt x="393" y="408"/>
                  </a:cubicBezTo>
                  <a:lnTo>
                    <a:pt x="393" y="392"/>
                  </a:lnTo>
                  <a:cubicBezTo>
                    <a:pt x="393" y="377"/>
                    <a:pt x="382" y="368"/>
                    <a:pt x="360" y="364"/>
                  </a:cubicBezTo>
                  <a:lnTo>
                    <a:pt x="276" y="350"/>
                  </a:lnTo>
                  <a:cubicBezTo>
                    <a:pt x="248" y="345"/>
                    <a:pt x="228" y="337"/>
                    <a:pt x="213" y="324"/>
                  </a:cubicBezTo>
                  <a:cubicBezTo>
                    <a:pt x="199" y="311"/>
                    <a:pt x="192" y="294"/>
                    <a:pt x="192" y="274"/>
                  </a:cubicBezTo>
                  <a:lnTo>
                    <a:pt x="192" y="248"/>
                  </a:lnTo>
                  <a:cubicBezTo>
                    <a:pt x="192" y="233"/>
                    <a:pt x="196" y="219"/>
                    <a:pt x="205" y="206"/>
                  </a:cubicBezTo>
                  <a:cubicBezTo>
                    <a:pt x="213" y="194"/>
                    <a:pt x="225" y="185"/>
                    <a:pt x="240" y="178"/>
                  </a:cubicBezTo>
                  <a:cubicBezTo>
                    <a:pt x="255" y="171"/>
                    <a:pt x="273" y="167"/>
                    <a:pt x="293" y="167"/>
                  </a:cubicBezTo>
                  <a:lnTo>
                    <a:pt x="293" y="123"/>
                  </a:lnTo>
                  <a:lnTo>
                    <a:pt x="356" y="123"/>
                  </a:lnTo>
                  <a:lnTo>
                    <a:pt x="356" y="167"/>
                  </a:lnTo>
                  <a:cubicBezTo>
                    <a:pt x="384" y="168"/>
                    <a:pt x="407" y="178"/>
                    <a:pt x="425" y="195"/>
                  </a:cubicBezTo>
                  <a:cubicBezTo>
                    <a:pt x="442" y="213"/>
                    <a:pt x="451" y="236"/>
                    <a:pt x="451" y="265"/>
                  </a:cubicBezTo>
                  <a:lnTo>
                    <a:pt x="388" y="265"/>
                  </a:lnTo>
                  <a:cubicBezTo>
                    <a:pt x="388" y="252"/>
                    <a:pt x="385" y="242"/>
                    <a:pt x="378" y="234"/>
                  </a:cubicBezTo>
                  <a:cubicBezTo>
                    <a:pt x="371" y="226"/>
                    <a:pt x="361" y="223"/>
                    <a:pt x="350" y="223"/>
                  </a:cubicBezTo>
                  <a:lnTo>
                    <a:pt x="298" y="223"/>
                  </a:lnTo>
                  <a:cubicBezTo>
                    <a:pt x="285" y="223"/>
                    <a:pt x="275" y="225"/>
                    <a:pt x="267" y="231"/>
                  </a:cubicBezTo>
                  <a:cubicBezTo>
                    <a:pt x="259" y="236"/>
                    <a:pt x="255" y="244"/>
                    <a:pt x="255" y="253"/>
                  </a:cubicBezTo>
                  <a:lnTo>
                    <a:pt x="255" y="265"/>
                  </a:lnTo>
                  <a:cubicBezTo>
                    <a:pt x="255" y="280"/>
                    <a:pt x="266" y="290"/>
                    <a:pt x="287" y="294"/>
                  </a:cubicBezTo>
                  <a:lnTo>
                    <a:pt x="371" y="308"/>
                  </a:lnTo>
                  <a:cubicBezTo>
                    <a:pt x="399" y="313"/>
                    <a:pt x="420" y="322"/>
                    <a:pt x="435" y="334"/>
                  </a:cubicBezTo>
                  <a:cubicBezTo>
                    <a:pt x="449" y="347"/>
                    <a:pt x="457" y="362"/>
                    <a:pt x="457" y="382"/>
                  </a:cubicBezTo>
                  <a:lnTo>
                    <a:pt x="457" y="412"/>
                  </a:lnTo>
                  <a:lnTo>
                    <a:pt x="457" y="412"/>
                  </a:lnTo>
                  <a:close/>
                  <a:moveTo>
                    <a:pt x="519" y="252"/>
                  </a:moveTo>
                  <a:lnTo>
                    <a:pt x="519" y="252"/>
                  </a:lnTo>
                  <a:lnTo>
                    <a:pt x="519" y="69"/>
                  </a:lnTo>
                  <a:cubicBezTo>
                    <a:pt x="465" y="26"/>
                    <a:pt x="396" y="0"/>
                    <a:pt x="321" y="0"/>
                  </a:cubicBezTo>
                  <a:cubicBezTo>
                    <a:pt x="144" y="0"/>
                    <a:pt x="0" y="144"/>
                    <a:pt x="0" y="321"/>
                  </a:cubicBezTo>
                  <a:cubicBezTo>
                    <a:pt x="0" y="498"/>
                    <a:pt x="144" y="641"/>
                    <a:pt x="321" y="641"/>
                  </a:cubicBezTo>
                  <a:cubicBezTo>
                    <a:pt x="481" y="641"/>
                    <a:pt x="614" y="524"/>
                    <a:pt x="637" y="371"/>
                  </a:cubicBezTo>
                  <a:lnTo>
                    <a:pt x="519" y="252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3">
              <a:extLst>
                <a:ext uri="{FF2B5EF4-FFF2-40B4-BE49-F238E27FC236}">
                  <a16:creationId xmlns:a16="http://schemas.microsoft.com/office/drawing/2014/main" id="{7EC6CA2B-1A67-BF98-914D-7A8AD130E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4575" y="3295650"/>
              <a:ext cx="307975" cy="307975"/>
            </a:xfrm>
            <a:custGeom>
              <a:avLst/>
              <a:gdLst>
                <a:gd name="T0" fmla="*/ 225 w 427"/>
                <a:gd name="T1" fmla="*/ 241 h 427"/>
                <a:gd name="T2" fmla="*/ 225 w 427"/>
                <a:gd name="T3" fmla="*/ 241 h 427"/>
                <a:gd name="T4" fmla="*/ 188 w 427"/>
                <a:gd name="T5" fmla="*/ 241 h 427"/>
                <a:gd name="T6" fmla="*/ 180 w 427"/>
                <a:gd name="T7" fmla="*/ 93 h 427"/>
                <a:gd name="T8" fmla="*/ 232 w 427"/>
                <a:gd name="T9" fmla="*/ 93 h 427"/>
                <a:gd name="T10" fmla="*/ 225 w 427"/>
                <a:gd name="T11" fmla="*/ 241 h 427"/>
                <a:gd name="T12" fmla="*/ 225 w 427"/>
                <a:gd name="T13" fmla="*/ 241 h 427"/>
                <a:gd name="T14" fmla="*/ 225 w 427"/>
                <a:gd name="T15" fmla="*/ 312 h 427"/>
                <a:gd name="T16" fmla="*/ 225 w 427"/>
                <a:gd name="T17" fmla="*/ 312 h 427"/>
                <a:gd name="T18" fmla="*/ 206 w 427"/>
                <a:gd name="T19" fmla="*/ 319 h 427"/>
                <a:gd name="T20" fmla="*/ 186 w 427"/>
                <a:gd name="T21" fmla="*/ 312 h 427"/>
                <a:gd name="T22" fmla="*/ 179 w 427"/>
                <a:gd name="T23" fmla="*/ 293 h 427"/>
                <a:gd name="T24" fmla="*/ 186 w 427"/>
                <a:gd name="T25" fmla="*/ 274 h 427"/>
                <a:gd name="T26" fmla="*/ 206 w 427"/>
                <a:gd name="T27" fmla="*/ 267 h 427"/>
                <a:gd name="T28" fmla="*/ 225 w 427"/>
                <a:gd name="T29" fmla="*/ 274 h 427"/>
                <a:gd name="T30" fmla="*/ 232 w 427"/>
                <a:gd name="T31" fmla="*/ 293 h 427"/>
                <a:gd name="T32" fmla="*/ 225 w 427"/>
                <a:gd name="T33" fmla="*/ 312 h 427"/>
                <a:gd name="T34" fmla="*/ 225 w 427"/>
                <a:gd name="T35" fmla="*/ 312 h 427"/>
                <a:gd name="T36" fmla="*/ 302 w 427"/>
                <a:gd name="T37" fmla="*/ 0 h 427"/>
                <a:gd name="T38" fmla="*/ 302 w 427"/>
                <a:gd name="T39" fmla="*/ 0 h 427"/>
                <a:gd name="T40" fmla="*/ 125 w 427"/>
                <a:gd name="T41" fmla="*/ 0 h 427"/>
                <a:gd name="T42" fmla="*/ 0 w 427"/>
                <a:gd name="T43" fmla="*/ 125 h 427"/>
                <a:gd name="T44" fmla="*/ 0 w 427"/>
                <a:gd name="T45" fmla="*/ 302 h 427"/>
                <a:gd name="T46" fmla="*/ 125 w 427"/>
                <a:gd name="T47" fmla="*/ 427 h 427"/>
                <a:gd name="T48" fmla="*/ 302 w 427"/>
                <a:gd name="T49" fmla="*/ 427 h 427"/>
                <a:gd name="T50" fmla="*/ 427 w 427"/>
                <a:gd name="T51" fmla="*/ 302 h 427"/>
                <a:gd name="T52" fmla="*/ 427 w 427"/>
                <a:gd name="T53" fmla="*/ 125 h 427"/>
                <a:gd name="T54" fmla="*/ 302 w 427"/>
                <a:gd name="T55" fmla="*/ 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7" h="427">
                  <a:moveTo>
                    <a:pt x="225" y="241"/>
                  </a:moveTo>
                  <a:lnTo>
                    <a:pt x="225" y="241"/>
                  </a:lnTo>
                  <a:lnTo>
                    <a:pt x="188" y="241"/>
                  </a:lnTo>
                  <a:lnTo>
                    <a:pt x="180" y="93"/>
                  </a:lnTo>
                  <a:lnTo>
                    <a:pt x="232" y="93"/>
                  </a:lnTo>
                  <a:lnTo>
                    <a:pt x="225" y="241"/>
                  </a:lnTo>
                  <a:lnTo>
                    <a:pt x="225" y="241"/>
                  </a:lnTo>
                  <a:close/>
                  <a:moveTo>
                    <a:pt x="225" y="312"/>
                  </a:moveTo>
                  <a:lnTo>
                    <a:pt x="225" y="312"/>
                  </a:lnTo>
                  <a:cubicBezTo>
                    <a:pt x="221" y="316"/>
                    <a:pt x="214" y="319"/>
                    <a:pt x="206" y="319"/>
                  </a:cubicBezTo>
                  <a:cubicBezTo>
                    <a:pt x="197" y="319"/>
                    <a:pt x="191" y="316"/>
                    <a:pt x="186" y="312"/>
                  </a:cubicBezTo>
                  <a:cubicBezTo>
                    <a:pt x="182" y="307"/>
                    <a:pt x="179" y="301"/>
                    <a:pt x="179" y="293"/>
                  </a:cubicBezTo>
                  <a:cubicBezTo>
                    <a:pt x="179" y="284"/>
                    <a:pt x="181" y="278"/>
                    <a:pt x="186" y="274"/>
                  </a:cubicBezTo>
                  <a:cubicBezTo>
                    <a:pt x="191" y="269"/>
                    <a:pt x="197" y="267"/>
                    <a:pt x="206" y="267"/>
                  </a:cubicBezTo>
                  <a:cubicBezTo>
                    <a:pt x="214" y="267"/>
                    <a:pt x="221" y="269"/>
                    <a:pt x="225" y="274"/>
                  </a:cubicBezTo>
                  <a:cubicBezTo>
                    <a:pt x="230" y="278"/>
                    <a:pt x="232" y="285"/>
                    <a:pt x="232" y="293"/>
                  </a:cubicBezTo>
                  <a:cubicBezTo>
                    <a:pt x="232" y="301"/>
                    <a:pt x="230" y="307"/>
                    <a:pt x="225" y="312"/>
                  </a:cubicBezTo>
                  <a:lnTo>
                    <a:pt x="225" y="312"/>
                  </a:lnTo>
                  <a:close/>
                  <a:moveTo>
                    <a:pt x="302" y="0"/>
                  </a:moveTo>
                  <a:lnTo>
                    <a:pt x="302" y="0"/>
                  </a:lnTo>
                  <a:lnTo>
                    <a:pt x="125" y="0"/>
                  </a:lnTo>
                  <a:lnTo>
                    <a:pt x="0" y="125"/>
                  </a:lnTo>
                  <a:lnTo>
                    <a:pt x="0" y="302"/>
                  </a:lnTo>
                  <a:lnTo>
                    <a:pt x="125" y="427"/>
                  </a:lnTo>
                  <a:lnTo>
                    <a:pt x="302" y="427"/>
                  </a:lnTo>
                  <a:lnTo>
                    <a:pt x="427" y="302"/>
                  </a:lnTo>
                  <a:lnTo>
                    <a:pt x="427" y="125"/>
                  </a:lnTo>
                  <a:lnTo>
                    <a:pt x="302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529A2431-B51A-C40D-7086-64B8B82986C0}"/>
              </a:ext>
            </a:extLst>
          </p:cNvPr>
          <p:cNvGrpSpPr/>
          <p:nvPr/>
        </p:nvGrpSpPr>
        <p:grpSpPr>
          <a:xfrm>
            <a:off x="2146190" y="3204383"/>
            <a:ext cx="612775" cy="612775"/>
            <a:chOff x="2301876" y="3267075"/>
            <a:chExt cx="612775" cy="612775"/>
          </a:xfrm>
        </p:grpSpPr>
        <p:sp>
          <p:nvSpPr>
            <p:cNvPr id="72" name="Freeform 27">
              <a:extLst>
                <a:ext uri="{FF2B5EF4-FFF2-40B4-BE49-F238E27FC236}">
                  <a16:creationId xmlns:a16="http://schemas.microsoft.com/office/drawing/2014/main" id="{E65F875F-63A8-B376-1ED5-CF9064C8CA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9663" y="3343275"/>
              <a:ext cx="460375" cy="460375"/>
            </a:xfrm>
            <a:custGeom>
              <a:avLst/>
              <a:gdLst>
                <a:gd name="T0" fmla="*/ 454 w 637"/>
                <a:gd name="T1" fmla="*/ 409 h 637"/>
                <a:gd name="T2" fmla="*/ 454 w 637"/>
                <a:gd name="T3" fmla="*/ 409 h 637"/>
                <a:gd name="T4" fmla="*/ 426 w 637"/>
                <a:gd name="T5" fmla="*/ 467 h 637"/>
                <a:gd name="T6" fmla="*/ 353 w 637"/>
                <a:gd name="T7" fmla="*/ 491 h 637"/>
                <a:gd name="T8" fmla="*/ 353 w 637"/>
                <a:gd name="T9" fmla="*/ 534 h 637"/>
                <a:gd name="T10" fmla="*/ 291 w 637"/>
                <a:gd name="T11" fmla="*/ 534 h 637"/>
                <a:gd name="T12" fmla="*/ 291 w 637"/>
                <a:gd name="T13" fmla="*/ 491 h 637"/>
                <a:gd name="T14" fmla="*/ 215 w 637"/>
                <a:gd name="T15" fmla="*/ 463 h 637"/>
                <a:gd name="T16" fmla="*/ 188 w 637"/>
                <a:gd name="T17" fmla="*/ 385 h 637"/>
                <a:gd name="T18" fmla="*/ 250 w 637"/>
                <a:gd name="T19" fmla="*/ 385 h 637"/>
                <a:gd name="T20" fmla="*/ 262 w 637"/>
                <a:gd name="T21" fmla="*/ 422 h 637"/>
                <a:gd name="T22" fmla="*/ 295 w 637"/>
                <a:gd name="T23" fmla="*/ 436 h 637"/>
                <a:gd name="T24" fmla="*/ 346 w 637"/>
                <a:gd name="T25" fmla="*/ 436 h 637"/>
                <a:gd name="T26" fmla="*/ 378 w 637"/>
                <a:gd name="T27" fmla="*/ 427 h 637"/>
                <a:gd name="T28" fmla="*/ 391 w 637"/>
                <a:gd name="T29" fmla="*/ 405 h 637"/>
                <a:gd name="T30" fmla="*/ 391 w 637"/>
                <a:gd name="T31" fmla="*/ 389 h 637"/>
                <a:gd name="T32" fmla="*/ 358 w 637"/>
                <a:gd name="T33" fmla="*/ 362 h 637"/>
                <a:gd name="T34" fmla="*/ 274 w 637"/>
                <a:gd name="T35" fmla="*/ 347 h 637"/>
                <a:gd name="T36" fmla="*/ 212 w 637"/>
                <a:gd name="T37" fmla="*/ 321 h 637"/>
                <a:gd name="T38" fmla="*/ 191 w 637"/>
                <a:gd name="T39" fmla="*/ 272 h 637"/>
                <a:gd name="T40" fmla="*/ 191 w 637"/>
                <a:gd name="T41" fmla="*/ 246 h 637"/>
                <a:gd name="T42" fmla="*/ 203 w 637"/>
                <a:gd name="T43" fmla="*/ 205 h 637"/>
                <a:gd name="T44" fmla="*/ 239 w 637"/>
                <a:gd name="T45" fmla="*/ 176 h 637"/>
                <a:gd name="T46" fmla="*/ 291 w 637"/>
                <a:gd name="T47" fmla="*/ 165 h 637"/>
                <a:gd name="T48" fmla="*/ 291 w 637"/>
                <a:gd name="T49" fmla="*/ 122 h 637"/>
                <a:gd name="T50" fmla="*/ 353 w 637"/>
                <a:gd name="T51" fmla="*/ 122 h 637"/>
                <a:gd name="T52" fmla="*/ 353 w 637"/>
                <a:gd name="T53" fmla="*/ 165 h 637"/>
                <a:gd name="T54" fmla="*/ 422 w 637"/>
                <a:gd name="T55" fmla="*/ 194 h 637"/>
                <a:gd name="T56" fmla="*/ 448 w 637"/>
                <a:gd name="T57" fmla="*/ 263 h 637"/>
                <a:gd name="T58" fmla="*/ 386 w 637"/>
                <a:gd name="T59" fmla="*/ 263 h 637"/>
                <a:gd name="T60" fmla="*/ 375 w 637"/>
                <a:gd name="T61" fmla="*/ 232 h 637"/>
                <a:gd name="T62" fmla="*/ 348 w 637"/>
                <a:gd name="T63" fmla="*/ 221 h 637"/>
                <a:gd name="T64" fmla="*/ 296 w 637"/>
                <a:gd name="T65" fmla="*/ 221 h 637"/>
                <a:gd name="T66" fmla="*/ 265 w 637"/>
                <a:gd name="T67" fmla="*/ 229 h 637"/>
                <a:gd name="T68" fmla="*/ 254 w 637"/>
                <a:gd name="T69" fmla="*/ 251 h 637"/>
                <a:gd name="T70" fmla="*/ 254 w 637"/>
                <a:gd name="T71" fmla="*/ 263 h 637"/>
                <a:gd name="T72" fmla="*/ 285 w 637"/>
                <a:gd name="T73" fmla="*/ 291 h 637"/>
                <a:gd name="T74" fmla="*/ 369 w 637"/>
                <a:gd name="T75" fmla="*/ 306 h 637"/>
                <a:gd name="T76" fmla="*/ 432 w 637"/>
                <a:gd name="T77" fmla="*/ 332 h 637"/>
                <a:gd name="T78" fmla="*/ 454 w 637"/>
                <a:gd name="T79" fmla="*/ 379 h 637"/>
                <a:gd name="T80" fmla="*/ 454 w 637"/>
                <a:gd name="T81" fmla="*/ 409 h 637"/>
                <a:gd name="T82" fmla="*/ 454 w 637"/>
                <a:gd name="T83" fmla="*/ 409 h 637"/>
                <a:gd name="T84" fmla="*/ 319 w 637"/>
                <a:gd name="T85" fmla="*/ 0 h 637"/>
                <a:gd name="T86" fmla="*/ 319 w 637"/>
                <a:gd name="T87" fmla="*/ 0 h 637"/>
                <a:gd name="T88" fmla="*/ 0 w 637"/>
                <a:gd name="T89" fmla="*/ 318 h 637"/>
                <a:gd name="T90" fmla="*/ 319 w 637"/>
                <a:gd name="T91" fmla="*/ 637 h 637"/>
                <a:gd name="T92" fmla="*/ 637 w 637"/>
                <a:gd name="T93" fmla="*/ 318 h 637"/>
                <a:gd name="T94" fmla="*/ 319 w 637"/>
                <a:gd name="T95" fmla="*/ 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37" h="637">
                  <a:moveTo>
                    <a:pt x="454" y="409"/>
                  </a:moveTo>
                  <a:lnTo>
                    <a:pt x="454" y="409"/>
                  </a:lnTo>
                  <a:cubicBezTo>
                    <a:pt x="454" y="433"/>
                    <a:pt x="445" y="452"/>
                    <a:pt x="426" y="467"/>
                  </a:cubicBezTo>
                  <a:cubicBezTo>
                    <a:pt x="408" y="482"/>
                    <a:pt x="384" y="490"/>
                    <a:pt x="353" y="491"/>
                  </a:cubicBezTo>
                  <a:lnTo>
                    <a:pt x="353" y="534"/>
                  </a:lnTo>
                  <a:lnTo>
                    <a:pt x="291" y="534"/>
                  </a:lnTo>
                  <a:lnTo>
                    <a:pt x="291" y="491"/>
                  </a:lnTo>
                  <a:cubicBezTo>
                    <a:pt x="259" y="491"/>
                    <a:pt x="233" y="482"/>
                    <a:pt x="215" y="463"/>
                  </a:cubicBezTo>
                  <a:cubicBezTo>
                    <a:pt x="197" y="444"/>
                    <a:pt x="188" y="418"/>
                    <a:pt x="188" y="385"/>
                  </a:cubicBezTo>
                  <a:lnTo>
                    <a:pt x="250" y="385"/>
                  </a:lnTo>
                  <a:cubicBezTo>
                    <a:pt x="250" y="401"/>
                    <a:pt x="254" y="413"/>
                    <a:pt x="262" y="422"/>
                  </a:cubicBezTo>
                  <a:cubicBezTo>
                    <a:pt x="270" y="431"/>
                    <a:pt x="281" y="436"/>
                    <a:pt x="295" y="436"/>
                  </a:cubicBezTo>
                  <a:lnTo>
                    <a:pt x="346" y="436"/>
                  </a:lnTo>
                  <a:cubicBezTo>
                    <a:pt x="359" y="436"/>
                    <a:pt x="370" y="433"/>
                    <a:pt x="378" y="427"/>
                  </a:cubicBezTo>
                  <a:cubicBezTo>
                    <a:pt x="387" y="422"/>
                    <a:pt x="391" y="414"/>
                    <a:pt x="391" y="405"/>
                  </a:cubicBezTo>
                  <a:lnTo>
                    <a:pt x="391" y="389"/>
                  </a:lnTo>
                  <a:cubicBezTo>
                    <a:pt x="391" y="374"/>
                    <a:pt x="380" y="365"/>
                    <a:pt x="358" y="362"/>
                  </a:cubicBezTo>
                  <a:lnTo>
                    <a:pt x="274" y="347"/>
                  </a:lnTo>
                  <a:cubicBezTo>
                    <a:pt x="247" y="343"/>
                    <a:pt x="226" y="334"/>
                    <a:pt x="212" y="321"/>
                  </a:cubicBezTo>
                  <a:cubicBezTo>
                    <a:pt x="198" y="308"/>
                    <a:pt x="191" y="292"/>
                    <a:pt x="191" y="272"/>
                  </a:cubicBezTo>
                  <a:lnTo>
                    <a:pt x="191" y="246"/>
                  </a:lnTo>
                  <a:cubicBezTo>
                    <a:pt x="191" y="231"/>
                    <a:pt x="195" y="217"/>
                    <a:pt x="203" y="205"/>
                  </a:cubicBezTo>
                  <a:cubicBezTo>
                    <a:pt x="212" y="193"/>
                    <a:pt x="223" y="183"/>
                    <a:pt x="239" y="176"/>
                  </a:cubicBezTo>
                  <a:cubicBezTo>
                    <a:pt x="254" y="169"/>
                    <a:pt x="271" y="165"/>
                    <a:pt x="291" y="165"/>
                  </a:cubicBezTo>
                  <a:lnTo>
                    <a:pt x="291" y="122"/>
                  </a:lnTo>
                  <a:lnTo>
                    <a:pt x="353" y="122"/>
                  </a:lnTo>
                  <a:lnTo>
                    <a:pt x="353" y="165"/>
                  </a:lnTo>
                  <a:cubicBezTo>
                    <a:pt x="382" y="167"/>
                    <a:pt x="405" y="176"/>
                    <a:pt x="422" y="194"/>
                  </a:cubicBezTo>
                  <a:cubicBezTo>
                    <a:pt x="439" y="211"/>
                    <a:pt x="448" y="235"/>
                    <a:pt x="448" y="263"/>
                  </a:cubicBezTo>
                  <a:lnTo>
                    <a:pt x="386" y="263"/>
                  </a:lnTo>
                  <a:cubicBezTo>
                    <a:pt x="386" y="250"/>
                    <a:pt x="382" y="240"/>
                    <a:pt x="375" y="232"/>
                  </a:cubicBezTo>
                  <a:cubicBezTo>
                    <a:pt x="368" y="225"/>
                    <a:pt x="359" y="221"/>
                    <a:pt x="348" y="221"/>
                  </a:cubicBezTo>
                  <a:lnTo>
                    <a:pt x="296" y="221"/>
                  </a:lnTo>
                  <a:cubicBezTo>
                    <a:pt x="283" y="221"/>
                    <a:pt x="273" y="223"/>
                    <a:pt x="265" y="229"/>
                  </a:cubicBezTo>
                  <a:cubicBezTo>
                    <a:pt x="258" y="234"/>
                    <a:pt x="254" y="242"/>
                    <a:pt x="254" y="251"/>
                  </a:cubicBezTo>
                  <a:lnTo>
                    <a:pt x="254" y="263"/>
                  </a:lnTo>
                  <a:cubicBezTo>
                    <a:pt x="254" y="278"/>
                    <a:pt x="264" y="288"/>
                    <a:pt x="285" y="291"/>
                  </a:cubicBezTo>
                  <a:lnTo>
                    <a:pt x="369" y="306"/>
                  </a:lnTo>
                  <a:cubicBezTo>
                    <a:pt x="396" y="311"/>
                    <a:pt x="417" y="319"/>
                    <a:pt x="432" y="332"/>
                  </a:cubicBezTo>
                  <a:cubicBezTo>
                    <a:pt x="446" y="344"/>
                    <a:pt x="454" y="360"/>
                    <a:pt x="454" y="379"/>
                  </a:cubicBezTo>
                  <a:lnTo>
                    <a:pt x="454" y="409"/>
                  </a:lnTo>
                  <a:lnTo>
                    <a:pt x="454" y="409"/>
                  </a:lnTo>
                  <a:close/>
                  <a:moveTo>
                    <a:pt x="319" y="0"/>
                  </a:moveTo>
                  <a:lnTo>
                    <a:pt x="319" y="0"/>
                  </a:lnTo>
                  <a:cubicBezTo>
                    <a:pt x="142" y="0"/>
                    <a:pt x="0" y="142"/>
                    <a:pt x="0" y="318"/>
                  </a:cubicBezTo>
                  <a:cubicBezTo>
                    <a:pt x="0" y="495"/>
                    <a:pt x="142" y="637"/>
                    <a:pt x="319" y="637"/>
                  </a:cubicBezTo>
                  <a:cubicBezTo>
                    <a:pt x="495" y="637"/>
                    <a:pt x="637" y="495"/>
                    <a:pt x="637" y="318"/>
                  </a:cubicBezTo>
                  <a:cubicBezTo>
                    <a:pt x="637" y="142"/>
                    <a:pt x="495" y="0"/>
                    <a:pt x="319" y="0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28">
              <a:extLst>
                <a:ext uri="{FF2B5EF4-FFF2-40B4-BE49-F238E27FC236}">
                  <a16:creationId xmlns:a16="http://schemas.microsoft.com/office/drawing/2014/main" id="{6C685BC0-CA58-8412-CAE6-BB3BC5242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1876" y="3570288"/>
              <a:ext cx="34925" cy="66675"/>
            </a:xfrm>
            <a:custGeom>
              <a:avLst/>
              <a:gdLst>
                <a:gd name="T0" fmla="*/ 0 w 48"/>
                <a:gd name="T1" fmla="*/ 0 h 92"/>
                <a:gd name="T2" fmla="*/ 0 w 48"/>
                <a:gd name="T3" fmla="*/ 2 h 92"/>
                <a:gd name="T4" fmla="*/ 0 w 48"/>
                <a:gd name="T5" fmla="*/ 2 h 92"/>
                <a:gd name="T6" fmla="*/ 0 w 48"/>
                <a:gd name="T7" fmla="*/ 3 h 92"/>
                <a:gd name="T8" fmla="*/ 0 w 48"/>
                <a:gd name="T9" fmla="*/ 3 h 92"/>
                <a:gd name="T10" fmla="*/ 0 w 48"/>
                <a:gd name="T11" fmla="*/ 4 h 92"/>
                <a:gd name="T12" fmla="*/ 0 w 48"/>
                <a:gd name="T13" fmla="*/ 4 h 92"/>
                <a:gd name="T14" fmla="*/ 0 w 48"/>
                <a:gd name="T15" fmla="*/ 4 h 92"/>
                <a:gd name="T16" fmla="*/ 0 w 48"/>
                <a:gd name="T17" fmla="*/ 5 h 92"/>
                <a:gd name="T18" fmla="*/ 0 w 48"/>
                <a:gd name="T19" fmla="*/ 5 h 92"/>
                <a:gd name="T20" fmla="*/ 0 w 48"/>
                <a:gd name="T21" fmla="*/ 5 h 92"/>
                <a:gd name="T22" fmla="*/ 0 w 48"/>
                <a:gd name="T23" fmla="*/ 6 h 92"/>
                <a:gd name="T24" fmla="*/ 0 w 48"/>
                <a:gd name="T25" fmla="*/ 6 h 92"/>
                <a:gd name="T26" fmla="*/ 0 w 48"/>
                <a:gd name="T27" fmla="*/ 7 h 92"/>
                <a:gd name="T28" fmla="*/ 0 w 48"/>
                <a:gd name="T29" fmla="*/ 7 h 92"/>
                <a:gd name="T30" fmla="*/ 0 w 48"/>
                <a:gd name="T31" fmla="*/ 7 h 92"/>
                <a:gd name="T32" fmla="*/ 0 w 48"/>
                <a:gd name="T33" fmla="*/ 8 h 92"/>
                <a:gd name="T34" fmla="*/ 0 w 48"/>
                <a:gd name="T35" fmla="*/ 8 h 92"/>
                <a:gd name="T36" fmla="*/ 0 w 48"/>
                <a:gd name="T37" fmla="*/ 8 h 92"/>
                <a:gd name="T38" fmla="*/ 0 w 48"/>
                <a:gd name="T39" fmla="*/ 9 h 92"/>
                <a:gd name="T40" fmla="*/ 0 w 48"/>
                <a:gd name="T41" fmla="*/ 9 h 92"/>
                <a:gd name="T42" fmla="*/ 0 w 48"/>
                <a:gd name="T43" fmla="*/ 9 h 92"/>
                <a:gd name="T44" fmla="*/ 0 w 48"/>
                <a:gd name="T45" fmla="*/ 10 h 92"/>
                <a:gd name="T46" fmla="*/ 0 w 48"/>
                <a:gd name="T47" fmla="*/ 10 h 92"/>
                <a:gd name="T48" fmla="*/ 0 w 48"/>
                <a:gd name="T49" fmla="*/ 10 h 92"/>
                <a:gd name="T50" fmla="*/ 0 w 48"/>
                <a:gd name="T51" fmla="*/ 11 h 92"/>
                <a:gd name="T52" fmla="*/ 0 w 48"/>
                <a:gd name="T53" fmla="*/ 11 h 92"/>
                <a:gd name="T54" fmla="*/ 0 w 48"/>
                <a:gd name="T55" fmla="*/ 12 h 92"/>
                <a:gd name="T56" fmla="*/ 0 w 48"/>
                <a:gd name="T57" fmla="*/ 12 h 92"/>
                <a:gd name="T58" fmla="*/ 0 w 48"/>
                <a:gd name="T59" fmla="*/ 12 h 92"/>
                <a:gd name="T60" fmla="*/ 0 w 48"/>
                <a:gd name="T61" fmla="*/ 13 h 92"/>
                <a:gd name="T62" fmla="*/ 0 w 48"/>
                <a:gd name="T63" fmla="*/ 13 h 92"/>
                <a:gd name="T64" fmla="*/ 0 w 48"/>
                <a:gd name="T65" fmla="*/ 14 h 92"/>
                <a:gd name="T66" fmla="*/ 0 w 48"/>
                <a:gd name="T67" fmla="*/ 14 h 92"/>
                <a:gd name="T68" fmla="*/ 0 w 48"/>
                <a:gd name="T69" fmla="*/ 14 h 92"/>
                <a:gd name="T70" fmla="*/ 0 w 48"/>
                <a:gd name="T71" fmla="*/ 15 h 92"/>
                <a:gd name="T72" fmla="*/ 0 w 48"/>
                <a:gd name="T73" fmla="*/ 15 h 92"/>
                <a:gd name="T74" fmla="*/ 0 w 48"/>
                <a:gd name="T75" fmla="*/ 15 h 92"/>
                <a:gd name="T76" fmla="*/ 0 w 48"/>
                <a:gd name="T77" fmla="*/ 16 h 92"/>
                <a:gd name="T78" fmla="*/ 0 w 48"/>
                <a:gd name="T79" fmla="*/ 16 h 92"/>
                <a:gd name="T80" fmla="*/ 0 w 48"/>
                <a:gd name="T81" fmla="*/ 17 h 92"/>
                <a:gd name="T82" fmla="*/ 0 w 48"/>
                <a:gd name="T83" fmla="*/ 17 h 92"/>
                <a:gd name="T84" fmla="*/ 0 w 48"/>
                <a:gd name="T85" fmla="*/ 18 h 92"/>
                <a:gd name="T86" fmla="*/ 0 w 48"/>
                <a:gd name="T87" fmla="*/ 18 h 92"/>
                <a:gd name="T88" fmla="*/ 0 w 48"/>
                <a:gd name="T89" fmla="*/ 18 h 92"/>
                <a:gd name="T90" fmla="*/ 0 w 48"/>
                <a:gd name="T91" fmla="*/ 19 h 92"/>
                <a:gd name="T92" fmla="*/ 0 w 48"/>
                <a:gd name="T93" fmla="*/ 19 h 92"/>
                <a:gd name="T94" fmla="*/ 0 w 48"/>
                <a:gd name="T95" fmla="*/ 19 h 92"/>
                <a:gd name="T96" fmla="*/ 0 w 48"/>
                <a:gd name="T97" fmla="*/ 20 h 92"/>
                <a:gd name="T98" fmla="*/ 0 w 48"/>
                <a:gd name="T99" fmla="*/ 21 h 92"/>
                <a:gd name="T100" fmla="*/ 0 w 48"/>
                <a:gd name="T101" fmla="*/ 22 h 92"/>
                <a:gd name="T102" fmla="*/ 0 w 48"/>
                <a:gd name="T103" fmla="*/ 22 h 92"/>
                <a:gd name="T104" fmla="*/ 0 w 48"/>
                <a:gd name="T105" fmla="*/ 22 h 92"/>
                <a:gd name="T106" fmla="*/ 0 w 48"/>
                <a:gd name="T107" fmla="*/ 23 h 92"/>
                <a:gd name="T108" fmla="*/ 0 w 48"/>
                <a:gd name="T109" fmla="*/ 23 h 92"/>
                <a:gd name="T110" fmla="*/ 0 w 48"/>
                <a:gd name="T111" fmla="*/ 23 h 92"/>
                <a:gd name="T112" fmla="*/ 0 w 48"/>
                <a:gd name="T113" fmla="*/ 24 h 92"/>
                <a:gd name="T114" fmla="*/ 0 w 48"/>
                <a:gd name="T115" fmla="*/ 27 h 92"/>
                <a:gd name="T116" fmla="*/ 0 w 48"/>
                <a:gd name="T117" fmla="*/ 27 h 92"/>
                <a:gd name="T118" fmla="*/ 9 w 48"/>
                <a:gd name="T11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" h="92">
                  <a:moveTo>
                    <a:pt x="40" y="3"/>
                  </a:moveTo>
                  <a:lnTo>
                    <a:pt x="40" y="3"/>
                  </a:lnTo>
                  <a:lnTo>
                    <a:pt x="40" y="1"/>
                  </a:lnTo>
                  <a:lnTo>
                    <a:pt x="0" y="0"/>
                  </a:ln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lnTo>
                    <a:pt x="0" y="21"/>
                  </a:lnTo>
                  <a:cubicBezTo>
                    <a:pt x="0" y="21"/>
                    <a:pt x="0" y="21"/>
                    <a:pt x="0" y="21"/>
                  </a:cubicBezTo>
                  <a:lnTo>
                    <a:pt x="0" y="21"/>
                  </a:lnTo>
                  <a:cubicBezTo>
                    <a:pt x="0" y="21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lnTo>
                    <a:pt x="0" y="24"/>
                  </a:lnTo>
                  <a:cubicBezTo>
                    <a:pt x="0" y="24"/>
                    <a:pt x="0" y="25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lnTo>
                    <a:pt x="0" y="27"/>
                  </a:ln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2" y="50"/>
                    <a:pt x="5" y="71"/>
                    <a:pt x="9" y="92"/>
                  </a:cubicBezTo>
                  <a:lnTo>
                    <a:pt x="48" y="84"/>
                  </a:lnTo>
                  <a:cubicBezTo>
                    <a:pt x="43" y="58"/>
                    <a:pt x="40" y="31"/>
                    <a:pt x="40" y="3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29">
              <a:extLst>
                <a:ext uri="{FF2B5EF4-FFF2-40B4-BE49-F238E27FC236}">
                  <a16:creationId xmlns:a16="http://schemas.microsoft.com/office/drawing/2014/main" id="{7229CDBC-9724-A2CD-9793-E045C48FA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2688" y="3281363"/>
              <a:ext cx="69850" cy="52388"/>
            </a:xfrm>
            <a:custGeom>
              <a:avLst/>
              <a:gdLst>
                <a:gd name="T0" fmla="*/ 97 w 97"/>
                <a:gd name="T1" fmla="*/ 38 h 72"/>
                <a:gd name="T2" fmla="*/ 97 w 97"/>
                <a:gd name="T3" fmla="*/ 38 h 72"/>
                <a:gd name="T4" fmla="*/ 85 w 97"/>
                <a:gd name="T5" fmla="*/ 0 h 72"/>
                <a:gd name="T6" fmla="*/ 0 w 97"/>
                <a:gd name="T7" fmla="*/ 38 h 72"/>
                <a:gd name="T8" fmla="*/ 20 w 97"/>
                <a:gd name="T9" fmla="*/ 72 h 72"/>
                <a:gd name="T10" fmla="*/ 97 w 97"/>
                <a:gd name="T11" fmla="*/ 3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72">
                  <a:moveTo>
                    <a:pt x="97" y="38"/>
                  </a:moveTo>
                  <a:lnTo>
                    <a:pt x="97" y="38"/>
                  </a:lnTo>
                  <a:lnTo>
                    <a:pt x="85" y="0"/>
                  </a:lnTo>
                  <a:cubicBezTo>
                    <a:pt x="55" y="9"/>
                    <a:pt x="27" y="22"/>
                    <a:pt x="0" y="38"/>
                  </a:cubicBezTo>
                  <a:lnTo>
                    <a:pt x="20" y="72"/>
                  </a:lnTo>
                  <a:cubicBezTo>
                    <a:pt x="45" y="58"/>
                    <a:pt x="70" y="46"/>
                    <a:pt x="97" y="38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E189C76C-2988-02EA-5D5C-674B09EA1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7276" y="3390900"/>
              <a:ext cx="57150" cy="69850"/>
            </a:xfrm>
            <a:custGeom>
              <a:avLst/>
              <a:gdLst>
                <a:gd name="T0" fmla="*/ 46 w 78"/>
                <a:gd name="T1" fmla="*/ 0 h 97"/>
                <a:gd name="T2" fmla="*/ 37 w 78"/>
                <a:gd name="T3" fmla="*/ 13 h 97"/>
                <a:gd name="T4" fmla="*/ 37 w 78"/>
                <a:gd name="T5" fmla="*/ 13 h 97"/>
                <a:gd name="T6" fmla="*/ 37 w 78"/>
                <a:gd name="T7" fmla="*/ 13 h 97"/>
                <a:gd name="T8" fmla="*/ 37 w 78"/>
                <a:gd name="T9" fmla="*/ 14 h 97"/>
                <a:gd name="T10" fmla="*/ 37 w 78"/>
                <a:gd name="T11" fmla="*/ 14 h 97"/>
                <a:gd name="T12" fmla="*/ 36 w 78"/>
                <a:gd name="T13" fmla="*/ 14 h 97"/>
                <a:gd name="T14" fmla="*/ 36 w 78"/>
                <a:gd name="T15" fmla="*/ 14 h 97"/>
                <a:gd name="T16" fmla="*/ 36 w 78"/>
                <a:gd name="T17" fmla="*/ 15 h 97"/>
                <a:gd name="T18" fmla="*/ 36 w 78"/>
                <a:gd name="T19" fmla="*/ 15 h 97"/>
                <a:gd name="T20" fmla="*/ 36 w 78"/>
                <a:gd name="T21" fmla="*/ 15 h 97"/>
                <a:gd name="T22" fmla="*/ 35 w 78"/>
                <a:gd name="T23" fmla="*/ 16 h 97"/>
                <a:gd name="T24" fmla="*/ 35 w 78"/>
                <a:gd name="T25" fmla="*/ 16 h 97"/>
                <a:gd name="T26" fmla="*/ 35 w 78"/>
                <a:gd name="T27" fmla="*/ 16 h 97"/>
                <a:gd name="T28" fmla="*/ 35 w 78"/>
                <a:gd name="T29" fmla="*/ 16 h 97"/>
                <a:gd name="T30" fmla="*/ 35 w 78"/>
                <a:gd name="T31" fmla="*/ 17 h 97"/>
                <a:gd name="T32" fmla="*/ 34 w 78"/>
                <a:gd name="T33" fmla="*/ 17 h 97"/>
                <a:gd name="T34" fmla="*/ 34 w 78"/>
                <a:gd name="T35" fmla="*/ 17 h 97"/>
                <a:gd name="T36" fmla="*/ 34 w 78"/>
                <a:gd name="T37" fmla="*/ 17 h 97"/>
                <a:gd name="T38" fmla="*/ 34 w 78"/>
                <a:gd name="T39" fmla="*/ 18 h 97"/>
                <a:gd name="T40" fmla="*/ 34 w 78"/>
                <a:gd name="T41" fmla="*/ 18 h 97"/>
                <a:gd name="T42" fmla="*/ 34 w 78"/>
                <a:gd name="T43" fmla="*/ 18 h 97"/>
                <a:gd name="T44" fmla="*/ 34 w 78"/>
                <a:gd name="T45" fmla="*/ 18 h 97"/>
                <a:gd name="T46" fmla="*/ 33 w 78"/>
                <a:gd name="T47" fmla="*/ 19 h 97"/>
                <a:gd name="T48" fmla="*/ 33 w 78"/>
                <a:gd name="T49" fmla="*/ 19 h 97"/>
                <a:gd name="T50" fmla="*/ 33 w 78"/>
                <a:gd name="T51" fmla="*/ 19 h 97"/>
                <a:gd name="T52" fmla="*/ 33 w 78"/>
                <a:gd name="T53" fmla="*/ 19 h 97"/>
                <a:gd name="T54" fmla="*/ 33 w 78"/>
                <a:gd name="T55" fmla="*/ 20 h 97"/>
                <a:gd name="T56" fmla="*/ 33 w 78"/>
                <a:gd name="T57" fmla="*/ 20 h 97"/>
                <a:gd name="T58" fmla="*/ 33 w 78"/>
                <a:gd name="T59" fmla="*/ 20 h 97"/>
                <a:gd name="T60" fmla="*/ 32 w 78"/>
                <a:gd name="T61" fmla="*/ 20 h 97"/>
                <a:gd name="T62" fmla="*/ 32 w 78"/>
                <a:gd name="T63" fmla="*/ 20 h 97"/>
                <a:gd name="T64" fmla="*/ 32 w 78"/>
                <a:gd name="T65" fmla="*/ 21 h 97"/>
                <a:gd name="T66" fmla="*/ 32 w 78"/>
                <a:gd name="T67" fmla="*/ 21 h 97"/>
                <a:gd name="T68" fmla="*/ 32 w 78"/>
                <a:gd name="T69" fmla="*/ 21 h 97"/>
                <a:gd name="T70" fmla="*/ 32 w 78"/>
                <a:gd name="T71" fmla="*/ 21 h 97"/>
                <a:gd name="T72" fmla="*/ 31 w 78"/>
                <a:gd name="T73" fmla="*/ 22 h 97"/>
                <a:gd name="T74" fmla="*/ 31 w 78"/>
                <a:gd name="T75" fmla="*/ 22 h 97"/>
                <a:gd name="T76" fmla="*/ 31 w 78"/>
                <a:gd name="T77" fmla="*/ 22 h 97"/>
                <a:gd name="T78" fmla="*/ 31 w 78"/>
                <a:gd name="T79" fmla="*/ 22 h 97"/>
                <a:gd name="T80" fmla="*/ 31 w 78"/>
                <a:gd name="T81" fmla="*/ 23 h 97"/>
                <a:gd name="T82" fmla="*/ 31 w 78"/>
                <a:gd name="T83" fmla="*/ 23 h 97"/>
                <a:gd name="T84" fmla="*/ 30 w 78"/>
                <a:gd name="T85" fmla="*/ 23 h 97"/>
                <a:gd name="T86" fmla="*/ 30 w 78"/>
                <a:gd name="T87" fmla="*/ 24 h 97"/>
                <a:gd name="T88" fmla="*/ 30 w 78"/>
                <a:gd name="T89" fmla="*/ 24 h 97"/>
                <a:gd name="T90" fmla="*/ 30 w 78"/>
                <a:gd name="T91" fmla="*/ 24 h 97"/>
                <a:gd name="T92" fmla="*/ 30 w 78"/>
                <a:gd name="T93" fmla="*/ 24 h 97"/>
                <a:gd name="T94" fmla="*/ 29 w 78"/>
                <a:gd name="T95" fmla="*/ 25 h 97"/>
                <a:gd name="T96" fmla="*/ 29 w 78"/>
                <a:gd name="T97" fmla="*/ 25 h 97"/>
                <a:gd name="T98" fmla="*/ 29 w 78"/>
                <a:gd name="T99" fmla="*/ 26 h 97"/>
                <a:gd name="T100" fmla="*/ 28 w 78"/>
                <a:gd name="T101" fmla="*/ 26 h 97"/>
                <a:gd name="T102" fmla="*/ 28 w 78"/>
                <a:gd name="T103" fmla="*/ 27 h 97"/>
                <a:gd name="T104" fmla="*/ 0 w 78"/>
                <a:gd name="T105" fmla="*/ 8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8" h="97">
                  <a:moveTo>
                    <a:pt x="78" y="24"/>
                  </a:moveTo>
                  <a:lnTo>
                    <a:pt x="78" y="24"/>
                  </a:lnTo>
                  <a:lnTo>
                    <a:pt x="46" y="0"/>
                  </a:lnTo>
                  <a:cubicBezTo>
                    <a:pt x="43" y="4"/>
                    <a:pt x="41" y="8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8" y="12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lnTo>
                    <a:pt x="37" y="13"/>
                  </a:lnTo>
                  <a:cubicBezTo>
                    <a:pt x="37" y="13"/>
                    <a:pt x="37" y="13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5"/>
                    <a:pt x="36" y="15"/>
                  </a:cubicBezTo>
                  <a:lnTo>
                    <a:pt x="36" y="15"/>
                  </a:ln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5" y="15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3" y="18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lnTo>
                    <a:pt x="32" y="21"/>
                  </a:ln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lnTo>
                    <a:pt x="31" y="22"/>
                  </a:lnTo>
                  <a:cubicBezTo>
                    <a:pt x="31" y="22"/>
                    <a:pt x="31" y="23"/>
                    <a:pt x="31" y="23"/>
                  </a:cubicBezTo>
                  <a:lnTo>
                    <a:pt x="31" y="23"/>
                  </a:lnTo>
                  <a:cubicBezTo>
                    <a:pt x="31" y="23"/>
                    <a:pt x="31" y="23"/>
                    <a:pt x="31" y="23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1" y="23"/>
                    <a:pt x="31" y="23"/>
                    <a:pt x="31" y="23"/>
                  </a:cubicBezTo>
                  <a:lnTo>
                    <a:pt x="31" y="23"/>
                  </a:lnTo>
                  <a:cubicBezTo>
                    <a:pt x="31" y="23"/>
                    <a:pt x="31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lnTo>
                    <a:pt x="30" y="23"/>
                  </a:lnTo>
                  <a:cubicBezTo>
                    <a:pt x="30" y="23"/>
                    <a:pt x="30" y="23"/>
                    <a:pt x="30" y="23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30" y="24"/>
                  </a:lnTo>
                  <a:cubicBezTo>
                    <a:pt x="30" y="24"/>
                    <a:pt x="30" y="24"/>
                    <a:pt x="30" y="24"/>
                  </a:cubicBezTo>
                  <a:lnTo>
                    <a:pt x="30" y="24"/>
                  </a:ln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lnTo>
                    <a:pt x="29" y="25"/>
                  </a:ln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6"/>
                    <a:pt x="29" y="26"/>
                  </a:cubicBezTo>
                  <a:lnTo>
                    <a:pt x="29" y="26"/>
                  </a:lnTo>
                  <a:cubicBezTo>
                    <a:pt x="29" y="26"/>
                    <a:pt x="29" y="26"/>
                    <a:pt x="29" y="26"/>
                  </a:cubicBezTo>
                  <a:lnTo>
                    <a:pt x="29" y="26"/>
                  </a:lnTo>
                  <a:cubicBezTo>
                    <a:pt x="29" y="26"/>
                    <a:pt x="28" y="26"/>
                    <a:pt x="28" y="26"/>
                  </a:cubicBezTo>
                  <a:cubicBezTo>
                    <a:pt x="28" y="26"/>
                    <a:pt x="28" y="26"/>
                    <a:pt x="28" y="26"/>
                  </a:cubicBezTo>
                  <a:lnTo>
                    <a:pt x="28" y="27"/>
                  </a:lnTo>
                  <a:cubicBezTo>
                    <a:pt x="28" y="27"/>
                    <a:pt x="28" y="27"/>
                    <a:pt x="28" y="27"/>
                  </a:cubicBezTo>
                  <a:lnTo>
                    <a:pt x="28" y="27"/>
                  </a:lnTo>
                  <a:cubicBezTo>
                    <a:pt x="28" y="27"/>
                    <a:pt x="28" y="27"/>
                    <a:pt x="28" y="27"/>
                  </a:cubicBezTo>
                  <a:lnTo>
                    <a:pt x="28" y="27"/>
                  </a:lnTo>
                  <a:cubicBezTo>
                    <a:pt x="17" y="44"/>
                    <a:pt x="8" y="62"/>
                    <a:pt x="0" y="81"/>
                  </a:cubicBezTo>
                  <a:lnTo>
                    <a:pt x="36" y="97"/>
                  </a:lnTo>
                  <a:cubicBezTo>
                    <a:pt x="47" y="71"/>
                    <a:pt x="62" y="47"/>
                    <a:pt x="78" y="24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31">
              <a:extLst>
                <a:ext uri="{FF2B5EF4-FFF2-40B4-BE49-F238E27FC236}">
                  <a16:creationId xmlns:a16="http://schemas.microsoft.com/office/drawing/2014/main" id="{E876BC70-21E6-5052-EF8A-E0E9E997F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3463" y="3476625"/>
              <a:ext cx="41275" cy="68263"/>
            </a:xfrm>
            <a:custGeom>
              <a:avLst/>
              <a:gdLst>
                <a:gd name="T0" fmla="*/ 57 w 57"/>
                <a:gd name="T1" fmla="*/ 12 h 95"/>
                <a:gd name="T2" fmla="*/ 57 w 57"/>
                <a:gd name="T3" fmla="*/ 12 h 95"/>
                <a:gd name="T4" fmla="*/ 19 w 57"/>
                <a:gd name="T5" fmla="*/ 0 h 95"/>
                <a:gd name="T6" fmla="*/ 0 w 57"/>
                <a:gd name="T7" fmla="*/ 90 h 95"/>
                <a:gd name="T8" fmla="*/ 0 w 57"/>
                <a:gd name="T9" fmla="*/ 90 h 95"/>
                <a:gd name="T10" fmla="*/ 0 w 57"/>
                <a:gd name="T11" fmla="*/ 90 h 95"/>
                <a:gd name="T12" fmla="*/ 0 w 57"/>
                <a:gd name="T13" fmla="*/ 91 h 95"/>
                <a:gd name="T14" fmla="*/ 40 w 57"/>
                <a:gd name="T15" fmla="*/ 95 h 95"/>
                <a:gd name="T16" fmla="*/ 57 w 57"/>
                <a:gd name="T17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95">
                  <a:moveTo>
                    <a:pt x="57" y="12"/>
                  </a:moveTo>
                  <a:lnTo>
                    <a:pt x="57" y="12"/>
                  </a:lnTo>
                  <a:lnTo>
                    <a:pt x="19" y="0"/>
                  </a:lnTo>
                  <a:cubicBezTo>
                    <a:pt x="10" y="29"/>
                    <a:pt x="3" y="59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0"/>
                    <a:pt x="0" y="91"/>
                  </a:cubicBezTo>
                  <a:lnTo>
                    <a:pt x="40" y="95"/>
                  </a:lnTo>
                  <a:cubicBezTo>
                    <a:pt x="43" y="67"/>
                    <a:pt x="48" y="39"/>
                    <a:pt x="57" y="12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32">
              <a:extLst>
                <a:ext uri="{FF2B5EF4-FFF2-40B4-BE49-F238E27FC236}">
                  <a16:creationId xmlns:a16="http://schemas.microsoft.com/office/drawing/2014/main" id="{D75F06D6-ACAF-A331-850A-BE26CB59C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1588" y="3267075"/>
              <a:ext cx="76200" cy="34925"/>
            </a:xfrm>
            <a:custGeom>
              <a:avLst/>
              <a:gdLst>
                <a:gd name="T0" fmla="*/ 101 w 105"/>
                <a:gd name="T1" fmla="*/ 0 h 48"/>
                <a:gd name="T2" fmla="*/ 101 w 105"/>
                <a:gd name="T3" fmla="*/ 0 h 48"/>
                <a:gd name="T4" fmla="*/ 100 w 105"/>
                <a:gd name="T5" fmla="*/ 0 h 48"/>
                <a:gd name="T6" fmla="*/ 99 w 105"/>
                <a:gd name="T7" fmla="*/ 0 h 48"/>
                <a:gd name="T8" fmla="*/ 99 w 105"/>
                <a:gd name="T9" fmla="*/ 0 h 48"/>
                <a:gd name="T10" fmla="*/ 98 w 105"/>
                <a:gd name="T11" fmla="*/ 0 h 48"/>
                <a:gd name="T12" fmla="*/ 98 w 105"/>
                <a:gd name="T13" fmla="*/ 0 h 48"/>
                <a:gd name="T14" fmla="*/ 97 w 105"/>
                <a:gd name="T15" fmla="*/ 0 h 48"/>
                <a:gd name="T16" fmla="*/ 96 w 105"/>
                <a:gd name="T17" fmla="*/ 0 h 48"/>
                <a:gd name="T18" fmla="*/ 96 w 105"/>
                <a:gd name="T19" fmla="*/ 0 h 48"/>
                <a:gd name="T20" fmla="*/ 95 w 105"/>
                <a:gd name="T21" fmla="*/ 0 h 48"/>
                <a:gd name="T22" fmla="*/ 94 w 105"/>
                <a:gd name="T23" fmla="*/ 0 h 48"/>
                <a:gd name="T24" fmla="*/ 94 w 105"/>
                <a:gd name="T25" fmla="*/ 0 h 48"/>
                <a:gd name="T26" fmla="*/ 93 w 105"/>
                <a:gd name="T27" fmla="*/ 0 h 48"/>
                <a:gd name="T28" fmla="*/ 93 w 105"/>
                <a:gd name="T29" fmla="*/ 0 h 48"/>
                <a:gd name="T30" fmla="*/ 92 w 105"/>
                <a:gd name="T31" fmla="*/ 0 h 48"/>
                <a:gd name="T32" fmla="*/ 91 w 105"/>
                <a:gd name="T33" fmla="*/ 0 h 48"/>
                <a:gd name="T34" fmla="*/ 91 w 105"/>
                <a:gd name="T35" fmla="*/ 0 h 48"/>
                <a:gd name="T36" fmla="*/ 90 w 105"/>
                <a:gd name="T37" fmla="*/ 0 h 48"/>
                <a:gd name="T38" fmla="*/ 90 w 105"/>
                <a:gd name="T39" fmla="*/ 0 h 48"/>
                <a:gd name="T40" fmla="*/ 89 w 105"/>
                <a:gd name="T41" fmla="*/ 0 h 48"/>
                <a:gd name="T42" fmla="*/ 89 w 105"/>
                <a:gd name="T43" fmla="*/ 0 h 48"/>
                <a:gd name="T44" fmla="*/ 88 w 105"/>
                <a:gd name="T45" fmla="*/ 0 h 48"/>
                <a:gd name="T46" fmla="*/ 87 w 105"/>
                <a:gd name="T47" fmla="*/ 0 h 48"/>
                <a:gd name="T48" fmla="*/ 87 w 105"/>
                <a:gd name="T49" fmla="*/ 0 h 48"/>
                <a:gd name="T50" fmla="*/ 86 w 105"/>
                <a:gd name="T51" fmla="*/ 0 h 48"/>
                <a:gd name="T52" fmla="*/ 86 w 105"/>
                <a:gd name="T53" fmla="*/ 0 h 48"/>
                <a:gd name="T54" fmla="*/ 85 w 105"/>
                <a:gd name="T55" fmla="*/ 0 h 48"/>
                <a:gd name="T56" fmla="*/ 84 w 105"/>
                <a:gd name="T57" fmla="*/ 0 h 48"/>
                <a:gd name="T58" fmla="*/ 84 w 105"/>
                <a:gd name="T59" fmla="*/ 0 h 48"/>
                <a:gd name="T60" fmla="*/ 83 w 105"/>
                <a:gd name="T61" fmla="*/ 0 h 48"/>
                <a:gd name="T62" fmla="*/ 83 w 105"/>
                <a:gd name="T63" fmla="*/ 0 h 48"/>
                <a:gd name="T64" fmla="*/ 82 w 105"/>
                <a:gd name="T65" fmla="*/ 0 h 48"/>
                <a:gd name="T66" fmla="*/ 81 w 105"/>
                <a:gd name="T67" fmla="*/ 0 h 48"/>
                <a:gd name="T68" fmla="*/ 81 w 105"/>
                <a:gd name="T69" fmla="*/ 0 h 48"/>
                <a:gd name="T70" fmla="*/ 80 w 105"/>
                <a:gd name="T71" fmla="*/ 0 h 48"/>
                <a:gd name="T72" fmla="*/ 80 w 105"/>
                <a:gd name="T73" fmla="*/ 0 h 48"/>
                <a:gd name="T74" fmla="*/ 79 w 105"/>
                <a:gd name="T75" fmla="*/ 0 h 48"/>
                <a:gd name="T76" fmla="*/ 78 w 105"/>
                <a:gd name="T77" fmla="*/ 0 h 48"/>
                <a:gd name="T78" fmla="*/ 78 w 105"/>
                <a:gd name="T79" fmla="*/ 0 h 48"/>
                <a:gd name="T80" fmla="*/ 77 w 105"/>
                <a:gd name="T81" fmla="*/ 0 h 48"/>
                <a:gd name="T82" fmla="*/ 76 w 105"/>
                <a:gd name="T83" fmla="*/ 0 h 48"/>
                <a:gd name="T84" fmla="*/ 76 w 105"/>
                <a:gd name="T85" fmla="*/ 0 h 48"/>
                <a:gd name="T86" fmla="*/ 75 w 105"/>
                <a:gd name="T87" fmla="*/ 1 h 48"/>
                <a:gd name="T88" fmla="*/ 74 w 105"/>
                <a:gd name="T89" fmla="*/ 1 h 48"/>
                <a:gd name="T90" fmla="*/ 74 w 105"/>
                <a:gd name="T91" fmla="*/ 1 h 48"/>
                <a:gd name="T92" fmla="*/ 73 w 105"/>
                <a:gd name="T93" fmla="*/ 1 h 48"/>
                <a:gd name="T94" fmla="*/ 72 w 105"/>
                <a:gd name="T95" fmla="*/ 1 h 48"/>
                <a:gd name="T96" fmla="*/ 72 w 105"/>
                <a:gd name="T97" fmla="*/ 1 h 48"/>
                <a:gd name="T98" fmla="*/ 71 w 105"/>
                <a:gd name="T99" fmla="*/ 1 h 48"/>
                <a:gd name="T100" fmla="*/ 70 w 105"/>
                <a:gd name="T101" fmla="*/ 1 h 48"/>
                <a:gd name="T102" fmla="*/ 70 w 105"/>
                <a:gd name="T103" fmla="*/ 1 h 48"/>
                <a:gd name="T104" fmla="*/ 69 w 105"/>
                <a:gd name="T105" fmla="*/ 1 h 48"/>
                <a:gd name="T106" fmla="*/ 68 w 105"/>
                <a:gd name="T107" fmla="*/ 1 h 48"/>
                <a:gd name="T108" fmla="*/ 67 w 105"/>
                <a:gd name="T109" fmla="*/ 1 h 48"/>
                <a:gd name="T110" fmla="*/ 66 w 105"/>
                <a:gd name="T111" fmla="*/ 1 h 48"/>
                <a:gd name="T112" fmla="*/ 65 w 105"/>
                <a:gd name="T113" fmla="*/ 1 h 48"/>
                <a:gd name="T114" fmla="*/ 64 w 105"/>
                <a:gd name="T115" fmla="*/ 1 h 48"/>
                <a:gd name="T116" fmla="*/ 63 w 105"/>
                <a:gd name="T117" fmla="*/ 1 h 48"/>
                <a:gd name="T118" fmla="*/ 62 w 105"/>
                <a:gd name="T119" fmla="*/ 1 h 48"/>
                <a:gd name="T120" fmla="*/ 0 w 105"/>
                <a:gd name="T121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5" h="48">
                  <a:moveTo>
                    <a:pt x="92" y="39"/>
                  </a:moveTo>
                  <a:lnTo>
                    <a:pt x="92" y="39"/>
                  </a:lnTo>
                  <a:cubicBezTo>
                    <a:pt x="96" y="39"/>
                    <a:pt x="100" y="39"/>
                    <a:pt x="104" y="39"/>
                  </a:cubicBezTo>
                  <a:lnTo>
                    <a:pt x="105" y="0"/>
                  </a:lnTo>
                  <a:cubicBezTo>
                    <a:pt x="104" y="0"/>
                    <a:pt x="103" y="0"/>
                    <a:pt x="102" y="0"/>
                  </a:cubicBezTo>
                  <a:lnTo>
                    <a:pt x="101" y="0"/>
                  </a:lnTo>
                  <a:cubicBezTo>
                    <a:pt x="101" y="0"/>
                    <a:pt x="101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101" y="0"/>
                  </a:lnTo>
                  <a:cubicBezTo>
                    <a:pt x="101" y="0"/>
                    <a:pt x="101" y="0"/>
                    <a:pt x="101" y="0"/>
                  </a:cubicBezTo>
                  <a:lnTo>
                    <a:pt x="101" y="0"/>
                  </a:ln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6" y="0"/>
                  </a:cubicBezTo>
                  <a:lnTo>
                    <a:pt x="76" y="0"/>
                  </a:ln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76" y="0"/>
                    <a:pt x="76" y="0"/>
                  </a:cubicBezTo>
                  <a:lnTo>
                    <a:pt x="76" y="0"/>
                  </a:ln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"/>
                  </a:ln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lnTo>
                    <a:pt x="72" y="1"/>
                  </a:lnTo>
                  <a:cubicBezTo>
                    <a:pt x="72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lnTo>
                    <a:pt x="71" y="1"/>
                  </a:ln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0" y="1"/>
                    <a:pt x="70" y="1"/>
                  </a:cubicBezTo>
                  <a:lnTo>
                    <a:pt x="70" y="1"/>
                  </a:lnTo>
                  <a:cubicBezTo>
                    <a:pt x="70" y="1"/>
                    <a:pt x="70" y="1"/>
                    <a:pt x="70" y="1"/>
                  </a:cubicBezTo>
                  <a:lnTo>
                    <a:pt x="70" y="1"/>
                  </a:ln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lnTo>
                    <a:pt x="70" y="1"/>
                  </a:lnTo>
                  <a:cubicBezTo>
                    <a:pt x="70" y="1"/>
                    <a:pt x="70" y="1"/>
                    <a:pt x="70" y="1"/>
                  </a:cubicBezTo>
                  <a:cubicBezTo>
                    <a:pt x="69" y="1"/>
                    <a:pt x="70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lnTo>
                    <a:pt x="69" y="1"/>
                  </a:lnTo>
                  <a:cubicBezTo>
                    <a:pt x="69" y="1"/>
                    <a:pt x="69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9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lnTo>
                    <a:pt x="67" y="1"/>
                  </a:lnTo>
                  <a:cubicBezTo>
                    <a:pt x="67" y="1"/>
                    <a:pt x="67" y="1"/>
                    <a:pt x="66" y="1"/>
                  </a:cubicBezTo>
                  <a:lnTo>
                    <a:pt x="66" y="1"/>
                  </a:ln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lnTo>
                    <a:pt x="65" y="1"/>
                  </a:lnTo>
                  <a:cubicBezTo>
                    <a:pt x="65" y="1"/>
                    <a:pt x="65" y="1"/>
                    <a:pt x="64" y="1"/>
                  </a:cubicBezTo>
                  <a:cubicBezTo>
                    <a:pt x="64" y="1"/>
                    <a:pt x="64" y="1"/>
                    <a:pt x="64" y="1"/>
                  </a:cubicBezTo>
                  <a:lnTo>
                    <a:pt x="64" y="1"/>
                  </a:lnTo>
                  <a:cubicBezTo>
                    <a:pt x="64" y="1"/>
                    <a:pt x="64" y="1"/>
                    <a:pt x="64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1"/>
                    <a:pt x="64" y="1"/>
                    <a:pt x="64" y="1"/>
                  </a:cubicBezTo>
                  <a:lnTo>
                    <a:pt x="64" y="1"/>
                  </a:lnTo>
                  <a:cubicBezTo>
                    <a:pt x="64" y="1"/>
                    <a:pt x="64" y="1"/>
                    <a:pt x="63" y="1"/>
                  </a:cubicBezTo>
                  <a:lnTo>
                    <a:pt x="63" y="1"/>
                  </a:ln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2" y="1"/>
                    <a:pt x="62" y="1"/>
                  </a:cubicBezTo>
                  <a:lnTo>
                    <a:pt x="62" y="1"/>
                  </a:lnTo>
                  <a:cubicBezTo>
                    <a:pt x="62" y="1"/>
                    <a:pt x="62" y="1"/>
                    <a:pt x="61" y="1"/>
                  </a:cubicBezTo>
                  <a:cubicBezTo>
                    <a:pt x="61" y="1"/>
                    <a:pt x="61" y="1"/>
                    <a:pt x="61" y="1"/>
                  </a:cubicBezTo>
                  <a:lnTo>
                    <a:pt x="61" y="1"/>
                  </a:lnTo>
                  <a:cubicBezTo>
                    <a:pt x="61" y="1"/>
                    <a:pt x="61" y="1"/>
                    <a:pt x="61" y="1"/>
                  </a:cubicBezTo>
                  <a:cubicBezTo>
                    <a:pt x="60" y="1"/>
                    <a:pt x="58" y="1"/>
                    <a:pt x="57" y="2"/>
                  </a:cubicBezTo>
                  <a:cubicBezTo>
                    <a:pt x="38" y="3"/>
                    <a:pt x="19" y="6"/>
                    <a:pt x="0" y="9"/>
                  </a:cubicBezTo>
                  <a:lnTo>
                    <a:pt x="9" y="48"/>
                  </a:lnTo>
                  <a:cubicBezTo>
                    <a:pt x="36" y="42"/>
                    <a:pt x="64" y="39"/>
                    <a:pt x="92" y="39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33">
              <a:extLst>
                <a:ext uri="{FF2B5EF4-FFF2-40B4-BE49-F238E27FC236}">
                  <a16:creationId xmlns:a16="http://schemas.microsoft.com/office/drawing/2014/main" id="{A3E154FA-569B-29C0-50F9-8F4EAAFBD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9663" y="3324225"/>
              <a:ext cx="66675" cy="63500"/>
            </a:xfrm>
            <a:custGeom>
              <a:avLst/>
              <a:gdLst>
                <a:gd name="T0" fmla="*/ 69 w 92"/>
                <a:gd name="T1" fmla="*/ 0 h 89"/>
                <a:gd name="T2" fmla="*/ 68 w 92"/>
                <a:gd name="T3" fmla="*/ 1 h 89"/>
                <a:gd name="T4" fmla="*/ 67 w 92"/>
                <a:gd name="T5" fmla="*/ 1 h 89"/>
                <a:gd name="T6" fmla="*/ 67 w 92"/>
                <a:gd name="T7" fmla="*/ 2 h 89"/>
                <a:gd name="T8" fmla="*/ 66 w 92"/>
                <a:gd name="T9" fmla="*/ 2 h 89"/>
                <a:gd name="T10" fmla="*/ 66 w 92"/>
                <a:gd name="T11" fmla="*/ 2 h 89"/>
                <a:gd name="T12" fmla="*/ 66 w 92"/>
                <a:gd name="T13" fmla="*/ 2 h 89"/>
                <a:gd name="T14" fmla="*/ 66 w 92"/>
                <a:gd name="T15" fmla="*/ 3 h 89"/>
                <a:gd name="T16" fmla="*/ 65 w 92"/>
                <a:gd name="T17" fmla="*/ 3 h 89"/>
                <a:gd name="T18" fmla="*/ 65 w 92"/>
                <a:gd name="T19" fmla="*/ 3 h 89"/>
                <a:gd name="T20" fmla="*/ 65 w 92"/>
                <a:gd name="T21" fmla="*/ 3 h 89"/>
                <a:gd name="T22" fmla="*/ 65 w 92"/>
                <a:gd name="T23" fmla="*/ 3 h 89"/>
                <a:gd name="T24" fmla="*/ 65 w 92"/>
                <a:gd name="T25" fmla="*/ 4 h 89"/>
                <a:gd name="T26" fmla="*/ 64 w 92"/>
                <a:gd name="T27" fmla="*/ 4 h 89"/>
                <a:gd name="T28" fmla="*/ 64 w 92"/>
                <a:gd name="T29" fmla="*/ 4 h 89"/>
                <a:gd name="T30" fmla="*/ 64 w 92"/>
                <a:gd name="T31" fmla="*/ 4 h 89"/>
                <a:gd name="T32" fmla="*/ 64 w 92"/>
                <a:gd name="T33" fmla="*/ 4 h 89"/>
                <a:gd name="T34" fmla="*/ 63 w 92"/>
                <a:gd name="T35" fmla="*/ 4 h 89"/>
                <a:gd name="T36" fmla="*/ 63 w 92"/>
                <a:gd name="T37" fmla="*/ 4 h 89"/>
                <a:gd name="T38" fmla="*/ 63 w 92"/>
                <a:gd name="T39" fmla="*/ 5 h 89"/>
                <a:gd name="T40" fmla="*/ 63 w 92"/>
                <a:gd name="T41" fmla="*/ 5 h 89"/>
                <a:gd name="T42" fmla="*/ 63 w 92"/>
                <a:gd name="T43" fmla="*/ 5 h 89"/>
                <a:gd name="T44" fmla="*/ 62 w 92"/>
                <a:gd name="T45" fmla="*/ 5 h 89"/>
                <a:gd name="T46" fmla="*/ 62 w 92"/>
                <a:gd name="T47" fmla="*/ 5 h 89"/>
                <a:gd name="T48" fmla="*/ 62 w 92"/>
                <a:gd name="T49" fmla="*/ 5 h 89"/>
                <a:gd name="T50" fmla="*/ 62 w 92"/>
                <a:gd name="T51" fmla="*/ 6 h 89"/>
                <a:gd name="T52" fmla="*/ 61 w 92"/>
                <a:gd name="T53" fmla="*/ 6 h 89"/>
                <a:gd name="T54" fmla="*/ 61 w 92"/>
                <a:gd name="T55" fmla="*/ 6 h 89"/>
                <a:gd name="T56" fmla="*/ 61 w 92"/>
                <a:gd name="T57" fmla="*/ 6 h 89"/>
                <a:gd name="T58" fmla="*/ 61 w 92"/>
                <a:gd name="T59" fmla="*/ 6 h 89"/>
                <a:gd name="T60" fmla="*/ 61 w 92"/>
                <a:gd name="T61" fmla="*/ 6 h 89"/>
                <a:gd name="T62" fmla="*/ 60 w 92"/>
                <a:gd name="T63" fmla="*/ 7 h 89"/>
                <a:gd name="T64" fmla="*/ 60 w 92"/>
                <a:gd name="T65" fmla="*/ 7 h 89"/>
                <a:gd name="T66" fmla="*/ 60 w 92"/>
                <a:gd name="T67" fmla="*/ 7 h 89"/>
                <a:gd name="T68" fmla="*/ 60 w 92"/>
                <a:gd name="T69" fmla="*/ 7 h 89"/>
                <a:gd name="T70" fmla="*/ 60 w 92"/>
                <a:gd name="T71" fmla="*/ 7 h 89"/>
                <a:gd name="T72" fmla="*/ 59 w 92"/>
                <a:gd name="T73" fmla="*/ 7 h 89"/>
                <a:gd name="T74" fmla="*/ 59 w 92"/>
                <a:gd name="T75" fmla="*/ 8 h 89"/>
                <a:gd name="T76" fmla="*/ 59 w 92"/>
                <a:gd name="T77" fmla="*/ 8 h 89"/>
                <a:gd name="T78" fmla="*/ 59 w 92"/>
                <a:gd name="T79" fmla="*/ 8 h 89"/>
                <a:gd name="T80" fmla="*/ 58 w 92"/>
                <a:gd name="T81" fmla="*/ 8 h 89"/>
                <a:gd name="T82" fmla="*/ 58 w 92"/>
                <a:gd name="T83" fmla="*/ 9 h 89"/>
                <a:gd name="T84" fmla="*/ 58 w 92"/>
                <a:gd name="T85" fmla="*/ 9 h 89"/>
                <a:gd name="T86" fmla="*/ 57 w 92"/>
                <a:gd name="T87" fmla="*/ 9 h 89"/>
                <a:gd name="T88" fmla="*/ 57 w 92"/>
                <a:gd name="T89" fmla="*/ 9 h 89"/>
                <a:gd name="T90" fmla="*/ 56 w 92"/>
                <a:gd name="T91" fmla="*/ 10 h 89"/>
                <a:gd name="T92" fmla="*/ 56 w 92"/>
                <a:gd name="T93" fmla="*/ 10 h 89"/>
                <a:gd name="T94" fmla="*/ 56 w 92"/>
                <a:gd name="T95" fmla="*/ 10 h 89"/>
                <a:gd name="T96" fmla="*/ 54 w 92"/>
                <a:gd name="T97" fmla="*/ 12 h 89"/>
                <a:gd name="T98" fmla="*/ 53 w 92"/>
                <a:gd name="T99" fmla="*/ 12 h 89"/>
                <a:gd name="T100" fmla="*/ 30 w 92"/>
                <a:gd name="T101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" h="89">
                  <a:moveTo>
                    <a:pt x="92" y="33"/>
                  </a:moveTo>
                  <a:lnTo>
                    <a:pt x="92" y="33"/>
                  </a:lnTo>
                  <a:lnTo>
                    <a:pt x="69" y="0"/>
                  </a:lnTo>
                  <a:cubicBezTo>
                    <a:pt x="69" y="1"/>
                    <a:pt x="69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lnTo>
                    <a:pt x="68" y="1"/>
                  </a:lnTo>
                  <a:cubicBezTo>
                    <a:pt x="67" y="1"/>
                    <a:pt x="67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67" y="1"/>
                    <a:pt x="67" y="1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3"/>
                    <a:pt x="66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4"/>
                    <a:pt x="65" y="4"/>
                  </a:cubicBezTo>
                  <a:cubicBezTo>
                    <a:pt x="65" y="4"/>
                    <a:pt x="65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lnTo>
                    <a:pt x="63" y="5"/>
                  </a:ln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lnTo>
                    <a:pt x="61" y="6"/>
                  </a:ln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7"/>
                    <a:pt x="61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59" y="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7"/>
                    <a:pt x="59" y="7"/>
                    <a:pt x="59" y="7"/>
                  </a:cubicBezTo>
                  <a:lnTo>
                    <a:pt x="59" y="7"/>
                  </a:ln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lnTo>
                    <a:pt x="59" y="8"/>
                  </a:lnTo>
                  <a:cubicBezTo>
                    <a:pt x="59" y="8"/>
                    <a:pt x="58" y="8"/>
                    <a:pt x="58" y="8"/>
                  </a:cubicBezTo>
                  <a:lnTo>
                    <a:pt x="58" y="8"/>
                  </a:ln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lnTo>
                    <a:pt x="58" y="8"/>
                  </a:ln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lnTo>
                    <a:pt x="58" y="9"/>
                  </a:lnTo>
                  <a:cubicBezTo>
                    <a:pt x="58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10"/>
                    <a:pt x="57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lnTo>
                    <a:pt x="56" y="10"/>
                  </a:lnTo>
                  <a:cubicBezTo>
                    <a:pt x="56" y="10"/>
                    <a:pt x="56" y="10"/>
                    <a:pt x="56" y="10"/>
                  </a:cubicBezTo>
                  <a:lnTo>
                    <a:pt x="56" y="10"/>
                  </a:lnTo>
                  <a:cubicBezTo>
                    <a:pt x="55" y="10"/>
                    <a:pt x="55" y="11"/>
                    <a:pt x="55" y="11"/>
                  </a:cubicBezTo>
                  <a:lnTo>
                    <a:pt x="55" y="11"/>
                  </a:lnTo>
                  <a:cubicBezTo>
                    <a:pt x="54" y="11"/>
                    <a:pt x="54" y="12"/>
                    <a:pt x="54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3" y="12"/>
                    <a:pt x="53" y="12"/>
                    <a:pt x="53" y="12"/>
                  </a:cubicBezTo>
                  <a:lnTo>
                    <a:pt x="53" y="12"/>
                  </a:lnTo>
                  <a:cubicBezTo>
                    <a:pt x="53" y="13"/>
                    <a:pt x="53" y="13"/>
                    <a:pt x="53" y="13"/>
                  </a:cubicBezTo>
                  <a:cubicBezTo>
                    <a:pt x="34" y="28"/>
                    <a:pt x="16" y="45"/>
                    <a:pt x="0" y="63"/>
                  </a:cubicBezTo>
                  <a:lnTo>
                    <a:pt x="30" y="89"/>
                  </a:lnTo>
                  <a:cubicBezTo>
                    <a:pt x="49" y="68"/>
                    <a:pt x="70" y="49"/>
                    <a:pt x="92" y="33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4">
              <a:extLst>
                <a:ext uri="{FF2B5EF4-FFF2-40B4-BE49-F238E27FC236}">
                  <a16:creationId xmlns:a16="http://schemas.microsoft.com/office/drawing/2014/main" id="{9E5D9584-3A9B-E801-19EC-3B1EFDCC3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151" y="3424238"/>
              <a:ext cx="50800" cy="69850"/>
            </a:xfrm>
            <a:custGeom>
              <a:avLst/>
              <a:gdLst>
                <a:gd name="T0" fmla="*/ 66 w 71"/>
                <a:gd name="T1" fmla="*/ 69 h 97"/>
                <a:gd name="T2" fmla="*/ 65 w 71"/>
                <a:gd name="T3" fmla="*/ 67 h 97"/>
                <a:gd name="T4" fmla="*/ 64 w 71"/>
                <a:gd name="T5" fmla="*/ 64 h 97"/>
                <a:gd name="T6" fmla="*/ 63 w 71"/>
                <a:gd name="T7" fmla="*/ 62 h 97"/>
                <a:gd name="T8" fmla="*/ 62 w 71"/>
                <a:gd name="T9" fmla="*/ 60 h 97"/>
                <a:gd name="T10" fmla="*/ 62 w 71"/>
                <a:gd name="T11" fmla="*/ 58 h 97"/>
                <a:gd name="T12" fmla="*/ 61 w 71"/>
                <a:gd name="T13" fmla="*/ 57 h 97"/>
                <a:gd name="T14" fmla="*/ 61 w 71"/>
                <a:gd name="T15" fmla="*/ 56 h 97"/>
                <a:gd name="T16" fmla="*/ 60 w 71"/>
                <a:gd name="T17" fmla="*/ 54 h 97"/>
                <a:gd name="T18" fmla="*/ 60 w 71"/>
                <a:gd name="T19" fmla="*/ 53 h 97"/>
                <a:gd name="T20" fmla="*/ 60 w 71"/>
                <a:gd name="T21" fmla="*/ 52 h 97"/>
                <a:gd name="T22" fmla="*/ 59 w 71"/>
                <a:gd name="T23" fmla="*/ 51 h 97"/>
                <a:gd name="T24" fmla="*/ 59 w 71"/>
                <a:gd name="T25" fmla="*/ 50 h 97"/>
                <a:gd name="T26" fmla="*/ 58 w 71"/>
                <a:gd name="T27" fmla="*/ 49 h 97"/>
                <a:gd name="T28" fmla="*/ 58 w 71"/>
                <a:gd name="T29" fmla="*/ 48 h 97"/>
                <a:gd name="T30" fmla="*/ 57 w 71"/>
                <a:gd name="T31" fmla="*/ 47 h 97"/>
                <a:gd name="T32" fmla="*/ 57 w 71"/>
                <a:gd name="T33" fmla="*/ 46 h 97"/>
                <a:gd name="T34" fmla="*/ 56 w 71"/>
                <a:gd name="T35" fmla="*/ 45 h 97"/>
                <a:gd name="T36" fmla="*/ 56 w 71"/>
                <a:gd name="T37" fmla="*/ 43 h 97"/>
                <a:gd name="T38" fmla="*/ 56 w 71"/>
                <a:gd name="T39" fmla="*/ 42 h 97"/>
                <a:gd name="T40" fmla="*/ 55 w 71"/>
                <a:gd name="T41" fmla="*/ 41 h 97"/>
                <a:gd name="T42" fmla="*/ 55 w 71"/>
                <a:gd name="T43" fmla="*/ 40 h 97"/>
                <a:gd name="T44" fmla="*/ 54 w 71"/>
                <a:gd name="T45" fmla="*/ 40 h 97"/>
                <a:gd name="T46" fmla="*/ 54 w 71"/>
                <a:gd name="T47" fmla="*/ 39 h 97"/>
                <a:gd name="T48" fmla="*/ 54 w 71"/>
                <a:gd name="T49" fmla="*/ 38 h 97"/>
                <a:gd name="T50" fmla="*/ 53 w 71"/>
                <a:gd name="T51" fmla="*/ 37 h 97"/>
                <a:gd name="T52" fmla="*/ 53 w 71"/>
                <a:gd name="T53" fmla="*/ 36 h 97"/>
                <a:gd name="T54" fmla="*/ 52 w 71"/>
                <a:gd name="T55" fmla="*/ 35 h 97"/>
                <a:gd name="T56" fmla="*/ 52 w 71"/>
                <a:gd name="T57" fmla="*/ 34 h 97"/>
                <a:gd name="T58" fmla="*/ 52 w 71"/>
                <a:gd name="T59" fmla="*/ 33 h 97"/>
                <a:gd name="T60" fmla="*/ 51 w 71"/>
                <a:gd name="T61" fmla="*/ 32 h 97"/>
                <a:gd name="T62" fmla="*/ 51 w 71"/>
                <a:gd name="T63" fmla="*/ 31 h 97"/>
                <a:gd name="T64" fmla="*/ 50 w 71"/>
                <a:gd name="T65" fmla="*/ 31 h 97"/>
                <a:gd name="T66" fmla="*/ 50 w 71"/>
                <a:gd name="T67" fmla="*/ 30 h 97"/>
                <a:gd name="T68" fmla="*/ 49 w 71"/>
                <a:gd name="T69" fmla="*/ 28 h 97"/>
                <a:gd name="T70" fmla="*/ 49 w 71"/>
                <a:gd name="T71" fmla="*/ 27 h 97"/>
                <a:gd name="T72" fmla="*/ 49 w 71"/>
                <a:gd name="T73" fmla="*/ 27 h 97"/>
                <a:gd name="T74" fmla="*/ 48 w 71"/>
                <a:gd name="T75" fmla="*/ 25 h 97"/>
                <a:gd name="T76" fmla="*/ 48 w 71"/>
                <a:gd name="T77" fmla="*/ 24 h 97"/>
                <a:gd name="T78" fmla="*/ 47 w 71"/>
                <a:gd name="T79" fmla="*/ 23 h 97"/>
                <a:gd name="T80" fmla="*/ 47 w 71"/>
                <a:gd name="T81" fmla="*/ 23 h 97"/>
                <a:gd name="T82" fmla="*/ 46 w 71"/>
                <a:gd name="T83" fmla="*/ 21 h 97"/>
                <a:gd name="T84" fmla="*/ 46 w 71"/>
                <a:gd name="T85" fmla="*/ 20 h 97"/>
                <a:gd name="T86" fmla="*/ 45 w 71"/>
                <a:gd name="T87" fmla="*/ 19 h 97"/>
                <a:gd name="T88" fmla="*/ 44 w 71"/>
                <a:gd name="T89" fmla="*/ 18 h 97"/>
                <a:gd name="T90" fmla="*/ 44 w 71"/>
                <a:gd name="T91" fmla="*/ 17 h 97"/>
                <a:gd name="T92" fmla="*/ 43 w 71"/>
                <a:gd name="T93" fmla="*/ 16 h 97"/>
                <a:gd name="T94" fmla="*/ 43 w 71"/>
                <a:gd name="T95" fmla="*/ 15 h 97"/>
                <a:gd name="T96" fmla="*/ 42 w 71"/>
                <a:gd name="T97" fmla="*/ 13 h 97"/>
                <a:gd name="T98" fmla="*/ 42 w 71"/>
                <a:gd name="T99" fmla="*/ 12 h 97"/>
                <a:gd name="T100" fmla="*/ 41 w 71"/>
                <a:gd name="T101" fmla="*/ 11 h 97"/>
                <a:gd name="T102" fmla="*/ 40 w 71"/>
                <a:gd name="T103" fmla="*/ 10 h 97"/>
                <a:gd name="T104" fmla="*/ 40 w 71"/>
                <a:gd name="T105" fmla="*/ 9 h 97"/>
                <a:gd name="T106" fmla="*/ 39 w 71"/>
                <a:gd name="T107" fmla="*/ 8 h 97"/>
                <a:gd name="T108" fmla="*/ 39 w 71"/>
                <a:gd name="T109" fmla="*/ 7 h 97"/>
                <a:gd name="T110" fmla="*/ 38 w 71"/>
                <a:gd name="T111" fmla="*/ 6 h 97"/>
                <a:gd name="T112" fmla="*/ 38 w 71"/>
                <a:gd name="T113" fmla="*/ 5 h 97"/>
                <a:gd name="T114" fmla="*/ 37 w 71"/>
                <a:gd name="T115" fmla="*/ 4 h 97"/>
                <a:gd name="T116" fmla="*/ 37 w 71"/>
                <a:gd name="T117" fmla="*/ 4 h 97"/>
                <a:gd name="T118" fmla="*/ 36 w 71"/>
                <a:gd name="T119" fmla="*/ 3 h 97"/>
                <a:gd name="T120" fmla="*/ 36 w 71"/>
                <a:gd name="T121" fmla="*/ 2 h 97"/>
                <a:gd name="T122" fmla="*/ 35 w 71"/>
                <a:gd name="T123" fmla="*/ 1 h 97"/>
                <a:gd name="T124" fmla="*/ 35 w 71"/>
                <a:gd name="T12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1" h="97">
                  <a:moveTo>
                    <a:pt x="33" y="97"/>
                  </a:moveTo>
                  <a:lnTo>
                    <a:pt x="33" y="97"/>
                  </a:lnTo>
                  <a:lnTo>
                    <a:pt x="71" y="85"/>
                  </a:lnTo>
                  <a:cubicBezTo>
                    <a:pt x="70" y="81"/>
                    <a:pt x="69" y="78"/>
                    <a:pt x="67" y="74"/>
                  </a:cubicBezTo>
                  <a:lnTo>
                    <a:pt x="67" y="74"/>
                  </a:lnTo>
                  <a:cubicBezTo>
                    <a:pt x="67" y="74"/>
                    <a:pt x="67" y="74"/>
                    <a:pt x="67" y="74"/>
                  </a:cubicBezTo>
                  <a:lnTo>
                    <a:pt x="67" y="74"/>
                  </a:lnTo>
                  <a:cubicBezTo>
                    <a:pt x="67" y="72"/>
                    <a:pt x="66" y="71"/>
                    <a:pt x="66" y="70"/>
                  </a:cubicBezTo>
                  <a:lnTo>
                    <a:pt x="66" y="70"/>
                  </a:lnTo>
                  <a:cubicBezTo>
                    <a:pt x="66" y="69"/>
                    <a:pt x="66" y="69"/>
                    <a:pt x="66" y="69"/>
                  </a:cubicBezTo>
                  <a:lnTo>
                    <a:pt x="66" y="69"/>
                  </a:ln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lnTo>
                    <a:pt x="65" y="68"/>
                  </a:ln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5" y="67"/>
                    <a:pt x="65" y="67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5" y="66"/>
                    <a:pt x="64" y="65"/>
                  </a:cubicBezTo>
                  <a:lnTo>
                    <a:pt x="64" y="65"/>
                  </a:ln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lnTo>
                    <a:pt x="64" y="64"/>
                  </a:ln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3"/>
                    <a:pt x="64" y="63"/>
                    <a:pt x="64" y="63"/>
                  </a:cubicBezTo>
                  <a:lnTo>
                    <a:pt x="64" y="63"/>
                  </a:lnTo>
                  <a:cubicBezTo>
                    <a:pt x="64" y="63"/>
                    <a:pt x="63" y="63"/>
                    <a:pt x="63" y="63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3" y="63"/>
                    <a:pt x="63" y="63"/>
                    <a:pt x="63" y="62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2"/>
                    <a:pt x="63" y="62"/>
                    <a:pt x="63" y="62"/>
                  </a:cubicBezTo>
                  <a:lnTo>
                    <a:pt x="63" y="62"/>
                  </a:lnTo>
                  <a:cubicBezTo>
                    <a:pt x="63" y="62"/>
                    <a:pt x="63" y="62"/>
                    <a:pt x="63" y="61"/>
                  </a:cubicBezTo>
                  <a:lnTo>
                    <a:pt x="63" y="61"/>
                  </a:lnTo>
                  <a:cubicBezTo>
                    <a:pt x="63" y="61"/>
                    <a:pt x="63" y="61"/>
                    <a:pt x="63" y="61"/>
                  </a:cubicBezTo>
                  <a:lnTo>
                    <a:pt x="63" y="61"/>
                  </a:lnTo>
                  <a:cubicBezTo>
                    <a:pt x="63" y="61"/>
                    <a:pt x="63" y="61"/>
                    <a:pt x="63" y="61"/>
                  </a:cubicBezTo>
                  <a:lnTo>
                    <a:pt x="63" y="61"/>
                  </a:lnTo>
                  <a:cubicBezTo>
                    <a:pt x="63" y="61"/>
                    <a:pt x="63" y="61"/>
                    <a:pt x="63" y="61"/>
                  </a:cubicBezTo>
                  <a:lnTo>
                    <a:pt x="63" y="61"/>
                  </a:lnTo>
                  <a:cubicBezTo>
                    <a:pt x="63" y="61"/>
                    <a:pt x="63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lnTo>
                    <a:pt x="62" y="60"/>
                  </a:lnTo>
                  <a:cubicBezTo>
                    <a:pt x="62" y="60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lnTo>
                    <a:pt x="62" y="59"/>
                  </a:lnTo>
                  <a:cubicBezTo>
                    <a:pt x="62" y="59"/>
                    <a:pt x="62" y="58"/>
                    <a:pt x="62" y="58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2" y="58"/>
                    <a:pt x="62" y="58"/>
                    <a:pt x="62" y="58"/>
                  </a:cubicBezTo>
                  <a:lnTo>
                    <a:pt x="62" y="58"/>
                  </a:lnTo>
                  <a:cubicBezTo>
                    <a:pt x="62" y="58"/>
                    <a:pt x="62" y="58"/>
                    <a:pt x="62" y="58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2" y="58"/>
                    <a:pt x="62" y="58"/>
                    <a:pt x="62" y="58"/>
                  </a:cubicBezTo>
                  <a:lnTo>
                    <a:pt x="62" y="58"/>
                  </a:lnTo>
                  <a:cubicBezTo>
                    <a:pt x="62" y="58"/>
                    <a:pt x="62" y="58"/>
                    <a:pt x="62" y="58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2" y="58"/>
                    <a:pt x="62" y="57"/>
                    <a:pt x="62" y="57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62" y="57"/>
                    <a:pt x="61" y="57"/>
                    <a:pt x="61" y="57"/>
                  </a:cubicBezTo>
                  <a:lnTo>
                    <a:pt x="61" y="57"/>
                  </a:lnTo>
                  <a:cubicBezTo>
                    <a:pt x="61" y="57"/>
                    <a:pt x="61" y="57"/>
                    <a:pt x="61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57"/>
                    <a:pt x="61" y="57"/>
                    <a:pt x="61" y="57"/>
                  </a:cubicBezTo>
                  <a:lnTo>
                    <a:pt x="61" y="57"/>
                  </a:lnTo>
                  <a:cubicBezTo>
                    <a:pt x="61" y="57"/>
                    <a:pt x="61" y="57"/>
                    <a:pt x="61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56"/>
                    <a:pt x="61" y="56"/>
                    <a:pt x="61" y="56"/>
                  </a:cubicBezTo>
                  <a:lnTo>
                    <a:pt x="61" y="56"/>
                  </a:lnTo>
                  <a:cubicBezTo>
                    <a:pt x="61" y="56"/>
                    <a:pt x="61" y="56"/>
                    <a:pt x="61" y="56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61" y="56"/>
                    <a:pt x="61" y="56"/>
                    <a:pt x="61" y="5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5"/>
                    <a:pt x="60" y="55"/>
                    <a:pt x="60" y="54"/>
                  </a:cubicBezTo>
                  <a:lnTo>
                    <a:pt x="60" y="54"/>
                  </a:lnTo>
                  <a:cubicBezTo>
                    <a:pt x="60" y="54"/>
                    <a:pt x="60" y="54"/>
                    <a:pt x="60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60" y="54"/>
                    <a:pt x="60" y="54"/>
                    <a:pt x="60" y="54"/>
                  </a:cubicBezTo>
                  <a:lnTo>
                    <a:pt x="60" y="54"/>
                  </a:lnTo>
                  <a:cubicBezTo>
                    <a:pt x="60" y="54"/>
                    <a:pt x="60" y="54"/>
                    <a:pt x="60" y="53"/>
                  </a:cubicBezTo>
                  <a:cubicBezTo>
                    <a:pt x="60" y="53"/>
                    <a:pt x="60" y="53"/>
                    <a:pt x="60" y="53"/>
                  </a:cubicBezTo>
                  <a:lnTo>
                    <a:pt x="60" y="53"/>
                  </a:lnTo>
                  <a:cubicBezTo>
                    <a:pt x="60" y="53"/>
                    <a:pt x="60" y="53"/>
                    <a:pt x="60" y="53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60" y="53"/>
                    <a:pt x="60" y="53"/>
                    <a:pt x="60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2"/>
                    <a:pt x="60" y="52"/>
                    <a:pt x="60" y="52"/>
                  </a:cubicBezTo>
                  <a:lnTo>
                    <a:pt x="60" y="52"/>
                  </a:lnTo>
                  <a:cubicBezTo>
                    <a:pt x="60" y="52"/>
                    <a:pt x="60" y="52"/>
                    <a:pt x="60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59" y="52"/>
                    <a:pt x="59" y="52"/>
                    <a:pt x="59" y="52"/>
                  </a:cubicBezTo>
                  <a:lnTo>
                    <a:pt x="59" y="52"/>
                  </a:ln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1"/>
                    <a:pt x="59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1"/>
                    <a:pt x="59" y="51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8" y="50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8"/>
                    <a:pt x="58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8" y="47"/>
                    <a:pt x="57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7"/>
                    <a:pt x="57" y="46"/>
                    <a:pt x="57" y="46"/>
                  </a:cubicBezTo>
                  <a:lnTo>
                    <a:pt x="57" y="46"/>
                  </a:ln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lnTo>
                    <a:pt x="57" y="45"/>
                  </a:lnTo>
                  <a:cubicBezTo>
                    <a:pt x="57" y="45"/>
                    <a:pt x="57" y="45"/>
                    <a:pt x="57" y="45"/>
                  </a:cubicBezTo>
                  <a:lnTo>
                    <a:pt x="57" y="45"/>
                  </a:ln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6" y="45"/>
                    <a:pt x="56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lnTo>
                    <a:pt x="56" y="44"/>
                  </a:ln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2"/>
                    <a:pt x="56" y="42"/>
                    <a:pt x="56" y="42"/>
                  </a:cubicBezTo>
                  <a:lnTo>
                    <a:pt x="56" y="42"/>
                  </a:lnTo>
                  <a:cubicBezTo>
                    <a:pt x="56" y="42"/>
                    <a:pt x="56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lnTo>
                    <a:pt x="54" y="40"/>
                  </a:ln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3" y="38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2" y="35"/>
                    <a:pt x="52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4"/>
                    <a:pt x="48" y="24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lnTo>
                    <a:pt x="44" y="17"/>
                  </a:ln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4" y="17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43" y="16"/>
                    <a:pt x="43" y="16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3" y="16"/>
                    <a:pt x="43" y="16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4"/>
                    <a:pt x="43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4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lnTo>
                    <a:pt x="40" y="9"/>
                  </a:ln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lnTo>
                    <a:pt x="39" y="8"/>
                  </a:ln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0" y="19"/>
                  </a:lnTo>
                  <a:cubicBezTo>
                    <a:pt x="14" y="44"/>
                    <a:pt x="25" y="70"/>
                    <a:pt x="33" y="97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35">
              <a:extLst>
                <a:ext uri="{FF2B5EF4-FFF2-40B4-BE49-F238E27FC236}">
                  <a16:creationId xmlns:a16="http://schemas.microsoft.com/office/drawing/2014/main" id="{F3F9BE0A-C8C0-6846-5BFD-DCE503B2B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7176" y="3348038"/>
              <a:ext cx="63500" cy="68263"/>
            </a:xfrm>
            <a:custGeom>
              <a:avLst/>
              <a:gdLst>
                <a:gd name="T0" fmla="*/ 55 w 88"/>
                <a:gd name="T1" fmla="*/ 93 h 93"/>
                <a:gd name="T2" fmla="*/ 48 w 88"/>
                <a:gd name="T3" fmla="*/ 21 h 93"/>
                <a:gd name="T4" fmla="*/ 48 w 88"/>
                <a:gd name="T5" fmla="*/ 21 h 93"/>
                <a:gd name="T6" fmla="*/ 48 w 88"/>
                <a:gd name="T7" fmla="*/ 21 h 93"/>
                <a:gd name="T8" fmla="*/ 48 w 88"/>
                <a:gd name="T9" fmla="*/ 21 h 93"/>
                <a:gd name="T10" fmla="*/ 48 w 88"/>
                <a:gd name="T11" fmla="*/ 20 h 93"/>
                <a:gd name="T12" fmla="*/ 48 w 88"/>
                <a:gd name="T13" fmla="*/ 20 h 93"/>
                <a:gd name="T14" fmla="*/ 47 w 88"/>
                <a:gd name="T15" fmla="*/ 20 h 93"/>
                <a:gd name="T16" fmla="*/ 47 w 88"/>
                <a:gd name="T17" fmla="*/ 20 h 93"/>
                <a:gd name="T18" fmla="*/ 47 w 88"/>
                <a:gd name="T19" fmla="*/ 20 h 93"/>
                <a:gd name="T20" fmla="*/ 47 w 88"/>
                <a:gd name="T21" fmla="*/ 19 h 93"/>
                <a:gd name="T22" fmla="*/ 47 w 88"/>
                <a:gd name="T23" fmla="*/ 19 h 93"/>
                <a:gd name="T24" fmla="*/ 47 w 88"/>
                <a:gd name="T25" fmla="*/ 19 h 93"/>
                <a:gd name="T26" fmla="*/ 46 w 88"/>
                <a:gd name="T27" fmla="*/ 19 h 93"/>
                <a:gd name="T28" fmla="*/ 46 w 88"/>
                <a:gd name="T29" fmla="*/ 19 h 93"/>
                <a:gd name="T30" fmla="*/ 46 w 88"/>
                <a:gd name="T31" fmla="*/ 19 h 93"/>
                <a:gd name="T32" fmla="*/ 46 w 88"/>
                <a:gd name="T33" fmla="*/ 18 h 93"/>
                <a:gd name="T34" fmla="*/ 46 w 88"/>
                <a:gd name="T35" fmla="*/ 18 h 93"/>
                <a:gd name="T36" fmla="*/ 46 w 88"/>
                <a:gd name="T37" fmla="*/ 18 h 93"/>
                <a:gd name="T38" fmla="*/ 46 w 88"/>
                <a:gd name="T39" fmla="*/ 18 h 93"/>
                <a:gd name="T40" fmla="*/ 46 w 88"/>
                <a:gd name="T41" fmla="*/ 18 h 93"/>
                <a:gd name="T42" fmla="*/ 45 w 88"/>
                <a:gd name="T43" fmla="*/ 18 h 93"/>
                <a:gd name="T44" fmla="*/ 45 w 88"/>
                <a:gd name="T45" fmla="*/ 18 h 93"/>
                <a:gd name="T46" fmla="*/ 45 w 88"/>
                <a:gd name="T47" fmla="*/ 17 h 93"/>
                <a:gd name="T48" fmla="*/ 45 w 88"/>
                <a:gd name="T49" fmla="*/ 17 h 93"/>
                <a:gd name="T50" fmla="*/ 45 w 88"/>
                <a:gd name="T51" fmla="*/ 17 h 93"/>
                <a:gd name="T52" fmla="*/ 45 w 88"/>
                <a:gd name="T53" fmla="*/ 17 h 93"/>
                <a:gd name="T54" fmla="*/ 45 w 88"/>
                <a:gd name="T55" fmla="*/ 17 h 93"/>
                <a:gd name="T56" fmla="*/ 44 w 88"/>
                <a:gd name="T57" fmla="*/ 17 h 93"/>
                <a:gd name="T58" fmla="*/ 44 w 88"/>
                <a:gd name="T59" fmla="*/ 17 h 93"/>
                <a:gd name="T60" fmla="*/ 44 w 88"/>
                <a:gd name="T61" fmla="*/ 16 h 93"/>
                <a:gd name="T62" fmla="*/ 44 w 88"/>
                <a:gd name="T63" fmla="*/ 16 h 93"/>
                <a:gd name="T64" fmla="*/ 44 w 88"/>
                <a:gd name="T65" fmla="*/ 16 h 93"/>
                <a:gd name="T66" fmla="*/ 44 w 88"/>
                <a:gd name="T67" fmla="*/ 16 h 93"/>
                <a:gd name="T68" fmla="*/ 43 w 88"/>
                <a:gd name="T69" fmla="*/ 16 h 93"/>
                <a:gd name="T70" fmla="*/ 43 w 88"/>
                <a:gd name="T71" fmla="*/ 15 h 93"/>
                <a:gd name="T72" fmla="*/ 43 w 88"/>
                <a:gd name="T73" fmla="*/ 15 h 93"/>
                <a:gd name="T74" fmla="*/ 43 w 88"/>
                <a:gd name="T75" fmla="*/ 15 h 93"/>
                <a:gd name="T76" fmla="*/ 27 w 88"/>
                <a:gd name="T77" fmla="*/ 0 h 93"/>
                <a:gd name="T78" fmla="*/ 55 w 88"/>
                <a:gd name="T7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8" h="93">
                  <a:moveTo>
                    <a:pt x="55" y="93"/>
                  </a:moveTo>
                  <a:lnTo>
                    <a:pt x="55" y="93"/>
                  </a:lnTo>
                  <a:lnTo>
                    <a:pt x="88" y="70"/>
                  </a:lnTo>
                  <a:cubicBezTo>
                    <a:pt x="76" y="53"/>
                    <a:pt x="63" y="36"/>
                    <a:pt x="48" y="21"/>
                  </a:cubicBezTo>
                  <a:lnTo>
                    <a:pt x="48" y="21"/>
                  </a:lnTo>
                  <a:cubicBezTo>
                    <a:pt x="48" y="21"/>
                    <a:pt x="48" y="21"/>
                    <a:pt x="48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1"/>
                    <a:pt x="48" y="21"/>
                    <a:pt x="48" y="21"/>
                  </a:cubicBezTo>
                  <a:lnTo>
                    <a:pt x="48" y="21"/>
                  </a:lnTo>
                  <a:cubicBezTo>
                    <a:pt x="48" y="21"/>
                    <a:pt x="48" y="20"/>
                    <a:pt x="48" y="20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lnTo>
                    <a:pt x="47" y="20"/>
                  </a:lnTo>
                  <a:cubicBezTo>
                    <a:pt x="47" y="20"/>
                    <a:pt x="47" y="20"/>
                    <a:pt x="47" y="20"/>
                  </a:cubicBezTo>
                  <a:lnTo>
                    <a:pt x="47" y="20"/>
                  </a:ln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4" y="17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lnTo>
                    <a:pt x="44" y="17"/>
                  </a:lnTo>
                  <a:cubicBezTo>
                    <a:pt x="44" y="17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43" y="16"/>
                    <a:pt x="43" y="16"/>
                  </a:cubicBezTo>
                  <a:lnTo>
                    <a:pt x="43" y="16"/>
                  </a:ln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lnTo>
                    <a:pt x="43" y="15"/>
                  </a:lnTo>
                  <a:cubicBezTo>
                    <a:pt x="43" y="15"/>
                    <a:pt x="43" y="15"/>
                    <a:pt x="43" y="15"/>
                  </a:cubicBezTo>
                  <a:lnTo>
                    <a:pt x="43" y="15"/>
                  </a:lnTo>
                  <a:cubicBezTo>
                    <a:pt x="38" y="10"/>
                    <a:pt x="33" y="5"/>
                    <a:pt x="27" y="0"/>
                  </a:cubicBezTo>
                  <a:lnTo>
                    <a:pt x="0" y="29"/>
                  </a:lnTo>
                  <a:cubicBezTo>
                    <a:pt x="21" y="48"/>
                    <a:pt x="39" y="70"/>
                    <a:pt x="55" y="93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36">
              <a:extLst>
                <a:ext uri="{FF2B5EF4-FFF2-40B4-BE49-F238E27FC236}">
                  <a16:creationId xmlns:a16="http://schemas.microsoft.com/office/drawing/2014/main" id="{D8D05BAF-7E0C-7A11-20D1-47E31B99D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3295650"/>
              <a:ext cx="69850" cy="57150"/>
            </a:xfrm>
            <a:custGeom>
              <a:avLst/>
              <a:gdLst>
                <a:gd name="T0" fmla="*/ 60 w 96"/>
                <a:gd name="T1" fmla="*/ 23 h 80"/>
                <a:gd name="T2" fmla="*/ 59 w 96"/>
                <a:gd name="T3" fmla="*/ 23 h 80"/>
                <a:gd name="T4" fmla="*/ 58 w 96"/>
                <a:gd name="T5" fmla="*/ 22 h 80"/>
                <a:gd name="T6" fmla="*/ 58 w 96"/>
                <a:gd name="T7" fmla="*/ 22 h 80"/>
                <a:gd name="T8" fmla="*/ 57 w 96"/>
                <a:gd name="T9" fmla="*/ 21 h 80"/>
                <a:gd name="T10" fmla="*/ 57 w 96"/>
                <a:gd name="T11" fmla="*/ 21 h 80"/>
                <a:gd name="T12" fmla="*/ 56 w 96"/>
                <a:gd name="T13" fmla="*/ 21 h 80"/>
                <a:gd name="T14" fmla="*/ 56 w 96"/>
                <a:gd name="T15" fmla="*/ 21 h 80"/>
                <a:gd name="T16" fmla="*/ 55 w 96"/>
                <a:gd name="T17" fmla="*/ 21 h 80"/>
                <a:gd name="T18" fmla="*/ 55 w 96"/>
                <a:gd name="T19" fmla="*/ 20 h 80"/>
                <a:gd name="T20" fmla="*/ 55 w 96"/>
                <a:gd name="T21" fmla="*/ 20 h 80"/>
                <a:gd name="T22" fmla="*/ 54 w 96"/>
                <a:gd name="T23" fmla="*/ 20 h 80"/>
                <a:gd name="T24" fmla="*/ 54 w 96"/>
                <a:gd name="T25" fmla="*/ 20 h 80"/>
                <a:gd name="T26" fmla="*/ 54 w 96"/>
                <a:gd name="T27" fmla="*/ 20 h 80"/>
                <a:gd name="T28" fmla="*/ 54 w 96"/>
                <a:gd name="T29" fmla="*/ 19 h 80"/>
                <a:gd name="T30" fmla="*/ 53 w 96"/>
                <a:gd name="T31" fmla="*/ 19 h 80"/>
                <a:gd name="T32" fmla="*/ 53 w 96"/>
                <a:gd name="T33" fmla="*/ 19 h 80"/>
                <a:gd name="T34" fmla="*/ 52 w 96"/>
                <a:gd name="T35" fmla="*/ 19 h 80"/>
                <a:gd name="T36" fmla="*/ 52 w 96"/>
                <a:gd name="T37" fmla="*/ 19 h 80"/>
                <a:gd name="T38" fmla="*/ 52 w 96"/>
                <a:gd name="T39" fmla="*/ 19 h 80"/>
                <a:gd name="T40" fmla="*/ 52 w 96"/>
                <a:gd name="T41" fmla="*/ 18 h 80"/>
                <a:gd name="T42" fmla="*/ 51 w 96"/>
                <a:gd name="T43" fmla="*/ 18 h 80"/>
                <a:gd name="T44" fmla="*/ 51 w 96"/>
                <a:gd name="T45" fmla="*/ 18 h 80"/>
                <a:gd name="T46" fmla="*/ 51 w 96"/>
                <a:gd name="T47" fmla="*/ 18 h 80"/>
                <a:gd name="T48" fmla="*/ 51 w 96"/>
                <a:gd name="T49" fmla="*/ 18 h 80"/>
                <a:gd name="T50" fmla="*/ 50 w 96"/>
                <a:gd name="T51" fmla="*/ 18 h 80"/>
                <a:gd name="T52" fmla="*/ 50 w 96"/>
                <a:gd name="T53" fmla="*/ 17 h 80"/>
                <a:gd name="T54" fmla="*/ 50 w 96"/>
                <a:gd name="T55" fmla="*/ 17 h 80"/>
                <a:gd name="T56" fmla="*/ 50 w 96"/>
                <a:gd name="T57" fmla="*/ 17 h 80"/>
                <a:gd name="T58" fmla="*/ 49 w 96"/>
                <a:gd name="T59" fmla="*/ 17 h 80"/>
                <a:gd name="T60" fmla="*/ 49 w 96"/>
                <a:gd name="T61" fmla="*/ 17 h 80"/>
                <a:gd name="T62" fmla="*/ 49 w 96"/>
                <a:gd name="T63" fmla="*/ 17 h 80"/>
                <a:gd name="T64" fmla="*/ 48 w 96"/>
                <a:gd name="T65" fmla="*/ 16 h 80"/>
                <a:gd name="T66" fmla="*/ 48 w 96"/>
                <a:gd name="T67" fmla="*/ 16 h 80"/>
                <a:gd name="T68" fmla="*/ 48 w 96"/>
                <a:gd name="T69" fmla="*/ 16 h 80"/>
                <a:gd name="T70" fmla="*/ 48 w 96"/>
                <a:gd name="T71" fmla="*/ 16 h 80"/>
                <a:gd name="T72" fmla="*/ 47 w 96"/>
                <a:gd name="T73" fmla="*/ 16 h 80"/>
                <a:gd name="T74" fmla="*/ 47 w 96"/>
                <a:gd name="T75" fmla="*/ 16 h 80"/>
                <a:gd name="T76" fmla="*/ 47 w 96"/>
                <a:gd name="T77" fmla="*/ 16 h 80"/>
                <a:gd name="T78" fmla="*/ 47 w 96"/>
                <a:gd name="T79" fmla="*/ 15 h 80"/>
                <a:gd name="T80" fmla="*/ 46 w 96"/>
                <a:gd name="T81" fmla="*/ 15 h 80"/>
                <a:gd name="T82" fmla="*/ 46 w 96"/>
                <a:gd name="T83" fmla="*/ 15 h 80"/>
                <a:gd name="T84" fmla="*/ 46 w 96"/>
                <a:gd name="T85" fmla="*/ 15 h 80"/>
                <a:gd name="T86" fmla="*/ 45 w 96"/>
                <a:gd name="T87" fmla="*/ 15 h 80"/>
                <a:gd name="T88" fmla="*/ 45 w 96"/>
                <a:gd name="T89" fmla="*/ 15 h 80"/>
                <a:gd name="T90" fmla="*/ 45 w 96"/>
                <a:gd name="T91" fmla="*/ 14 h 80"/>
                <a:gd name="T92" fmla="*/ 45 w 96"/>
                <a:gd name="T93" fmla="*/ 14 h 80"/>
                <a:gd name="T94" fmla="*/ 44 w 96"/>
                <a:gd name="T95" fmla="*/ 14 h 80"/>
                <a:gd name="T96" fmla="*/ 44 w 96"/>
                <a:gd name="T97" fmla="*/ 14 h 80"/>
                <a:gd name="T98" fmla="*/ 44 w 96"/>
                <a:gd name="T99" fmla="*/ 14 h 80"/>
                <a:gd name="T100" fmla="*/ 43 w 96"/>
                <a:gd name="T101" fmla="*/ 13 h 80"/>
                <a:gd name="T102" fmla="*/ 43 w 96"/>
                <a:gd name="T103" fmla="*/ 13 h 80"/>
                <a:gd name="T104" fmla="*/ 43 w 96"/>
                <a:gd name="T105" fmla="*/ 13 h 80"/>
                <a:gd name="T106" fmla="*/ 42 w 96"/>
                <a:gd name="T107" fmla="*/ 13 h 80"/>
                <a:gd name="T108" fmla="*/ 42 w 96"/>
                <a:gd name="T109" fmla="*/ 13 h 80"/>
                <a:gd name="T110" fmla="*/ 41 w 96"/>
                <a:gd name="T111" fmla="*/ 12 h 80"/>
                <a:gd name="T112" fmla="*/ 40 w 96"/>
                <a:gd name="T113" fmla="*/ 12 h 80"/>
                <a:gd name="T114" fmla="*/ 38 w 96"/>
                <a:gd name="T115" fmla="*/ 11 h 80"/>
                <a:gd name="T116" fmla="*/ 72 w 96"/>
                <a:gd name="T1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80">
                  <a:moveTo>
                    <a:pt x="96" y="48"/>
                  </a:moveTo>
                  <a:lnTo>
                    <a:pt x="96" y="48"/>
                  </a:lnTo>
                  <a:cubicBezTo>
                    <a:pt x="84" y="39"/>
                    <a:pt x="73" y="31"/>
                    <a:pt x="60" y="23"/>
                  </a:cubicBezTo>
                  <a:lnTo>
                    <a:pt x="60" y="23"/>
                  </a:lnTo>
                  <a:cubicBezTo>
                    <a:pt x="60" y="23"/>
                    <a:pt x="59" y="23"/>
                    <a:pt x="59" y="23"/>
                  </a:cubicBezTo>
                  <a:lnTo>
                    <a:pt x="59" y="23"/>
                  </a:lnTo>
                  <a:cubicBezTo>
                    <a:pt x="59" y="23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lnTo>
                    <a:pt x="58" y="22"/>
                  </a:ln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lnTo>
                    <a:pt x="58" y="22"/>
                  </a:lnTo>
                  <a:cubicBezTo>
                    <a:pt x="57" y="22"/>
                    <a:pt x="57" y="22"/>
                    <a:pt x="57" y="21"/>
                  </a:cubicBezTo>
                  <a:lnTo>
                    <a:pt x="57" y="21"/>
                  </a:lnTo>
                  <a:cubicBezTo>
                    <a:pt x="57" y="21"/>
                    <a:pt x="57" y="21"/>
                    <a:pt x="57" y="21"/>
                  </a:cubicBezTo>
                  <a:lnTo>
                    <a:pt x="57" y="21"/>
                  </a:lnTo>
                  <a:cubicBezTo>
                    <a:pt x="57" y="21"/>
                    <a:pt x="57" y="21"/>
                    <a:pt x="57" y="21"/>
                  </a:cubicBezTo>
                  <a:lnTo>
                    <a:pt x="57" y="21"/>
                  </a:lnTo>
                  <a:cubicBezTo>
                    <a:pt x="56" y="21"/>
                    <a:pt x="56" y="21"/>
                    <a:pt x="56" y="21"/>
                  </a:cubicBezTo>
                  <a:lnTo>
                    <a:pt x="56" y="21"/>
                  </a:ln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lnTo>
                    <a:pt x="56" y="21"/>
                  </a:lnTo>
                  <a:cubicBezTo>
                    <a:pt x="56" y="21"/>
                    <a:pt x="56" y="21"/>
                    <a:pt x="55" y="21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5" y="21"/>
                    <a:pt x="55" y="20"/>
                    <a:pt x="55" y="20"/>
                  </a:cubicBezTo>
                  <a:lnTo>
                    <a:pt x="55" y="20"/>
                  </a:ln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5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19"/>
                    <a:pt x="54" y="19"/>
                    <a:pt x="54" y="19"/>
                  </a:cubicBezTo>
                  <a:lnTo>
                    <a:pt x="54" y="19"/>
                  </a:lnTo>
                  <a:cubicBezTo>
                    <a:pt x="54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lnTo>
                    <a:pt x="53" y="19"/>
                  </a:lnTo>
                  <a:cubicBezTo>
                    <a:pt x="53" y="19"/>
                    <a:pt x="53" y="19"/>
                    <a:pt x="52" y="19"/>
                  </a:cubicBezTo>
                  <a:lnTo>
                    <a:pt x="52" y="19"/>
                  </a:ln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lnTo>
                    <a:pt x="52" y="18"/>
                  </a:lnTo>
                  <a:cubicBezTo>
                    <a:pt x="52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lnTo>
                    <a:pt x="51" y="18"/>
                  </a:lnTo>
                  <a:cubicBezTo>
                    <a:pt x="51" y="18"/>
                    <a:pt x="50" y="18"/>
                    <a:pt x="50" y="18"/>
                  </a:cubicBezTo>
                  <a:cubicBezTo>
                    <a:pt x="50" y="17"/>
                    <a:pt x="50" y="17"/>
                    <a:pt x="50" y="17"/>
                  </a:cubicBezTo>
                  <a:lnTo>
                    <a:pt x="50" y="17"/>
                  </a:ln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49" y="17"/>
                    <a:pt x="49" y="17"/>
                    <a:pt x="49" y="17"/>
                  </a:cubicBezTo>
                  <a:lnTo>
                    <a:pt x="49" y="17"/>
                  </a:ln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6"/>
                    <a:pt x="49" y="16"/>
                  </a:cubicBezTo>
                  <a:cubicBezTo>
                    <a:pt x="49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lnTo>
                    <a:pt x="48" y="16"/>
                  </a:ln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lnTo>
                    <a:pt x="48" y="16"/>
                  </a:ln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lnTo>
                    <a:pt x="47" y="16"/>
                  </a:lnTo>
                  <a:cubicBezTo>
                    <a:pt x="47" y="16"/>
                    <a:pt x="47" y="15"/>
                    <a:pt x="47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4" y="14"/>
                    <a:pt x="44" y="14"/>
                    <a:pt x="44" y="14"/>
                  </a:cubicBezTo>
                  <a:lnTo>
                    <a:pt x="44" y="14"/>
                  </a:ln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lnTo>
                    <a:pt x="44" y="14"/>
                  </a:ln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lnTo>
                    <a:pt x="44" y="14"/>
                  </a:lnTo>
                  <a:cubicBezTo>
                    <a:pt x="43" y="14"/>
                    <a:pt x="43" y="13"/>
                    <a:pt x="43" y="13"/>
                  </a:cubicBezTo>
                  <a:lnTo>
                    <a:pt x="43" y="13"/>
                  </a:ln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2" y="13"/>
                    <a:pt x="42" y="13"/>
                  </a:cubicBezTo>
                  <a:lnTo>
                    <a:pt x="42" y="13"/>
                  </a:ln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1" y="13"/>
                  </a:cubicBezTo>
                  <a:lnTo>
                    <a:pt x="41" y="12"/>
                  </a:ln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0" y="12"/>
                  </a:cubicBezTo>
                  <a:lnTo>
                    <a:pt x="40" y="12"/>
                  </a:ln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9" y="11"/>
                    <a:pt x="39" y="11"/>
                    <a:pt x="38" y="11"/>
                  </a:cubicBezTo>
                  <a:cubicBezTo>
                    <a:pt x="31" y="7"/>
                    <a:pt x="24" y="3"/>
                    <a:pt x="17" y="0"/>
                  </a:cubicBezTo>
                  <a:lnTo>
                    <a:pt x="0" y="36"/>
                  </a:lnTo>
                  <a:cubicBezTo>
                    <a:pt x="25" y="48"/>
                    <a:pt x="49" y="63"/>
                    <a:pt x="72" y="80"/>
                  </a:cubicBezTo>
                  <a:lnTo>
                    <a:pt x="96" y="48"/>
                  </a:ln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37">
              <a:extLst>
                <a:ext uri="{FF2B5EF4-FFF2-40B4-BE49-F238E27FC236}">
                  <a16:creationId xmlns:a16="http://schemas.microsoft.com/office/drawing/2014/main" id="{378F4A21-6A82-8BB4-AEF1-AD3609ED4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3268663"/>
              <a:ext cx="68263" cy="42863"/>
            </a:xfrm>
            <a:custGeom>
              <a:avLst/>
              <a:gdLst>
                <a:gd name="T0" fmla="*/ 86 w 95"/>
                <a:gd name="T1" fmla="*/ 18 h 58"/>
                <a:gd name="T2" fmla="*/ 85 w 95"/>
                <a:gd name="T3" fmla="*/ 17 h 58"/>
                <a:gd name="T4" fmla="*/ 84 w 95"/>
                <a:gd name="T5" fmla="*/ 17 h 58"/>
                <a:gd name="T6" fmla="*/ 83 w 95"/>
                <a:gd name="T7" fmla="*/ 17 h 58"/>
                <a:gd name="T8" fmla="*/ 83 w 95"/>
                <a:gd name="T9" fmla="*/ 17 h 58"/>
                <a:gd name="T10" fmla="*/ 83 w 95"/>
                <a:gd name="T11" fmla="*/ 17 h 58"/>
                <a:gd name="T12" fmla="*/ 82 w 95"/>
                <a:gd name="T13" fmla="*/ 17 h 58"/>
                <a:gd name="T14" fmla="*/ 81 w 95"/>
                <a:gd name="T15" fmla="*/ 16 h 58"/>
                <a:gd name="T16" fmla="*/ 81 w 95"/>
                <a:gd name="T17" fmla="*/ 16 h 58"/>
                <a:gd name="T18" fmla="*/ 81 w 95"/>
                <a:gd name="T19" fmla="*/ 16 h 58"/>
                <a:gd name="T20" fmla="*/ 81 w 95"/>
                <a:gd name="T21" fmla="*/ 16 h 58"/>
                <a:gd name="T22" fmla="*/ 81 w 95"/>
                <a:gd name="T23" fmla="*/ 16 h 58"/>
                <a:gd name="T24" fmla="*/ 80 w 95"/>
                <a:gd name="T25" fmla="*/ 16 h 58"/>
                <a:gd name="T26" fmla="*/ 80 w 95"/>
                <a:gd name="T27" fmla="*/ 16 h 58"/>
                <a:gd name="T28" fmla="*/ 79 w 95"/>
                <a:gd name="T29" fmla="*/ 16 h 58"/>
                <a:gd name="T30" fmla="*/ 79 w 95"/>
                <a:gd name="T31" fmla="*/ 15 h 58"/>
                <a:gd name="T32" fmla="*/ 79 w 95"/>
                <a:gd name="T33" fmla="*/ 15 h 58"/>
                <a:gd name="T34" fmla="*/ 78 w 95"/>
                <a:gd name="T35" fmla="*/ 15 h 58"/>
                <a:gd name="T36" fmla="*/ 78 w 95"/>
                <a:gd name="T37" fmla="*/ 15 h 58"/>
                <a:gd name="T38" fmla="*/ 78 w 95"/>
                <a:gd name="T39" fmla="*/ 15 h 58"/>
                <a:gd name="T40" fmla="*/ 78 w 95"/>
                <a:gd name="T41" fmla="*/ 15 h 58"/>
                <a:gd name="T42" fmla="*/ 77 w 95"/>
                <a:gd name="T43" fmla="*/ 15 h 58"/>
                <a:gd name="T44" fmla="*/ 77 w 95"/>
                <a:gd name="T45" fmla="*/ 15 h 58"/>
                <a:gd name="T46" fmla="*/ 77 w 95"/>
                <a:gd name="T47" fmla="*/ 15 h 58"/>
                <a:gd name="T48" fmla="*/ 77 w 95"/>
                <a:gd name="T49" fmla="*/ 15 h 58"/>
                <a:gd name="T50" fmla="*/ 76 w 95"/>
                <a:gd name="T51" fmla="*/ 15 h 58"/>
                <a:gd name="T52" fmla="*/ 76 w 95"/>
                <a:gd name="T53" fmla="*/ 15 h 58"/>
                <a:gd name="T54" fmla="*/ 76 w 95"/>
                <a:gd name="T55" fmla="*/ 14 h 58"/>
                <a:gd name="T56" fmla="*/ 76 w 95"/>
                <a:gd name="T57" fmla="*/ 14 h 58"/>
                <a:gd name="T58" fmla="*/ 75 w 95"/>
                <a:gd name="T59" fmla="*/ 14 h 58"/>
                <a:gd name="T60" fmla="*/ 75 w 95"/>
                <a:gd name="T61" fmla="*/ 14 h 58"/>
                <a:gd name="T62" fmla="*/ 75 w 95"/>
                <a:gd name="T63" fmla="*/ 14 h 58"/>
                <a:gd name="T64" fmla="*/ 75 w 95"/>
                <a:gd name="T65" fmla="*/ 14 h 58"/>
                <a:gd name="T66" fmla="*/ 74 w 95"/>
                <a:gd name="T67" fmla="*/ 14 h 58"/>
                <a:gd name="T68" fmla="*/ 74 w 95"/>
                <a:gd name="T69" fmla="*/ 14 h 58"/>
                <a:gd name="T70" fmla="*/ 74 w 95"/>
                <a:gd name="T71" fmla="*/ 14 h 58"/>
                <a:gd name="T72" fmla="*/ 74 w 95"/>
                <a:gd name="T73" fmla="*/ 14 h 58"/>
                <a:gd name="T74" fmla="*/ 73 w 95"/>
                <a:gd name="T75" fmla="*/ 14 h 58"/>
                <a:gd name="T76" fmla="*/ 73 w 95"/>
                <a:gd name="T77" fmla="*/ 14 h 58"/>
                <a:gd name="T78" fmla="*/ 73 w 95"/>
                <a:gd name="T79" fmla="*/ 14 h 58"/>
                <a:gd name="T80" fmla="*/ 73 w 95"/>
                <a:gd name="T81" fmla="*/ 13 h 58"/>
                <a:gd name="T82" fmla="*/ 72 w 95"/>
                <a:gd name="T83" fmla="*/ 13 h 58"/>
                <a:gd name="T84" fmla="*/ 72 w 95"/>
                <a:gd name="T85" fmla="*/ 13 h 58"/>
                <a:gd name="T86" fmla="*/ 72 w 95"/>
                <a:gd name="T87" fmla="*/ 13 h 58"/>
                <a:gd name="T88" fmla="*/ 71 w 95"/>
                <a:gd name="T89" fmla="*/ 13 h 58"/>
                <a:gd name="T90" fmla="*/ 71 w 95"/>
                <a:gd name="T91" fmla="*/ 13 h 58"/>
                <a:gd name="T92" fmla="*/ 71 w 95"/>
                <a:gd name="T93" fmla="*/ 13 h 58"/>
                <a:gd name="T94" fmla="*/ 71 w 95"/>
                <a:gd name="T95" fmla="*/ 13 h 58"/>
                <a:gd name="T96" fmla="*/ 70 w 95"/>
                <a:gd name="T97" fmla="*/ 13 h 58"/>
                <a:gd name="T98" fmla="*/ 70 w 95"/>
                <a:gd name="T99" fmla="*/ 13 h 58"/>
                <a:gd name="T100" fmla="*/ 69 w 95"/>
                <a:gd name="T101" fmla="*/ 13 h 58"/>
                <a:gd name="T102" fmla="*/ 69 w 95"/>
                <a:gd name="T103" fmla="*/ 12 h 58"/>
                <a:gd name="T104" fmla="*/ 69 w 95"/>
                <a:gd name="T105" fmla="*/ 12 h 58"/>
                <a:gd name="T106" fmla="*/ 68 w 95"/>
                <a:gd name="T107" fmla="*/ 12 h 58"/>
                <a:gd name="T108" fmla="*/ 68 w 95"/>
                <a:gd name="T109" fmla="*/ 12 h 58"/>
                <a:gd name="T110" fmla="*/ 67 w 95"/>
                <a:gd name="T111" fmla="*/ 12 h 58"/>
                <a:gd name="T112" fmla="*/ 66 w 95"/>
                <a:gd name="T113" fmla="*/ 12 h 58"/>
                <a:gd name="T114" fmla="*/ 66 w 95"/>
                <a:gd name="T115" fmla="*/ 12 h 58"/>
                <a:gd name="T116" fmla="*/ 66 w 95"/>
                <a:gd name="T117" fmla="*/ 11 h 58"/>
                <a:gd name="T118" fmla="*/ 64 w 95"/>
                <a:gd name="T119" fmla="*/ 11 h 58"/>
                <a:gd name="T120" fmla="*/ 62 w 95"/>
                <a:gd name="T121" fmla="*/ 11 h 58"/>
                <a:gd name="T122" fmla="*/ 0 w 95"/>
                <a:gd name="T123" fmla="*/ 3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5" h="58">
                  <a:moveTo>
                    <a:pt x="95" y="21"/>
                  </a:moveTo>
                  <a:lnTo>
                    <a:pt x="95" y="21"/>
                  </a:lnTo>
                  <a:cubicBezTo>
                    <a:pt x="92" y="20"/>
                    <a:pt x="89" y="19"/>
                    <a:pt x="86" y="18"/>
                  </a:cubicBezTo>
                  <a:cubicBezTo>
                    <a:pt x="86" y="18"/>
                    <a:pt x="86" y="18"/>
                    <a:pt x="86" y="18"/>
                  </a:cubicBezTo>
                  <a:lnTo>
                    <a:pt x="86" y="18"/>
                  </a:lnTo>
                  <a:cubicBezTo>
                    <a:pt x="85" y="17"/>
                    <a:pt x="85" y="17"/>
                    <a:pt x="85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4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lnTo>
                    <a:pt x="83" y="17"/>
                  </a:lnTo>
                  <a:cubicBezTo>
                    <a:pt x="82" y="17"/>
                    <a:pt x="82" y="17"/>
                    <a:pt x="82" y="17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2" y="17"/>
                    <a:pt x="82" y="16"/>
                    <a:pt x="82" y="16"/>
                  </a:cubicBezTo>
                  <a:lnTo>
                    <a:pt x="82" y="16"/>
                  </a:lnTo>
                  <a:cubicBezTo>
                    <a:pt x="82" y="16"/>
                    <a:pt x="82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79" y="16"/>
                    <a:pt x="79" y="16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79" y="16"/>
                    <a:pt x="79" y="16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lnTo>
                    <a:pt x="79" y="15"/>
                  </a:lnTo>
                  <a:cubicBezTo>
                    <a:pt x="79" y="15"/>
                    <a:pt x="79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lnTo>
                    <a:pt x="77" y="15"/>
                  </a:ln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1" y="13"/>
                    <a:pt x="71" y="13"/>
                  </a:cubicBezTo>
                  <a:lnTo>
                    <a:pt x="71" y="13"/>
                  </a:ln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lnTo>
                    <a:pt x="70" y="13"/>
                  </a:ln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lnTo>
                    <a:pt x="69" y="13"/>
                  </a:ln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8" y="12"/>
                    <a:pt x="68" y="12"/>
                    <a:pt x="68" y="12"/>
                  </a:cubicBezTo>
                  <a:lnTo>
                    <a:pt x="68" y="12"/>
                  </a:ln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7" y="1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12"/>
                    <a:pt x="67" y="12"/>
                    <a:pt x="66" y="12"/>
                  </a:cubicBezTo>
                  <a:lnTo>
                    <a:pt x="66" y="12"/>
                  </a:lnTo>
                  <a:cubicBezTo>
                    <a:pt x="66" y="12"/>
                    <a:pt x="66" y="12"/>
                    <a:pt x="66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2"/>
                    <a:pt x="66" y="12"/>
                    <a:pt x="66" y="12"/>
                  </a:cubicBezTo>
                  <a:lnTo>
                    <a:pt x="66" y="12"/>
                  </a:lnTo>
                  <a:cubicBezTo>
                    <a:pt x="66" y="12"/>
                    <a:pt x="66" y="12"/>
                    <a:pt x="66" y="11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65" y="11"/>
                    <a:pt x="65" y="11"/>
                    <a:pt x="64" y="1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11"/>
                    <a:pt x="64" y="11"/>
                    <a:pt x="64" y="11"/>
                  </a:cubicBezTo>
                  <a:lnTo>
                    <a:pt x="64" y="11"/>
                  </a:lnTo>
                  <a:cubicBezTo>
                    <a:pt x="64" y="11"/>
                    <a:pt x="63" y="11"/>
                    <a:pt x="62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44" y="6"/>
                    <a:pt x="24" y="3"/>
                    <a:pt x="5" y="0"/>
                  </a:cubicBezTo>
                  <a:lnTo>
                    <a:pt x="0" y="39"/>
                  </a:lnTo>
                  <a:cubicBezTo>
                    <a:pt x="28" y="43"/>
                    <a:pt x="55" y="49"/>
                    <a:pt x="82" y="58"/>
                  </a:cubicBezTo>
                  <a:lnTo>
                    <a:pt x="95" y="21"/>
                  </a:ln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38">
              <a:extLst>
                <a:ext uri="{FF2B5EF4-FFF2-40B4-BE49-F238E27FC236}">
                  <a16:creationId xmlns:a16="http://schemas.microsoft.com/office/drawing/2014/main" id="{B841F9B8-6E8D-CEF0-E3F8-F9B48B2D1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201" y="3605213"/>
              <a:ext cx="42863" cy="68263"/>
            </a:xfrm>
            <a:custGeom>
              <a:avLst/>
              <a:gdLst>
                <a:gd name="T0" fmla="*/ 0 w 59"/>
                <a:gd name="T1" fmla="*/ 82 h 95"/>
                <a:gd name="T2" fmla="*/ 40 w 59"/>
                <a:gd name="T3" fmla="*/ 90 h 95"/>
                <a:gd name="T4" fmla="*/ 40 w 59"/>
                <a:gd name="T5" fmla="*/ 90 h 95"/>
                <a:gd name="T6" fmla="*/ 40 w 59"/>
                <a:gd name="T7" fmla="*/ 90 h 95"/>
                <a:gd name="T8" fmla="*/ 40 w 59"/>
                <a:gd name="T9" fmla="*/ 90 h 95"/>
                <a:gd name="T10" fmla="*/ 40 w 59"/>
                <a:gd name="T11" fmla="*/ 89 h 95"/>
                <a:gd name="T12" fmla="*/ 40 w 59"/>
                <a:gd name="T13" fmla="*/ 89 h 95"/>
                <a:gd name="T14" fmla="*/ 40 w 59"/>
                <a:gd name="T15" fmla="*/ 89 h 95"/>
                <a:gd name="T16" fmla="*/ 40 w 59"/>
                <a:gd name="T17" fmla="*/ 89 h 95"/>
                <a:gd name="T18" fmla="*/ 40 w 59"/>
                <a:gd name="T19" fmla="*/ 89 h 95"/>
                <a:gd name="T20" fmla="*/ 40 w 59"/>
                <a:gd name="T21" fmla="*/ 88 h 95"/>
                <a:gd name="T22" fmla="*/ 40 w 59"/>
                <a:gd name="T23" fmla="*/ 88 h 95"/>
                <a:gd name="T24" fmla="*/ 40 w 59"/>
                <a:gd name="T25" fmla="*/ 88 h 95"/>
                <a:gd name="T26" fmla="*/ 40 w 59"/>
                <a:gd name="T27" fmla="*/ 88 h 95"/>
                <a:gd name="T28" fmla="*/ 40 w 59"/>
                <a:gd name="T29" fmla="*/ 88 h 95"/>
                <a:gd name="T30" fmla="*/ 40 w 59"/>
                <a:gd name="T31" fmla="*/ 88 h 95"/>
                <a:gd name="T32" fmla="*/ 41 w 59"/>
                <a:gd name="T33" fmla="*/ 88 h 95"/>
                <a:gd name="T34" fmla="*/ 41 w 59"/>
                <a:gd name="T35" fmla="*/ 87 h 95"/>
                <a:gd name="T36" fmla="*/ 57 w 59"/>
                <a:gd name="T37" fmla="*/ 18 h 95"/>
                <a:gd name="T38" fmla="*/ 57 w 59"/>
                <a:gd name="T39" fmla="*/ 18 h 95"/>
                <a:gd name="T40" fmla="*/ 57 w 59"/>
                <a:gd name="T41" fmla="*/ 18 h 95"/>
                <a:gd name="T42" fmla="*/ 57 w 59"/>
                <a:gd name="T43" fmla="*/ 18 h 95"/>
                <a:gd name="T44" fmla="*/ 57 w 59"/>
                <a:gd name="T45" fmla="*/ 17 h 95"/>
                <a:gd name="T46" fmla="*/ 57 w 59"/>
                <a:gd name="T47" fmla="*/ 17 h 95"/>
                <a:gd name="T48" fmla="*/ 57 w 59"/>
                <a:gd name="T49" fmla="*/ 17 h 95"/>
                <a:gd name="T50" fmla="*/ 57 w 59"/>
                <a:gd name="T51" fmla="*/ 17 h 95"/>
                <a:gd name="T52" fmla="*/ 57 w 59"/>
                <a:gd name="T53" fmla="*/ 16 h 95"/>
                <a:gd name="T54" fmla="*/ 57 w 59"/>
                <a:gd name="T55" fmla="*/ 16 h 95"/>
                <a:gd name="T56" fmla="*/ 57 w 59"/>
                <a:gd name="T57" fmla="*/ 16 h 95"/>
                <a:gd name="T58" fmla="*/ 57 w 59"/>
                <a:gd name="T59" fmla="*/ 16 h 95"/>
                <a:gd name="T60" fmla="*/ 57 w 59"/>
                <a:gd name="T61" fmla="*/ 16 h 95"/>
                <a:gd name="T62" fmla="*/ 57 w 59"/>
                <a:gd name="T63" fmla="*/ 15 h 95"/>
                <a:gd name="T64" fmla="*/ 57 w 59"/>
                <a:gd name="T65" fmla="*/ 15 h 95"/>
                <a:gd name="T66" fmla="*/ 57 w 59"/>
                <a:gd name="T67" fmla="*/ 15 h 95"/>
                <a:gd name="T68" fmla="*/ 57 w 59"/>
                <a:gd name="T69" fmla="*/ 15 h 95"/>
                <a:gd name="T70" fmla="*/ 57 w 59"/>
                <a:gd name="T71" fmla="*/ 14 h 95"/>
                <a:gd name="T72" fmla="*/ 57 w 59"/>
                <a:gd name="T73" fmla="*/ 14 h 95"/>
                <a:gd name="T74" fmla="*/ 57 w 59"/>
                <a:gd name="T75" fmla="*/ 14 h 95"/>
                <a:gd name="T76" fmla="*/ 59 w 59"/>
                <a:gd name="T77" fmla="*/ 5 h 95"/>
                <a:gd name="T78" fmla="*/ 0 w 59"/>
                <a:gd name="T79" fmla="*/ 8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9" h="95">
                  <a:moveTo>
                    <a:pt x="0" y="82"/>
                  </a:moveTo>
                  <a:lnTo>
                    <a:pt x="0" y="82"/>
                  </a:lnTo>
                  <a:lnTo>
                    <a:pt x="38" y="95"/>
                  </a:lnTo>
                  <a:cubicBezTo>
                    <a:pt x="39" y="94"/>
                    <a:pt x="39" y="92"/>
                    <a:pt x="40" y="90"/>
                  </a:cubicBezTo>
                  <a:lnTo>
                    <a:pt x="40" y="90"/>
                  </a:lnTo>
                  <a:cubicBezTo>
                    <a:pt x="40" y="90"/>
                    <a:pt x="40" y="90"/>
                    <a:pt x="40" y="90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48" y="65"/>
                    <a:pt x="53" y="42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lnTo>
                    <a:pt x="57" y="18"/>
                  </a:lnTo>
                  <a:cubicBezTo>
                    <a:pt x="57" y="18"/>
                    <a:pt x="57" y="18"/>
                    <a:pt x="57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5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15"/>
                    <a:pt x="57" y="15"/>
                    <a:pt x="57" y="15"/>
                  </a:cubicBezTo>
                  <a:lnTo>
                    <a:pt x="57" y="15"/>
                  </a:lnTo>
                  <a:cubicBezTo>
                    <a:pt x="57" y="15"/>
                    <a:pt x="57" y="15"/>
                    <a:pt x="57" y="15"/>
                  </a:cubicBezTo>
                  <a:lnTo>
                    <a:pt x="57" y="15"/>
                  </a:lnTo>
                  <a:cubicBezTo>
                    <a:pt x="57" y="15"/>
                    <a:pt x="57" y="15"/>
                    <a:pt x="57" y="15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15"/>
                    <a:pt x="57" y="14"/>
                    <a:pt x="57" y="14"/>
                  </a:cubicBezTo>
                  <a:lnTo>
                    <a:pt x="57" y="14"/>
                  </a:lnTo>
                  <a:cubicBezTo>
                    <a:pt x="57" y="14"/>
                    <a:pt x="57" y="14"/>
                    <a:pt x="57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14"/>
                    <a:pt x="57" y="14"/>
                    <a:pt x="57" y="14"/>
                  </a:cubicBezTo>
                  <a:lnTo>
                    <a:pt x="57" y="14"/>
                  </a:lnTo>
                  <a:cubicBezTo>
                    <a:pt x="58" y="11"/>
                    <a:pt x="58" y="8"/>
                    <a:pt x="59" y="5"/>
                  </a:cubicBezTo>
                  <a:lnTo>
                    <a:pt x="19" y="0"/>
                  </a:lnTo>
                  <a:cubicBezTo>
                    <a:pt x="16" y="28"/>
                    <a:pt x="9" y="56"/>
                    <a:pt x="0" y="82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39">
              <a:extLst>
                <a:ext uri="{FF2B5EF4-FFF2-40B4-BE49-F238E27FC236}">
                  <a16:creationId xmlns:a16="http://schemas.microsoft.com/office/drawing/2014/main" id="{5185BA47-E423-7B13-B0B1-20A953E3D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3760788"/>
              <a:ext cx="66675" cy="63500"/>
            </a:xfrm>
            <a:custGeom>
              <a:avLst/>
              <a:gdLst>
                <a:gd name="T0" fmla="*/ 23 w 93"/>
                <a:gd name="T1" fmla="*/ 88 h 88"/>
                <a:gd name="T2" fmla="*/ 24 w 93"/>
                <a:gd name="T3" fmla="*/ 88 h 88"/>
                <a:gd name="T4" fmla="*/ 24 w 93"/>
                <a:gd name="T5" fmla="*/ 88 h 88"/>
                <a:gd name="T6" fmla="*/ 24 w 93"/>
                <a:gd name="T7" fmla="*/ 88 h 88"/>
                <a:gd name="T8" fmla="*/ 24 w 93"/>
                <a:gd name="T9" fmla="*/ 87 h 88"/>
                <a:gd name="T10" fmla="*/ 25 w 93"/>
                <a:gd name="T11" fmla="*/ 87 h 88"/>
                <a:gd name="T12" fmla="*/ 25 w 93"/>
                <a:gd name="T13" fmla="*/ 87 h 88"/>
                <a:gd name="T14" fmla="*/ 25 w 93"/>
                <a:gd name="T15" fmla="*/ 87 h 88"/>
                <a:gd name="T16" fmla="*/ 26 w 93"/>
                <a:gd name="T17" fmla="*/ 87 h 88"/>
                <a:gd name="T18" fmla="*/ 26 w 93"/>
                <a:gd name="T19" fmla="*/ 86 h 88"/>
                <a:gd name="T20" fmla="*/ 26 w 93"/>
                <a:gd name="T21" fmla="*/ 86 h 88"/>
                <a:gd name="T22" fmla="*/ 27 w 93"/>
                <a:gd name="T23" fmla="*/ 86 h 88"/>
                <a:gd name="T24" fmla="*/ 27 w 93"/>
                <a:gd name="T25" fmla="*/ 86 h 88"/>
                <a:gd name="T26" fmla="*/ 27 w 93"/>
                <a:gd name="T27" fmla="*/ 86 h 88"/>
                <a:gd name="T28" fmla="*/ 27 w 93"/>
                <a:gd name="T29" fmla="*/ 85 h 88"/>
                <a:gd name="T30" fmla="*/ 28 w 93"/>
                <a:gd name="T31" fmla="*/ 85 h 88"/>
                <a:gd name="T32" fmla="*/ 28 w 93"/>
                <a:gd name="T33" fmla="*/ 85 h 88"/>
                <a:gd name="T34" fmla="*/ 28 w 93"/>
                <a:gd name="T35" fmla="*/ 85 h 88"/>
                <a:gd name="T36" fmla="*/ 29 w 93"/>
                <a:gd name="T37" fmla="*/ 84 h 88"/>
                <a:gd name="T38" fmla="*/ 29 w 93"/>
                <a:gd name="T39" fmla="*/ 84 h 88"/>
                <a:gd name="T40" fmla="*/ 29 w 93"/>
                <a:gd name="T41" fmla="*/ 84 h 88"/>
                <a:gd name="T42" fmla="*/ 29 w 93"/>
                <a:gd name="T43" fmla="*/ 84 h 88"/>
                <a:gd name="T44" fmla="*/ 30 w 93"/>
                <a:gd name="T45" fmla="*/ 84 h 88"/>
                <a:gd name="T46" fmla="*/ 30 w 93"/>
                <a:gd name="T47" fmla="*/ 83 h 88"/>
                <a:gd name="T48" fmla="*/ 30 w 93"/>
                <a:gd name="T49" fmla="*/ 83 h 88"/>
                <a:gd name="T50" fmla="*/ 31 w 93"/>
                <a:gd name="T51" fmla="*/ 83 h 88"/>
                <a:gd name="T52" fmla="*/ 31 w 93"/>
                <a:gd name="T53" fmla="*/ 83 h 88"/>
                <a:gd name="T54" fmla="*/ 31 w 93"/>
                <a:gd name="T55" fmla="*/ 83 h 88"/>
                <a:gd name="T56" fmla="*/ 32 w 93"/>
                <a:gd name="T57" fmla="*/ 82 h 88"/>
                <a:gd name="T58" fmla="*/ 32 w 93"/>
                <a:gd name="T59" fmla="*/ 82 h 88"/>
                <a:gd name="T60" fmla="*/ 32 w 93"/>
                <a:gd name="T61" fmla="*/ 82 h 88"/>
                <a:gd name="T62" fmla="*/ 32 w 93"/>
                <a:gd name="T63" fmla="*/ 82 h 88"/>
                <a:gd name="T64" fmla="*/ 33 w 93"/>
                <a:gd name="T65" fmla="*/ 81 h 88"/>
                <a:gd name="T66" fmla="*/ 33 w 93"/>
                <a:gd name="T67" fmla="*/ 81 h 88"/>
                <a:gd name="T68" fmla="*/ 33 w 93"/>
                <a:gd name="T69" fmla="*/ 81 h 88"/>
                <a:gd name="T70" fmla="*/ 34 w 93"/>
                <a:gd name="T71" fmla="*/ 81 h 88"/>
                <a:gd name="T72" fmla="*/ 34 w 93"/>
                <a:gd name="T73" fmla="*/ 81 h 88"/>
                <a:gd name="T74" fmla="*/ 35 w 93"/>
                <a:gd name="T75" fmla="*/ 80 h 88"/>
                <a:gd name="T76" fmla="*/ 35 w 93"/>
                <a:gd name="T77" fmla="*/ 80 h 88"/>
                <a:gd name="T78" fmla="*/ 35 w 93"/>
                <a:gd name="T79" fmla="*/ 80 h 88"/>
                <a:gd name="T80" fmla="*/ 36 w 93"/>
                <a:gd name="T81" fmla="*/ 79 h 88"/>
                <a:gd name="T82" fmla="*/ 36 w 93"/>
                <a:gd name="T83" fmla="*/ 79 h 88"/>
                <a:gd name="T84" fmla="*/ 36 w 93"/>
                <a:gd name="T85" fmla="*/ 79 h 88"/>
                <a:gd name="T86" fmla="*/ 37 w 93"/>
                <a:gd name="T87" fmla="*/ 78 h 88"/>
                <a:gd name="T88" fmla="*/ 37 w 93"/>
                <a:gd name="T89" fmla="*/ 78 h 88"/>
                <a:gd name="T90" fmla="*/ 38 w 93"/>
                <a:gd name="T91" fmla="*/ 78 h 88"/>
                <a:gd name="T92" fmla="*/ 38 w 93"/>
                <a:gd name="T93" fmla="*/ 77 h 88"/>
                <a:gd name="T94" fmla="*/ 39 w 93"/>
                <a:gd name="T95" fmla="*/ 77 h 88"/>
                <a:gd name="T96" fmla="*/ 39 w 93"/>
                <a:gd name="T97" fmla="*/ 76 h 88"/>
                <a:gd name="T98" fmla="*/ 40 w 93"/>
                <a:gd name="T99" fmla="*/ 76 h 88"/>
                <a:gd name="T100" fmla="*/ 42 w 93"/>
                <a:gd name="T101" fmla="*/ 7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3" h="88">
                  <a:moveTo>
                    <a:pt x="0" y="56"/>
                  </a:moveTo>
                  <a:lnTo>
                    <a:pt x="0" y="56"/>
                  </a:lnTo>
                  <a:lnTo>
                    <a:pt x="23" y="88"/>
                  </a:ln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7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4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7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85"/>
                    <a:pt x="29" y="85"/>
                    <a:pt x="29" y="85"/>
                  </a:cubicBezTo>
                  <a:cubicBezTo>
                    <a:pt x="29" y="85"/>
                    <a:pt x="29" y="85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4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3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4" y="81"/>
                  </a:cubicBezTo>
                  <a:lnTo>
                    <a:pt x="34" y="81"/>
                  </a:lnTo>
                  <a:cubicBezTo>
                    <a:pt x="34" y="81"/>
                    <a:pt x="34" y="81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0"/>
                    <a:pt x="34" y="80"/>
                    <a:pt x="34" y="80"/>
                  </a:cubicBezTo>
                  <a:lnTo>
                    <a:pt x="34" y="80"/>
                  </a:lnTo>
                  <a:cubicBezTo>
                    <a:pt x="34" y="80"/>
                    <a:pt x="34" y="80"/>
                    <a:pt x="35" y="80"/>
                  </a:cubicBezTo>
                  <a:lnTo>
                    <a:pt x="35" y="80"/>
                  </a:ln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lnTo>
                    <a:pt x="35" y="80"/>
                  </a:lnTo>
                  <a:cubicBezTo>
                    <a:pt x="35" y="79"/>
                    <a:pt x="35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lnTo>
                    <a:pt x="37" y="78"/>
                  </a:lnTo>
                  <a:cubicBezTo>
                    <a:pt x="37" y="78"/>
                    <a:pt x="38" y="78"/>
                    <a:pt x="38" y="78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8" y="78"/>
                    <a:pt x="38" y="77"/>
                    <a:pt x="38" y="77"/>
                  </a:cubicBezTo>
                  <a:lnTo>
                    <a:pt x="38" y="77"/>
                  </a:lnTo>
                  <a:cubicBezTo>
                    <a:pt x="38" y="77"/>
                    <a:pt x="38" y="77"/>
                    <a:pt x="38" y="77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8" y="77"/>
                    <a:pt x="39" y="77"/>
                    <a:pt x="39" y="77"/>
                  </a:cubicBezTo>
                  <a:cubicBezTo>
                    <a:pt x="39" y="77"/>
                    <a:pt x="39" y="77"/>
                    <a:pt x="39" y="77"/>
                  </a:cubicBezTo>
                  <a:cubicBezTo>
                    <a:pt x="39" y="77"/>
                    <a:pt x="39" y="77"/>
                    <a:pt x="39" y="77"/>
                  </a:cubicBezTo>
                  <a:lnTo>
                    <a:pt x="39" y="77"/>
                  </a:lnTo>
                  <a:cubicBezTo>
                    <a:pt x="39" y="77"/>
                    <a:pt x="39" y="77"/>
                    <a:pt x="39" y="77"/>
                  </a:cubicBezTo>
                  <a:cubicBezTo>
                    <a:pt x="39" y="77"/>
                    <a:pt x="39" y="77"/>
                    <a:pt x="39" y="77"/>
                  </a:cubicBezTo>
                  <a:cubicBezTo>
                    <a:pt x="39" y="77"/>
                    <a:pt x="39" y="77"/>
                    <a:pt x="39" y="76"/>
                  </a:cubicBezTo>
                  <a:lnTo>
                    <a:pt x="39" y="76"/>
                  </a:lnTo>
                  <a:cubicBezTo>
                    <a:pt x="40" y="76"/>
                    <a:pt x="40" y="76"/>
                    <a:pt x="40" y="76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40" y="76"/>
                    <a:pt x="41" y="75"/>
                    <a:pt x="41" y="75"/>
                  </a:cubicBezTo>
                  <a:cubicBezTo>
                    <a:pt x="41" y="75"/>
                    <a:pt x="41" y="75"/>
                    <a:pt x="41" y="75"/>
                  </a:cubicBezTo>
                  <a:lnTo>
                    <a:pt x="41" y="75"/>
                  </a:lnTo>
                  <a:cubicBezTo>
                    <a:pt x="41" y="75"/>
                    <a:pt x="42" y="75"/>
                    <a:pt x="42" y="74"/>
                  </a:cubicBezTo>
                  <a:cubicBezTo>
                    <a:pt x="60" y="60"/>
                    <a:pt x="77" y="44"/>
                    <a:pt x="93" y="27"/>
                  </a:cubicBezTo>
                  <a:lnTo>
                    <a:pt x="63" y="0"/>
                  </a:lnTo>
                  <a:cubicBezTo>
                    <a:pt x="44" y="21"/>
                    <a:pt x="23" y="39"/>
                    <a:pt x="0" y="56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40">
              <a:extLst>
                <a:ext uri="{FF2B5EF4-FFF2-40B4-BE49-F238E27FC236}">
                  <a16:creationId xmlns:a16="http://schemas.microsoft.com/office/drawing/2014/main" id="{EAD5FA87-CAF0-B775-8356-E2AB8EE84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163" y="3656013"/>
              <a:ext cx="50800" cy="69850"/>
            </a:xfrm>
            <a:custGeom>
              <a:avLst/>
              <a:gdLst>
                <a:gd name="T0" fmla="*/ 38 w 72"/>
                <a:gd name="T1" fmla="*/ 0 h 97"/>
                <a:gd name="T2" fmla="*/ 38 w 72"/>
                <a:gd name="T3" fmla="*/ 0 h 97"/>
                <a:gd name="T4" fmla="*/ 0 w 72"/>
                <a:gd name="T5" fmla="*/ 12 h 97"/>
                <a:gd name="T6" fmla="*/ 23 w 72"/>
                <a:gd name="T7" fmla="*/ 68 h 97"/>
                <a:gd name="T8" fmla="*/ 23 w 72"/>
                <a:gd name="T9" fmla="*/ 68 h 97"/>
                <a:gd name="T10" fmla="*/ 23 w 72"/>
                <a:gd name="T11" fmla="*/ 68 h 97"/>
                <a:gd name="T12" fmla="*/ 23 w 72"/>
                <a:gd name="T13" fmla="*/ 68 h 97"/>
                <a:gd name="T14" fmla="*/ 23 w 72"/>
                <a:gd name="T15" fmla="*/ 68 h 97"/>
                <a:gd name="T16" fmla="*/ 23 w 72"/>
                <a:gd name="T17" fmla="*/ 68 h 97"/>
                <a:gd name="T18" fmla="*/ 23 w 72"/>
                <a:gd name="T19" fmla="*/ 69 h 97"/>
                <a:gd name="T20" fmla="*/ 23 w 72"/>
                <a:gd name="T21" fmla="*/ 69 h 97"/>
                <a:gd name="T22" fmla="*/ 23 w 72"/>
                <a:gd name="T23" fmla="*/ 69 h 97"/>
                <a:gd name="T24" fmla="*/ 23 w 72"/>
                <a:gd name="T25" fmla="*/ 69 h 97"/>
                <a:gd name="T26" fmla="*/ 23 w 72"/>
                <a:gd name="T27" fmla="*/ 69 h 97"/>
                <a:gd name="T28" fmla="*/ 23 w 72"/>
                <a:gd name="T29" fmla="*/ 70 h 97"/>
                <a:gd name="T30" fmla="*/ 23 w 72"/>
                <a:gd name="T31" fmla="*/ 70 h 97"/>
                <a:gd name="T32" fmla="*/ 23 w 72"/>
                <a:gd name="T33" fmla="*/ 70 h 97"/>
                <a:gd name="T34" fmla="*/ 23 w 72"/>
                <a:gd name="T35" fmla="*/ 70 h 97"/>
                <a:gd name="T36" fmla="*/ 23 w 72"/>
                <a:gd name="T37" fmla="*/ 70 h 97"/>
                <a:gd name="T38" fmla="*/ 23 w 72"/>
                <a:gd name="T39" fmla="*/ 70 h 97"/>
                <a:gd name="T40" fmla="*/ 24 w 72"/>
                <a:gd name="T41" fmla="*/ 70 h 97"/>
                <a:gd name="T42" fmla="*/ 24 w 72"/>
                <a:gd name="T43" fmla="*/ 70 h 97"/>
                <a:gd name="T44" fmla="*/ 24 w 72"/>
                <a:gd name="T45" fmla="*/ 71 h 97"/>
                <a:gd name="T46" fmla="*/ 24 w 72"/>
                <a:gd name="T47" fmla="*/ 71 h 97"/>
                <a:gd name="T48" fmla="*/ 24 w 72"/>
                <a:gd name="T49" fmla="*/ 71 h 97"/>
                <a:gd name="T50" fmla="*/ 24 w 72"/>
                <a:gd name="T51" fmla="*/ 71 h 97"/>
                <a:gd name="T52" fmla="*/ 24 w 72"/>
                <a:gd name="T53" fmla="*/ 71 h 97"/>
                <a:gd name="T54" fmla="*/ 24 w 72"/>
                <a:gd name="T55" fmla="*/ 71 h 97"/>
                <a:gd name="T56" fmla="*/ 24 w 72"/>
                <a:gd name="T57" fmla="*/ 71 h 97"/>
                <a:gd name="T58" fmla="*/ 24 w 72"/>
                <a:gd name="T59" fmla="*/ 71 h 97"/>
                <a:gd name="T60" fmla="*/ 24 w 72"/>
                <a:gd name="T61" fmla="*/ 71 h 97"/>
                <a:gd name="T62" fmla="*/ 24 w 72"/>
                <a:gd name="T63" fmla="*/ 71 h 97"/>
                <a:gd name="T64" fmla="*/ 24 w 72"/>
                <a:gd name="T65" fmla="*/ 71 h 97"/>
                <a:gd name="T66" fmla="*/ 24 w 72"/>
                <a:gd name="T67" fmla="*/ 71 h 97"/>
                <a:gd name="T68" fmla="*/ 24 w 72"/>
                <a:gd name="T69" fmla="*/ 71 h 97"/>
                <a:gd name="T70" fmla="*/ 24 w 72"/>
                <a:gd name="T71" fmla="*/ 72 h 97"/>
                <a:gd name="T72" fmla="*/ 24 w 72"/>
                <a:gd name="T73" fmla="*/ 72 h 97"/>
                <a:gd name="T74" fmla="*/ 24 w 72"/>
                <a:gd name="T75" fmla="*/ 72 h 97"/>
                <a:gd name="T76" fmla="*/ 24 w 72"/>
                <a:gd name="T77" fmla="*/ 72 h 97"/>
                <a:gd name="T78" fmla="*/ 24 w 72"/>
                <a:gd name="T79" fmla="*/ 72 h 97"/>
                <a:gd name="T80" fmla="*/ 24 w 72"/>
                <a:gd name="T81" fmla="*/ 72 h 97"/>
                <a:gd name="T82" fmla="*/ 24 w 72"/>
                <a:gd name="T83" fmla="*/ 72 h 97"/>
                <a:gd name="T84" fmla="*/ 25 w 72"/>
                <a:gd name="T85" fmla="*/ 72 h 97"/>
                <a:gd name="T86" fmla="*/ 25 w 72"/>
                <a:gd name="T87" fmla="*/ 72 h 97"/>
                <a:gd name="T88" fmla="*/ 25 w 72"/>
                <a:gd name="T89" fmla="*/ 72 h 97"/>
                <a:gd name="T90" fmla="*/ 25 w 72"/>
                <a:gd name="T91" fmla="*/ 72 h 97"/>
                <a:gd name="T92" fmla="*/ 25 w 72"/>
                <a:gd name="T93" fmla="*/ 72 h 97"/>
                <a:gd name="T94" fmla="*/ 25 w 72"/>
                <a:gd name="T95" fmla="*/ 73 h 97"/>
                <a:gd name="T96" fmla="*/ 25 w 72"/>
                <a:gd name="T97" fmla="*/ 73 h 97"/>
                <a:gd name="T98" fmla="*/ 25 w 72"/>
                <a:gd name="T99" fmla="*/ 73 h 97"/>
                <a:gd name="T100" fmla="*/ 25 w 72"/>
                <a:gd name="T101" fmla="*/ 73 h 97"/>
                <a:gd name="T102" fmla="*/ 25 w 72"/>
                <a:gd name="T103" fmla="*/ 73 h 97"/>
                <a:gd name="T104" fmla="*/ 25 w 72"/>
                <a:gd name="T105" fmla="*/ 73 h 97"/>
                <a:gd name="T106" fmla="*/ 25 w 72"/>
                <a:gd name="T107" fmla="*/ 74 h 97"/>
                <a:gd name="T108" fmla="*/ 25 w 72"/>
                <a:gd name="T109" fmla="*/ 74 h 97"/>
                <a:gd name="T110" fmla="*/ 25 w 72"/>
                <a:gd name="T111" fmla="*/ 74 h 97"/>
                <a:gd name="T112" fmla="*/ 25 w 72"/>
                <a:gd name="T113" fmla="*/ 74 h 97"/>
                <a:gd name="T114" fmla="*/ 25 w 72"/>
                <a:gd name="T115" fmla="*/ 74 h 97"/>
                <a:gd name="T116" fmla="*/ 26 w 72"/>
                <a:gd name="T117" fmla="*/ 75 h 97"/>
                <a:gd name="T118" fmla="*/ 26 w 72"/>
                <a:gd name="T119" fmla="*/ 75 h 97"/>
                <a:gd name="T120" fmla="*/ 38 w 72"/>
                <a:gd name="T121" fmla="*/ 97 h 97"/>
                <a:gd name="T122" fmla="*/ 72 w 72"/>
                <a:gd name="T123" fmla="*/ 77 h 97"/>
                <a:gd name="T124" fmla="*/ 38 w 72"/>
                <a:gd name="T12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" h="97">
                  <a:moveTo>
                    <a:pt x="38" y="0"/>
                  </a:moveTo>
                  <a:lnTo>
                    <a:pt x="38" y="0"/>
                  </a:lnTo>
                  <a:lnTo>
                    <a:pt x="0" y="12"/>
                  </a:lnTo>
                  <a:cubicBezTo>
                    <a:pt x="6" y="31"/>
                    <a:pt x="14" y="50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4" y="72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5" y="72"/>
                    <a:pt x="25" y="73"/>
                    <a:pt x="25" y="73"/>
                  </a:cubicBezTo>
                  <a:lnTo>
                    <a:pt x="25" y="73"/>
                  </a:ln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4"/>
                    <a:pt x="25" y="74"/>
                  </a:cubicBezTo>
                  <a:lnTo>
                    <a:pt x="25" y="74"/>
                  </a:lnTo>
                  <a:cubicBezTo>
                    <a:pt x="25" y="74"/>
                    <a:pt x="25" y="74"/>
                    <a:pt x="25" y="74"/>
                  </a:cubicBezTo>
                  <a:lnTo>
                    <a:pt x="25" y="74"/>
                  </a:ln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6" y="74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30" y="82"/>
                    <a:pt x="34" y="90"/>
                    <a:pt x="38" y="97"/>
                  </a:cubicBezTo>
                  <a:lnTo>
                    <a:pt x="72" y="77"/>
                  </a:lnTo>
                  <a:cubicBezTo>
                    <a:pt x="58" y="52"/>
                    <a:pt x="47" y="27"/>
                    <a:pt x="38" y="0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41">
              <a:extLst>
                <a:ext uri="{FF2B5EF4-FFF2-40B4-BE49-F238E27FC236}">
                  <a16:creationId xmlns:a16="http://schemas.microsoft.com/office/drawing/2014/main" id="{52BBC948-6AD1-7F00-E7C2-B34DEAE50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313" y="3513138"/>
              <a:ext cx="33338" cy="66675"/>
            </a:xfrm>
            <a:custGeom>
              <a:avLst/>
              <a:gdLst>
                <a:gd name="T0" fmla="*/ 47 w 47"/>
                <a:gd name="T1" fmla="*/ 82 h 92"/>
                <a:gd name="T2" fmla="*/ 47 w 47"/>
                <a:gd name="T3" fmla="*/ 81 h 92"/>
                <a:gd name="T4" fmla="*/ 47 w 47"/>
                <a:gd name="T5" fmla="*/ 81 h 92"/>
                <a:gd name="T6" fmla="*/ 47 w 47"/>
                <a:gd name="T7" fmla="*/ 81 h 92"/>
                <a:gd name="T8" fmla="*/ 47 w 47"/>
                <a:gd name="T9" fmla="*/ 80 h 92"/>
                <a:gd name="T10" fmla="*/ 47 w 47"/>
                <a:gd name="T11" fmla="*/ 80 h 92"/>
                <a:gd name="T12" fmla="*/ 47 w 47"/>
                <a:gd name="T13" fmla="*/ 80 h 92"/>
                <a:gd name="T14" fmla="*/ 47 w 47"/>
                <a:gd name="T15" fmla="*/ 79 h 92"/>
                <a:gd name="T16" fmla="*/ 47 w 47"/>
                <a:gd name="T17" fmla="*/ 79 h 92"/>
                <a:gd name="T18" fmla="*/ 47 w 47"/>
                <a:gd name="T19" fmla="*/ 79 h 92"/>
                <a:gd name="T20" fmla="*/ 47 w 47"/>
                <a:gd name="T21" fmla="*/ 78 h 92"/>
                <a:gd name="T22" fmla="*/ 47 w 47"/>
                <a:gd name="T23" fmla="*/ 78 h 92"/>
                <a:gd name="T24" fmla="*/ 47 w 47"/>
                <a:gd name="T25" fmla="*/ 78 h 92"/>
                <a:gd name="T26" fmla="*/ 47 w 47"/>
                <a:gd name="T27" fmla="*/ 77 h 92"/>
                <a:gd name="T28" fmla="*/ 47 w 47"/>
                <a:gd name="T29" fmla="*/ 77 h 92"/>
                <a:gd name="T30" fmla="*/ 47 w 47"/>
                <a:gd name="T31" fmla="*/ 77 h 92"/>
                <a:gd name="T32" fmla="*/ 47 w 47"/>
                <a:gd name="T33" fmla="*/ 76 h 92"/>
                <a:gd name="T34" fmla="*/ 47 w 47"/>
                <a:gd name="T35" fmla="*/ 76 h 92"/>
                <a:gd name="T36" fmla="*/ 47 w 47"/>
                <a:gd name="T37" fmla="*/ 76 h 92"/>
                <a:gd name="T38" fmla="*/ 47 w 47"/>
                <a:gd name="T39" fmla="*/ 75 h 92"/>
                <a:gd name="T40" fmla="*/ 47 w 47"/>
                <a:gd name="T41" fmla="*/ 75 h 92"/>
                <a:gd name="T42" fmla="*/ 47 w 47"/>
                <a:gd name="T43" fmla="*/ 75 h 92"/>
                <a:gd name="T44" fmla="*/ 47 w 47"/>
                <a:gd name="T45" fmla="*/ 74 h 92"/>
                <a:gd name="T46" fmla="*/ 47 w 47"/>
                <a:gd name="T47" fmla="*/ 74 h 92"/>
                <a:gd name="T48" fmla="*/ 47 w 47"/>
                <a:gd name="T49" fmla="*/ 74 h 92"/>
                <a:gd name="T50" fmla="*/ 47 w 47"/>
                <a:gd name="T51" fmla="*/ 73 h 92"/>
                <a:gd name="T52" fmla="*/ 47 w 47"/>
                <a:gd name="T53" fmla="*/ 72 h 92"/>
                <a:gd name="T54" fmla="*/ 47 w 47"/>
                <a:gd name="T55" fmla="*/ 72 h 92"/>
                <a:gd name="T56" fmla="*/ 47 w 47"/>
                <a:gd name="T57" fmla="*/ 72 h 92"/>
                <a:gd name="T58" fmla="*/ 47 w 47"/>
                <a:gd name="T59" fmla="*/ 71 h 92"/>
                <a:gd name="T60" fmla="*/ 47 w 47"/>
                <a:gd name="T61" fmla="*/ 71 h 92"/>
                <a:gd name="T62" fmla="*/ 47 w 47"/>
                <a:gd name="T63" fmla="*/ 71 h 92"/>
                <a:gd name="T64" fmla="*/ 47 w 47"/>
                <a:gd name="T65" fmla="*/ 70 h 92"/>
                <a:gd name="T66" fmla="*/ 47 w 47"/>
                <a:gd name="T67" fmla="*/ 70 h 92"/>
                <a:gd name="T68" fmla="*/ 47 w 47"/>
                <a:gd name="T69" fmla="*/ 70 h 92"/>
                <a:gd name="T70" fmla="*/ 47 w 47"/>
                <a:gd name="T71" fmla="*/ 69 h 92"/>
                <a:gd name="T72" fmla="*/ 47 w 47"/>
                <a:gd name="T73" fmla="*/ 67 h 92"/>
                <a:gd name="T74" fmla="*/ 47 w 47"/>
                <a:gd name="T75" fmla="*/ 67 h 92"/>
                <a:gd name="T76" fmla="*/ 47 w 47"/>
                <a:gd name="T77" fmla="*/ 67 h 92"/>
                <a:gd name="T78" fmla="*/ 47 w 47"/>
                <a:gd name="T79" fmla="*/ 66 h 92"/>
                <a:gd name="T80" fmla="*/ 47 w 47"/>
                <a:gd name="T81" fmla="*/ 66 h 92"/>
                <a:gd name="T82" fmla="*/ 47 w 47"/>
                <a:gd name="T83" fmla="*/ 66 h 92"/>
                <a:gd name="T84" fmla="*/ 47 w 47"/>
                <a:gd name="T85" fmla="*/ 65 h 92"/>
                <a:gd name="T86" fmla="*/ 47 w 47"/>
                <a:gd name="T87" fmla="*/ 65 h 92"/>
                <a:gd name="T88" fmla="*/ 47 w 47"/>
                <a:gd name="T89" fmla="*/ 62 h 92"/>
                <a:gd name="T90" fmla="*/ 47 w 47"/>
                <a:gd name="T91" fmla="*/ 62 h 92"/>
                <a:gd name="T92" fmla="*/ 39 w 47"/>
                <a:gd name="T93" fmla="*/ 0 h 92"/>
                <a:gd name="T94" fmla="*/ 47 w 47"/>
                <a:gd name="T95" fmla="*/ 92 h 92"/>
                <a:gd name="T96" fmla="*/ 47 w 47"/>
                <a:gd name="T97" fmla="*/ 84 h 92"/>
                <a:gd name="T98" fmla="*/ 47 w 47"/>
                <a:gd name="T99" fmla="*/ 83 h 92"/>
                <a:gd name="T100" fmla="*/ 47 w 47"/>
                <a:gd name="T101" fmla="*/ 83 h 92"/>
                <a:gd name="T102" fmla="*/ 47 w 47"/>
                <a:gd name="T103" fmla="*/ 83 h 92"/>
                <a:gd name="T104" fmla="*/ 47 w 47"/>
                <a:gd name="T105" fmla="*/ 8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7" h="92">
                  <a:moveTo>
                    <a:pt x="47" y="82"/>
                  </a:moveTo>
                  <a:lnTo>
                    <a:pt x="47" y="82"/>
                  </a:ln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lnTo>
                    <a:pt x="47" y="74"/>
                  </a:ln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lnTo>
                    <a:pt x="47" y="72"/>
                  </a:lnTo>
                  <a:cubicBezTo>
                    <a:pt x="47" y="72"/>
                    <a:pt x="47" y="72"/>
                    <a:pt x="47" y="72"/>
                  </a:cubicBezTo>
                  <a:lnTo>
                    <a:pt x="47" y="72"/>
                  </a:ln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0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lnTo>
                    <a:pt x="47" y="69"/>
                  </a:lnTo>
                  <a:cubicBezTo>
                    <a:pt x="47" y="69"/>
                    <a:pt x="47" y="68"/>
                    <a:pt x="47" y="67"/>
                  </a:cubicBezTo>
                  <a:lnTo>
                    <a:pt x="47" y="67"/>
                  </a:lnTo>
                  <a:cubicBezTo>
                    <a:pt x="47" y="67"/>
                    <a:pt x="47" y="67"/>
                    <a:pt x="47" y="67"/>
                  </a:cubicBezTo>
                  <a:lnTo>
                    <a:pt x="47" y="67"/>
                  </a:lnTo>
                  <a:cubicBezTo>
                    <a:pt x="47" y="67"/>
                    <a:pt x="47" y="67"/>
                    <a:pt x="47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67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lnTo>
                    <a:pt x="47" y="66"/>
                  </a:lnTo>
                  <a:cubicBezTo>
                    <a:pt x="47" y="66"/>
                    <a:pt x="47" y="66"/>
                    <a:pt x="47" y="66"/>
                  </a:cubicBezTo>
                  <a:lnTo>
                    <a:pt x="47" y="66"/>
                  </a:lnTo>
                  <a:cubicBezTo>
                    <a:pt x="47" y="66"/>
                    <a:pt x="47" y="66"/>
                    <a:pt x="47" y="66"/>
                  </a:cubicBezTo>
                  <a:lnTo>
                    <a:pt x="47" y="66"/>
                  </a:ln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4"/>
                    <a:pt x="47" y="63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lnTo>
                    <a:pt x="47" y="62"/>
                  </a:lnTo>
                  <a:cubicBezTo>
                    <a:pt x="47" y="62"/>
                    <a:pt x="47" y="62"/>
                    <a:pt x="47" y="62"/>
                  </a:cubicBezTo>
                  <a:lnTo>
                    <a:pt x="47" y="62"/>
                  </a:lnTo>
                  <a:cubicBezTo>
                    <a:pt x="47" y="62"/>
                    <a:pt x="47" y="61"/>
                    <a:pt x="47" y="61"/>
                  </a:cubicBezTo>
                  <a:lnTo>
                    <a:pt x="47" y="61"/>
                  </a:lnTo>
                  <a:cubicBezTo>
                    <a:pt x="47" y="61"/>
                    <a:pt x="47" y="61"/>
                    <a:pt x="47" y="61"/>
                  </a:cubicBezTo>
                  <a:cubicBezTo>
                    <a:pt x="46" y="40"/>
                    <a:pt x="43" y="20"/>
                    <a:pt x="39" y="0"/>
                  </a:cubicBezTo>
                  <a:lnTo>
                    <a:pt x="0" y="8"/>
                  </a:lnTo>
                  <a:cubicBezTo>
                    <a:pt x="5" y="32"/>
                    <a:pt x="7" y="57"/>
                    <a:pt x="7" y="82"/>
                  </a:cubicBezTo>
                  <a:cubicBezTo>
                    <a:pt x="7" y="85"/>
                    <a:pt x="7" y="88"/>
                    <a:pt x="7" y="91"/>
                  </a:cubicBezTo>
                  <a:lnTo>
                    <a:pt x="47" y="92"/>
                  </a:lnTo>
                  <a:cubicBezTo>
                    <a:pt x="47" y="90"/>
                    <a:pt x="47" y="87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84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42">
              <a:extLst>
                <a:ext uri="{FF2B5EF4-FFF2-40B4-BE49-F238E27FC236}">
                  <a16:creationId xmlns:a16="http://schemas.microsoft.com/office/drawing/2014/main" id="{2EDDD09A-386B-45DE-331B-BE0E31E87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9226" y="3814763"/>
              <a:ext cx="71438" cy="50800"/>
            </a:xfrm>
            <a:custGeom>
              <a:avLst/>
              <a:gdLst>
                <a:gd name="T0" fmla="*/ 0 w 97"/>
                <a:gd name="T1" fmla="*/ 33 h 71"/>
                <a:gd name="T2" fmla="*/ 40 w 97"/>
                <a:gd name="T3" fmla="*/ 62 h 71"/>
                <a:gd name="T4" fmla="*/ 41 w 97"/>
                <a:gd name="T5" fmla="*/ 61 h 71"/>
                <a:gd name="T6" fmla="*/ 41 w 97"/>
                <a:gd name="T7" fmla="*/ 61 h 71"/>
                <a:gd name="T8" fmla="*/ 41 w 97"/>
                <a:gd name="T9" fmla="*/ 61 h 71"/>
                <a:gd name="T10" fmla="*/ 41 w 97"/>
                <a:gd name="T11" fmla="*/ 61 h 71"/>
                <a:gd name="T12" fmla="*/ 42 w 97"/>
                <a:gd name="T13" fmla="*/ 61 h 71"/>
                <a:gd name="T14" fmla="*/ 42 w 97"/>
                <a:gd name="T15" fmla="*/ 60 h 71"/>
                <a:gd name="T16" fmla="*/ 43 w 97"/>
                <a:gd name="T17" fmla="*/ 60 h 71"/>
                <a:gd name="T18" fmla="*/ 43 w 97"/>
                <a:gd name="T19" fmla="*/ 60 h 71"/>
                <a:gd name="T20" fmla="*/ 43 w 97"/>
                <a:gd name="T21" fmla="*/ 60 h 71"/>
                <a:gd name="T22" fmla="*/ 44 w 97"/>
                <a:gd name="T23" fmla="*/ 60 h 71"/>
                <a:gd name="T24" fmla="*/ 44 w 97"/>
                <a:gd name="T25" fmla="*/ 60 h 71"/>
                <a:gd name="T26" fmla="*/ 44 w 97"/>
                <a:gd name="T27" fmla="*/ 60 h 71"/>
                <a:gd name="T28" fmla="*/ 44 w 97"/>
                <a:gd name="T29" fmla="*/ 60 h 71"/>
                <a:gd name="T30" fmla="*/ 44 w 97"/>
                <a:gd name="T31" fmla="*/ 60 h 71"/>
                <a:gd name="T32" fmla="*/ 44 w 97"/>
                <a:gd name="T33" fmla="*/ 60 h 71"/>
                <a:gd name="T34" fmla="*/ 44 w 97"/>
                <a:gd name="T35" fmla="*/ 60 h 71"/>
                <a:gd name="T36" fmla="*/ 45 w 97"/>
                <a:gd name="T37" fmla="*/ 60 h 71"/>
                <a:gd name="T38" fmla="*/ 45 w 97"/>
                <a:gd name="T39" fmla="*/ 60 h 71"/>
                <a:gd name="T40" fmla="*/ 45 w 97"/>
                <a:gd name="T41" fmla="*/ 59 h 71"/>
                <a:gd name="T42" fmla="*/ 45 w 97"/>
                <a:gd name="T43" fmla="*/ 59 h 71"/>
                <a:gd name="T44" fmla="*/ 45 w 97"/>
                <a:gd name="T45" fmla="*/ 59 h 71"/>
                <a:gd name="T46" fmla="*/ 45 w 97"/>
                <a:gd name="T47" fmla="*/ 59 h 71"/>
                <a:gd name="T48" fmla="*/ 46 w 97"/>
                <a:gd name="T49" fmla="*/ 59 h 71"/>
                <a:gd name="T50" fmla="*/ 46 w 97"/>
                <a:gd name="T51" fmla="*/ 59 h 71"/>
                <a:gd name="T52" fmla="*/ 46 w 97"/>
                <a:gd name="T53" fmla="*/ 59 h 71"/>
                <a:gd name="T54" fmla="*/ 46 w 97"/>
                <a:gd name="T55" fmla="*/ 59 h 71"/>
                <a:gd name="T56" fmla="*/ 46 w 97"/>
                <a:gd name="T57" fmla="*/ 59 h 71"/>
                <a:gd name="T58" fmla="*/ 47 w 97"/>
                <a:gd name="T59" fmla="*/ 59 h 71"/>
                <a:gd name="T60" fmla="*/ 47 w 97"/>
                <a:gd name="T61" fmla="*/ 59 h 71"/>
                <a:gd name="T62" fmla="*/ 47 w 97"/>
                <a:gd name="T63" fmla="*/ 59 h 71"/>
                <a:gd name="T64" fmla="*/ 47 w 97"/>
                <a:gd name="T65" fmla="*/ 59 h 71"/>
                <a:gd name="T66" fmla="*/ 47 w 97"/>
                <a:gd name="T67" fmla="*/ 59 h 71"/>
                <a:gd name="T68" fmla="*/ 48 w 97"/>
                <a:gd name="T69" fmla="*/ 58 h 71"/>
                <a:gd name="T70" fmla="*/ 48 w 97"/>
                <a:gd name="T71" fmla="*/ 58 h 71"/>
                <a:gd name="T72" fmla="*/ 48 w 97"/>
                <a:gd name="T73" fmla="*/ 58 h 71"/>
                <a:gd name="T74" fmla="*/ 48 w 97"/>
                <a:gd name="T75" fmla="*/ 58 h 71"/>
                <a:gd name="T76" fmla="*/ 48 w 97"/>
                <a:gd name="T77" fmla="*/ 58 h 71"/>
                <a:gd name="T78" fmla="*/ 48 w 97"/>
                <a:gd name="T79" fmla="*/ 58 h 71"/>
                <a:gd name="T80" fmla="*/ 48 w 97"/>
                <a:gd name="T81" fmla="*/ 58 h 71"/>
                <a:gd name="T82" fmla="*/ 49 w 97"/>
                <a:gd name="T83" fmla="*/ 58 h 71"/>
                <a:gd name="T84" fmla="*/ 49 w 97"/>
                <a:gd name="T85" fmla="*/ 58 h 71"/>
                <a:gd name="T86" fmla="*/ 49 w 97"/>
                <a:gd name="T87" fmla="*/ 58 h 71"/>
                <a:gd name="T88" fmla="*/ 49 w 97"/>
                <a:gd name="T89" fmla="*/ 58 h 71"/>
                <a:gd name="T90" fmla="*/ 50 w 97"/>
                <a:gd name="T91" fmla="*/ 58 h 71"/>
                <a:gd name="T92" fmla="*/ 50 w 97"/>
                <a:gd name="T93" fmla="*/ 58 h 71"/>
                <a:gd name="T94" fmla="*/ 51 w 97"/>
                <a:gd name="T95" fmla="*/ 57 h 71"/>
                <a:gd name="T96" fmla="*/ 51 w 97"/>
                <a:gd name="T97" fmla="*/ 57 h 71"/>
                <a:gd name="T98" fmla="*/ 51 w 97"/>
                <a:gd name="T99" fmla="*/ 57 h 71"/>
                <a:gd name="T100" fmla="*/ 51 w 97"/>
                <a:gd name="T101" fmla="*/ 57 h 71"/>
                <a:gd name="T102" fmla="*/ 52 w 97"/>
                <a:gd name="T103" fmla="*/ 57 h 71"/>
                <a:gd name="T104" fmla="*/ 52 w 97"/>
                <a:gd name="T105" fmla="*/ 57 h 71"/>
                <a:gd name="T106" fmla="*/ 52 w 97"/>
                <a:gd name="T107" fmla="*/ 56 h 71"/>
                <a:gd name="T108" fmla="*/ 77 w 97"/>
                <a:gd name="T10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" h="71">
                  <a:moveTo>
                    <a:pt x="0" y="33"/>
                  </a:moveTo>
                  <a:lnTo>
                    <a:pt x="0" y="33"/>
                  </a:lnTo>
                  <a:lnTo>
                    <a:pt x="12" y="71"/>
                  </a:lnTo>
                  <a:cubicBezTo>
                    <a:pt x="21" y="68"/>
                    <a:pt x="31" y="65"/>
                    <a:pt x="40" y="62"/>
                  </a:cubicBezTo>
                  <a:cubicBezTo>
                    <a:pt x="40" y="61"/>
                    <a:pt x="41" y="61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lnTo>
                    <a:pt x="41" y="61"/>
                  </a:ln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lnTo>
                    <a:pt x="41" y="61"/>
                  </a:ln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0"/>
                    <a:pt x="42" y="60"/>
                    <a:pt x="42" y="60"/>
                  </a:cubicBezTo>
                  <a:lnTo>
                    <a:pt x="43" y="60"/>
                  </a:lnTo>
                  <a:cubicBezTo>
                    <a:pt x="43" y="60"/>
                    <a:pt x="43" y="60"/>
                    <a:pt x="43" y="60"/>
                  </a:cubicBezTo>
                  <a:lnTo>
                    <a:pt x="43" y="60"/>
                  </a:lnTo>
                  <a:cubicBezTo>
                    <a:pt x="43" y="60"/>
                    <a:pt x="43" y="60"/>
                    <a:pt x="43" y="60"/>
                  </a:cubicBezTo>
                  <a:lnTo>
                    <a:pt x="43" y="60"/>
                  </a:lnTo>
                  <a:cubicBezTo>
                    <a:pt x="43" y="60"/>
                    <a:pt x="43" y="60"/>
                    <a:pt x="43" y="60"/>
                  </a:cubicBezTo>
                  <a:lnTo>
                    <a:pt x="43" y="60"/>
                  </a:lnTo>
                  <a:cubicBezTo>
                    <a:pt x="43" y="60"/>
                    <a:pt x="43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8"/>
                    <a:pt x="49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2" y="57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68" y="50"/>
                    <a:pt x="82" y="43"/>
                    <a:pt x="97" y="35"/>
                  </a:cubicBezTo>
                  <a:lnTo>
                    <a:pt x="77" y="0"/>
                  </a:lnTo>
                  <a:cubicBezTo>
                    <a:pt x="52" y="14"/>
                    <a:pt x="27" y="25"/>
                    <a:pt x="0" y="33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43">
              <a:extLst>
                <a:ext uri="{FF2B5EF4-FFF2-40B4-BE49-F238E27FC236}">
                  <a16:creationId xmlns:a16="http://schemas.microsoft.com/office/drawing/2014/main" id="{2D7EAEEF-CEEA-671F-AF3C-3CD93CD13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0513" y="3687763"/>
              <a:ext cx="57150" cy="69850"/>
            </a:xfrm>
            <a:custGeom>
              <a:avLst/>
              <a:gdLst>
                <a:gd name="T0" fmla="*/ 0 w 79"/>
                <a:gd name="T1" fmla="*/ 72 h 97"/>
                <a:gd name="T2" fmla="*/ 0 w 79"/>
                <a:gd name="T3" fmla="*/ 72 h 97"/>
                <a:gd name="T4" fmla="*/ 31 w 79"/>
                <a:gd name="T5" fmla="*/ 97 h 97"/>
                <a:gd name="T6" fmla="*/ 64 w 79"/>
                <a:gd name="T7" fmla="*/ 47 h 97"/>
                <a:gd name="T8" fmla="*/ 64 w 79"/>
                <a:gd name="T9" fmla="*/ 47 h 97"/>
                <a:gd name="T10" fmla="*/ 64 w 79"/>
                <a:gd name="T11" fmla="*/ 47 h 97"/>
                <a:gd name="T12" fmla="*/ 64 w 79"/>
                <a:gd name="T13" fmla="*/ 47 h 97"/>
                <a:gd name="T14" fmla="*/ 64 w 79"/>
                <a:gd name="T15" fmla="*/ 47 h 97"/>
                <a:gd name="T16" fmla="*/ 64 w 79"/>
                <a:gd name="T17" fmla="*/ 47 h 97"/>
                <a:gd name="T18" fmla="*/ 64 w 79"/>
                <a:gd name="T19" fmla="*/ 47 h 97"/>
                <a:gd name="T20" fmla="*/ 64 w 79"/>
                <a:gd name="T21" fmla="*/ 47 h 97"/>
                <a:gd name="T22" fmla="*/ 64 w 79"/>
                <a:gd name="T23" fmla="*/ 47 h 97"/>
                <a:gd name="T24" fmla="*/ 64 w 79"/>
                <a:gd name="T25" fmla="*/ 47 h 97"/>
                <a:gd name="T26" fmla="*/ 64 w 79"/>
                <a:gd name="T27" fmla="*/ 46 h 97"/>
                <a:gd name="T28" fmla="*/ 64 w 79"/>
                <a:gd name="T29" fmla="*/ 46 h 97"/>
                <a:gd name="T30" fmla="*/ 64 w 79"/>
                <a:gd name="T31" fmla="*/ 46 h 97"/>
                <a:gd name="T32" fmla="*/ 64 w 79"/>
                <a:gd name="T33" fmla="*/ 46 h 97"/>
                <a:gd name="T34" fmla="*/ 65 w 79"/>
                <a:gd name="T35" fmla="*/ 46 h 97"/>
                <a:gd name="T36" fmla="*/ 65 w 79"/>
                <a:gd name="T37" fmla="*/ 46 h 97"/>
                <a:gd name="T38" fmla="*/ 65 w 79"/>
                <a:gd name="T39" fmla="*/ 46 h 97"/>
                <a:gd name="T40" fmla="*/ 65 w 79"/>
                <a:gd name="T41" fmla="*/ 46 h 97"/>
                <a:gd name="T42" fmla="*/ 65 w 79"/>
                <a:gd name="T43" fmla="*/ 46 h 97"/>
                <a:gd name="T44" fmla="*/ 65 w 79"/>
                <a:gd name="T45" fmla="*/ 46 h 97"/>
                <a:gd name="T46" fmla="*/ 65 w 79"/>
                <a:gd name="T47" fmla="*/ 45 h 97"/>
                <a:gd name="T48" fmla="*/ 65 w 79"/>
                <a:gd name="T49" fmla="*/ 45 h 97"/>
                <a:gd name="T50" fmla="*/ 65 w 79"/>
                <a:gd name="T51" fmla="*/ 45 h 97"/>
                <a:gd name="T52" fmla="*/ 65 w 79"/>
                <a:gd name="T53" fmla="*/ 45 h 97"/>
                <a:gd name="T54" fmla="*/ 65 w 79"/>
                <a:gd name="T55" fmla="*/ 45 h 97"/>
                <a:gd name="T56" fmla="*/ 65 w 79"/>
                <a:gd name="T57" fmla="*/ 45 h 97"/>
                <a:gd name="T58" fmla="*/ 65 w 79"/>
                <a:gd name="T59" fmla="*/ 45 h 97"/>
                <a:gd name="T60" fmla="*/ 65 w 79"/>
                <a:gd name="T61" fmla="*/ 45 h 97"/>
                <a:gd name="T62" fmla="*/ 65 w 79"/>
                <a:gd name="T63" fmla="*/ 45 h 97"/>
                <a:gd name="T64" fmla="*/ 65 w 79"/>
                <a:gd name="T65" fmla="*/ 45 h 97"/>
                <a:gd name="T66" fmla="*/ 65 w 79"/>
                <a:gd name="T67" fmla="*/ 45 h 97"/>
                <a:gd name="T68" fmla="*/ 65 w 79"/>
                <a:gd name="T69" fmla="*/ 45 h 97"/>
                <a:gd name="T70" fmla="*/ 65 w 79"/>
                <a:gd name="T71" fmla="*/ 44 h 97"/>
                <a:gd name="T72" fmla="*/ 65 w 79"/>
                <a:gd name="T73" fmla="*/ 44 h 97"/>
                <a:gd name="T74" fmla="*/ 65 w 79"/>
                <a:gd name="T75" fmla="*/ 44 h 97"/>
                <a:gd name="T76" fmla="*/ 65 w 79"/>
                <a:gd name="T77" fmla="*/ 44 h 97"/>
                <a:gd name="T78" fmla="*/ 65 w 79"/>
                <a:gd name="T79" fmla="*/ 44 h 97"/>
                <a:gd name="T80" fmla="*/ 66 w 79"/>
                <a:gd name="T81" fmla="*/ 44 h 97"/>
                <a:gd name="T82" fmla="*/ 66 w 79"/>
                <a:gd name="T83" fmla="*/ 44 h 97"/>
                <a:gd name="T84" fmla="*/ 66 w 79"/>
                <a:gd name="T85" fmla="*/ 44 h 97"/>
                <a:gd name="T86" fmla="*/ 66 w 79"/>
                <a:gd name="T87" fmla="*/ 44 h 97"/>
                <a:gd name="T88" fmla="*/ 66 w 79"/>
                <a:gd name="T89" fmla="*/ 44 h 97"/>
                <a:gd name="T90" fmla="*/ 66 w 79"/>
                <a:gd name="T91" fmla="*/ 43 h 97"/>
                <a:gd name="T92" fmla="*/ 66 w 79"/>
                <a:gd name="T93" fmla="*/ 43 h 97"/>
                <a:gd name="T94" fmla="*/ 66 w 79"/>
                <a:gd name="T95" fmla="*/ 43 h 97"/>
                <a:gd name="T96" fmla="*/ 66 w 79"/>
                <a:gd name="T97" fmla="*/ 43 h 97"/>
                <a:gd name="T98" fmla="*/ 66 w 79"/>
                <a:gd name="T99" fmla="*/ 43 h 97"/>
                <a:gd name="T100" fmla="*/ 66 w 79"/>
                <a:gd name="T101" fmla="*/ 43 h 97"/>
                <a:gd name="T102" fmla="*/ 66 w 79"/>
                <a:gd name="T103" fmla="*/ 42 h 97"/>
                <a:gd name="T104" fmla="*/ 66 w 79"/>
                <a:gd name="T105" fmla="*/ 42 h 97"/>
                <a:gd name="T106" fmla="*/ 67 w 79"/>
                <a:gd name="T107" fmla="*/ 42 h 97"/>
                <a:gd name="T108" fmla="*/ 67 w 79"/>
                <a:gd name="T109" fmla="*/ 42 h 97"/>
                <a:gd name="T110" fmla="*/ 67 w 79"/>
                <a:gd name="T111" fmla="*/ 42 h 97"/>
                <a:gd name="T112" fmla="*/ 79 w 79"/>
                <a:gd name="T113" fmla="*/ 17 h 97"/>
                <a:gd name="T114" fmla="*/ 43 w 79"/>
                <a:gd name="T115" fmla="*/ 0 h 97"/>
                <a:gd name="T116" fmla="*/ 0 w 79"/>
                <a:gd name="T117" fmla="*/ 7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9" h="97">
                  <a:moveTo>
                    <a:pt x="0" y="72"/>
                  </a:moveTo>
                  <a:lnTo>
                    <a:pt x="0" y="72"/>
                  </a:lnTo>
                  <a:lnTo>
                    <a:pt x="31" y="97"/>
                  </a:lnTo>
                  <a:cubicBezTo>
                    <a:pt x="43" y="81"/>
                    <a:pt x="54" y="64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2"/>
                    <a:pt x="66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6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71" y="34"/>
                    <a:pt x="75" y="26"/>
                    <a:pt x="79" y="17"/>
                  </a:cubicBezTo>
                  <a:lnTo>
                    <a:pt x="43" y="0"/>
                  </a:lnTo>
                  <a:cubicBezTo>
                    <a:pt x="31" y="26"/>
                    <a:pt x="17" y="50"/>
                    <a:pt x="0" y="72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44">
              <a:extLst>
                <a:ext uri="{FF2B5EF4-FFF2-40B4-BE49-F238E27FC236}">
                  <a16:creationId xmlns:a16="http://schemas.microsoft.com/office/drawing/2014/main" id="{EE33BE22-74A3-6B43-CE7A-870F0430C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701" y="3795713"/>
              <a:ext cx="68263" cy="57150"/>
            </a:xfrm>
            <a:custGeom>
              <a:avLst/>
              <a:gdLst>
                <a:gd name="T0" fmla="*/ 23 w 96"/>
                <a:gd name="T1" fmla="*/ 48 h 79"/>
                <a:gd name="T2" fmla="*/ 26 w 96"/>
                <a:gd name="T3" fmla="*/ 50 h 79"/>
                <a:gd name="T4" fmla="*/ 27 w 96"/>
                <a:gd name="T5" fmla="*/ 50 h 79"/>
                <a:gd name="T6" fmla="*/ 27 w 96"/>
                <a:gd name="T7" fmla="*/ 51 h 79"/>
                <a:gd name="T8" fmla="*/ 27 w 96"/>
                <a:gd name="T9" fmla="*/ 51 h 79"/>
                <a:gd name="T10" fmla="*/ 28 w 96"/>
                <a:gd name="T11" fmla="*/ 51 h 79"/>
                <a:gd name="T12" fmla="*/ 28 w 96"/>
                <a:gd name="T13" fmla="*/ 51 h 79"/>
                <a:gd name="T14" fmla="*/ 28 w 96"/>
                <a:gd name="T15" fmla="*/ 51 h 79"/>
                <a:gd name="T16" fmla="*/ 28 w 96"/>
                <a:gd name="T17" fmla="*/ 51 h 79"/>
                <a:gd name="T18" fmla="*/ 28 w 96"/>
                <a:gd name="T19" fmla="*/ 51 h 79"/>
                <a:gd name="T20" fmla="*/ 29 w 96"/>
                <a:gd name="T21" fmla="*/ 52 h 79"/>
                <a:gd name="T22" fmla="*/ 29 w 96"/>
                <a:gd name="T23" fmla="*/ 52 h 79"/>
                <a:gd name="T24" fmla="*/ 29 w 96"/>
                <a:gd name="T25" fmla="*/ 52 h 79"/>
                <a:gd name="T26" fmla="*/ 30 w 96"/>
                <a:gd name="T27" fmla="*/ 52 h 79"/>
                <a:gd name="T28" fmla="*/ 30 w 96"/>
                <a:gd name="T29" fmla="*/ 52 h 79"/>
                <a:gd name="T30" fmla="*/ 30 w 96"/>
                <a:gd name="T31" fmla="*/ 52 h 79"/>
                <a:gd name="T32" fmla="*/ 30 w 96"/>
                <a:gd name="T33" fmla="*/ 53 h 79"/>
                <a:gd name="T34" fmla="*/ 30 w 96"/>
                <a:gd name="T35" fmla="*/ 53 h 79"/>
                <a:gd name="T36" fmla="*/ 31 w 96"/>
                <a:gd name="T37" fmla="*/ 53 h 79"/>
                <a:gd name="T38" fmla="*/ 31 w 96"/>
                <a:gd name="T39" fmla="*/ 53 h 79"/>
                <a:gd name="T40" fmla="*/ 31 w 96"/>
                <a:gd name="T41" fmla="*/ 53 h 79"/>
                <a:gd name="T42" fmla="*/ 31 w 96"/>
                <a:gd name="T43" fmla="*/ 53 h 79"/>
                <a:gd name="T44" fmla="*/ 32 w 96"/>
                <a:gd name="T45" fmla="*/ 53 h 79"/>
                <a:gd name="T46" fmla="*/ 32 w 96"/>
                <a:gd name="T47" fmla="*/ 54 h 79"/>
                <a:gd name="T48" fmla="*/ 32 w 96"/>
                <a:gd name="T49" fmla="*/ 54 h 79"/>
                <a:gd name="T50" fmla="*/ 32 w 96"/>
                <a:gd name="T51" fmla="*/ 54 h 79"/>
                <a:gd name="T52" fmla="*/ 33 w 96"/>
                <a:gd name="T53" fmla="*/ 54 h 79"/>
                <a:gd name="T54" fmla="*/ 33 w 96"/>
                <a:gd name="T55" fmla="*/ 54 h 79"/>
                <a:gd name="T56" fmla="*/ 33 w 96"/>
                <a:gd name="T57" fmla="*/ 54 h 79"/>
                <a:gd name="T58" fmla="*/ 33 w 96"/>
                <a:gd name="T59" fmla="*/ 54 h 79"/>
                <a:gd name="T60" fmla="*/ 34 w 96"/>
                <a:gd name="T61" fmla="*/ 55 h 79"/>
                <a:gd name="T62" fmla="*/ 34 w 96"/>
                <a:gd name="T63" fmla="*/ 55 h 79"/>
                <a:gd name="T64" fmla="*/ 34 w 96"/>
                <a:gd name="T65" fmla="*/ 55 h 79"/>
                <a:gd name="T66" fmla="*/ 34 w 96"/>
                <a:gd name="T67" fmla="*/ 55 h 79"/>
                <a:gd name="T68" fmla="*/ 35 w 96"/>
                <a:gd name="T69" fmla="*/ 55 h 79"/>
                <a:gd name="T70" fmla="*/ 35 w 96"/>
                <a:gd name="T71" fmla="*/ 55 h 79"/>
                <a:gd name="T72" fmla="*/ 35 w 96"/>
                <a:gd name="T73" fmla="*/ 56 h 79"/>
                <a:gd name="T74" fmla="*/ 35 w 96"/>
                <a:gd name="T75" fmla="*/ 56 h 79"/>
                <a:gd name="T76" fmla="*/ 36 w 96"/>
                <a:gd name="T77" fmla="*/ 56 h 79"/>
                <a:gd name="T78" fmla="*/ 36 w 96"/>
                <a:gd name="T79" fmla="*/ 56 h 79"/>
                <a:gd name="T80" fmla="*/ 36 w 96"/>
                <a:gd name="T81" fmla="*/ 56 h 79"/>
                <a:gd name="T82" fmla="*/ 36 w 96"/>
                <a:gd name="T83" fmla="*/ 56 h 79"/>
                <a:gd name="T84" fmla="*/ 37 w 96"/>
                <a:gd name="T85" fmla="*/ 57 h 79"/>
                <a:gd name="T86" fmla="*/ 96 w 96"/>
                <a:gd name="T87" fmla="*/ 4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79">
                  <a:moveTo>
                    <a:pt x="0" y="32"/>
                  </a:moveTo>
                  <a:lnTo>
                    <a:pt x="0" y="32"/>
                  </a:lnTo>
                  <a:cubicBezTo>
                    <a:pt x="7" y="37"/>
                    <a:pt x="15" y="43"/>
                    <a:pt x="23" y="48"/>
                  </a:cubicBezTo>
                  <a:cubicBezTo>
                    <a:pt x="24" y="49"/>
                    <a:pt x="25" y="49"/>
                    <a:pt x="26" y="50"/>
                  </a:cubicBezTo>
                  <a:lnTo>
                    <a:pt x="26" y="50"/>
                  </a:ln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0"/>
                    <a:pt x="27" y="50"/>
                  </a:cubicBezTo>
                  <a:lnTo>
                    <a:pt x="27" y="50"/>
                  </a:lnTo>
                  <a:cubicBezTo>
                    <a:pt x="27" y="50"/>
                    <a:pt x="27" y="50"/>
                    <a:pt x="27" y="50"/>
                  </a:cubicBezTo>
                  <a:lnTo>
                    <a:pt x="27" y="50"/>
                  </a:lnTo>
                  <a:cubicBezTo>
                    <a:pt x="27" y="50"/>
                    <a:pt x="27" y="51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lnTo>
                    <a:pt x="27" y="51"/>
                  </a:lnTo>
                  <a:cubicBezTo>
                    <a:pt x="27" y="51"/>
                    <a:pt x="27" y="51"/>
                    <a:pt x="27" y="51"/>
                  </a:cubicBezTo>
                  <a:lnTo>
                    <a:pt x="27" y="51"/>
                  </a:lnTo>
                  <a:cubicBezTo>
                    <a:pt x="27" y="51"/>
                    <a:pt x="27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lnTo>
                    <a:pt x="28" y="51"/>
                  </a:ln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9" y="52"/>
                    <a:pt x="28" y="51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lnTo>
                    <a:pt x="29" y="52"/>
                  </a:ln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lnTo>
                    <a:pt x="35" y="56"/>
                  </a:ln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lnTo>
                    <a:pt x="36" y="56"/>
                  </a:ln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8" y="57"/>
                  </a:cubicBezTo>
                  <a:cubicBezTo>
                    <a:pt x="51" y="65"/>
                    <a:pt x="65" y="72"/>
                    <a:pt x="79" y="79"/>
                  </a:cubicBezTo>
                  <a:lnTo>
                    <a:pt x="96" y="42"/>
                  </a:lnTo>
                  <a:cubicBezTo>
                    <a:pt x="70" y="31"/>
                    <a:pt x="46" y="16"/>
                    <a:pt x="23" y="0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45">
              <a:extLst>
                <a:ext uri="{FF2B5EF4-FFF2-40B4-BE49-F238E27FC236}">
                  <a16:creationId xmlns:a16="http://schemas.microsoft.com/office/drawing/2014/main" id="{C3C95910-A860-F273-EB7A-A632A0B78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3501" y="3844925"/>
              <a:ext cx="66675" cy="34925"/>
            </a:xfrm>
            <a:custGeom>
              <a:avLst/>
              <a:gdLst>
                <a:gd name="T0" fmla="*/ 0 w 92"/>
                <a:gd name="T1" fmla="*/ 48 h 48"/>
                <a:gd name="T2" fmla="*/ 2 w 92"/>
                <a:gd name="T3" fmla="*/ 48 h 48"/>
                <a:gd name="T4" fmla="*/ 5 w 92"/>
                <a:gd name="T5" fmla="*/ 48 h 48"/>
                <a:gd name="T6" fmla="*/ 5 w 92"/>
                <a:gd name="T7" fmla="*/ 48 h 48"/>
                <a:gd name="T8" fmla="*/ 6 w 92"/>
                <a:gd name="T9" fmla="*/ 48 h 48"/>
                <a:gd name="T10" fmla="*/ 6 w 92"/>
                <a:gd name="T11" fmla="*/ 48 h 48"/>
                <a:gd name="T12" fmla="*/ 7 w 92"/>
                <a:gd name="T13" fmla="*/ 48 h 48"/>
                <a:gd name="T14" fmla="*/ 8 w 92"/>
                <a:gd name="T15" fmla="*/ 48 h 48"/>
                <a:gd name="T16" fmla="*/ 8 w 92"/>
                <a:gd name="T17" fmla="*/ 48 h 48"/>
                <a:gd name="T18" fmla="*/ 8 w 92"/>
                <a:gd name="T19" fmla="*/ 48 h 48"/>
                <a:gd name="T20" fmla="*/ 9 w 92"/>
                <a:gd name="T21" fmla="*/ 48 h 48"/>
                <a:gd name="T22" fmla="*/ 9 w 92"/>
                <a:gd name="T23" fmla="*/ 48 h 48"/>
                <a:gd name="T24" fmla="*/ 9 w 92"/>
                <a:gd name="T25" fmla="*/ 48 h 48"/>
                <a:gd name="T26" fmla="*/ 10 w 92"/>
                <a:gd name="T27" fmla="*/ 48 h 48"/>
                <a:gd name="T28" fmla="*/ 10 w 92"/>
                <a:gd name="T29" fmla="*/ 48 h 48"/>
                <a:gd name="T30" fmla="*/ 11 w 92"/>
                <a:gd name="T31" fmla="*/ 48 h 48"/>
                <a:gd name="T32" fmla="*/ 11 w 92"/>
                <a:gd name="T33" fmla="*/ 48 h 48"/>
                <a:gd name="T34" fmla="*/ 11 w 92"/>
                <a:gd name="T35" fmla="*/ 48 h 48"/>
                <a:gd name="T36" fmla="*/ 12 w 92"/>
                <a:gd name="T37" fmla="*/ 48 h 48"/>
                <a:gd name="T38" fmla="*/ 12 w 92"/>
                <a:gd name="T39" fmla="*/ 48 h 48"/>
                <a:gd name="T40" fmla="*/ 12 w 92"/>
                <a:gd name="T41" fmla="*/ 48 h 48"/>
                <a:gd name="T42" fmla="*/ 13 w 92"/>
                <a:gd name="T43" fmla="*/ 48 h 48"/>
                <a:gd name="T44" fmla="*/ 13 w 92"/>
                <a:gd name="T45" fmla="*/ 48 h 48"/>
                <a:gd name="T46" fmla="*/ 13 w 92"/>
                <a:gd name="T47" fmla="*/ 48 h 48"/>
                <a:gd name="T48" fmla="*/ 14 w 92"/>
                <a:gd name="T49" fmla="*/ 48 h 48"/>
                <a:gd name="T50" fmla="*/ 14 w 92"/>
                <a:gd name="T51" fmla="*/ 48 h 48"/>
                <a:gd name="T52" fmla="*/ 15 w 92"/>
                <a:gd name="T53" fmla="*/ 48 h 48"/>
                <a:gd name="T54" fmla="*/ 15 w 92"/>
                <a:gd name="T55" fmla="*/ 48 h 48"/>
                <a:gd name="T56" fmla="*/ 15 w 92"/>
                <a:gd name="T57" fmla="*/ 48 h 48"/>
                <a:gd name="T58" fmla="*/ 16 w 92"/>
                <a:gd name="T59" fmla="*/ 48 h 48"/>
                <a:gd name="T60" fmla="*/ 16 w 92"/>
                <a:gd name="T61" fmla="*/ 48 h 48"/>
                <a:gd name="T62" fmla="*/ 16 w 92"/>
                <a:gd name="T63" fmla="*/ 48 h 48"/>
                <a:gd name="T64" fmla="*/ 17 w 92"/>
                <a:gd name="T65" fmla="*/ 48 h 48"/>
                <a:gd name="T66" fmla="*/ 17 w 92"/>
                <a:gd name="T67" fmla="*/ 48 h 48"/>
                <a:gd name="T68" fmla="*/ 17 w 92"/>
                <a:gd name="T69" fmla="*/ 48 h 48"/>
                <a:gd name="T70" fmla="*/ 18 w 92"/>
                <a:gd name="T71" fmla="*/ 48 h 48"/>
                <a:gd name="T72" fmla="*/ 18 w 92"/>
                <a:gd name="T73" fmla="*/ 48 h 48"/>
                <a:gd name="T74" fmla="*/ 18 w 92"/>
                <a:gd name="T75" fmla="*/ 48 h 48"/>
                <a:gd name="T76" fmla="*/ 19 w 92"/>
                <a:gd name="T77" fmla="*/ 48 h 48"/>
                <a:gd name="T78" fmla="*/ 19 w 92"/>
                <a:gd name="T79" fmla="*/ 48 h 48"/>
                <a:gd name="T80" fmla="*/ 19 w 92"/>
                <a:gd name="T81" fmla="*/ 48 h 48"/>
                <a:gd name="T82" fmla="*/ 20 w 92"/>
                <a:gd name="T83" fmla="*/ 48 h 48"/>
                <a:gd name="T84" fmla="*/ 20 w 92"/>
                <a:gd name="T85" fmla="*/ 48 h 48"/>
                <a:gd name="T86" fmla="*/ 20 w 92"/>
                <a:gd name="T87" fmla="*/ 48 h 48"/>
                <a:gd name="T88" fmla="*/ 21 w 92"/>
                <a:gd name="T89" fmla="*/ 48 h 48"/>
                <a:gd name="T90" fmla="*/ 21 w 92"/>
                <a:gd name="T91" fmla="*/ 48 h 48"/>
                <a:gd name="T92" fmla="*/ 21 w 92"/>
                <a:gd name="T93" fmla="*/ 48 h 48"/>
                <a:gd name="T94" fmla="*/ 22 w 92"/>
                <a:gd name="T95" fmla="*/ 48 h 48"/>
                <a:gd name="T96" fmla="*/ 22 w 92"/>
                <a:gd name="T97" fmla="*/ 47 h 48"/>
                <a:gd name="T98" fmla="*/ 22 w 92"/>
                <a:gd name="T99" fmla="*/ 47 h 48"/>
                <a:gd name="T100" fmla="*/ 23 w 92"/>
                <a:gd name="T101" fmla="*/ 47 h 48"/>
                <a:gd name="T102" fmla="*/ 92 w 92"/>
                <a:gd name="T103" fmla="*/ 3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48">
                  <a:moveTo>
                    <a:pt x="6" y="8"/>
                  </a:moveTo>
                  <a:lnTo>
                    <a:pt x="6" y="8"/>
                  </a:lnTo>
                  <a:cubicBezTo>
                    <a:pt x="4" y="8"/>
                    <a:pt x="2" y="8"/>
                    <a:pt x="0" y="8"/>
                  </a:cubicBezTo>
                  <a:lnTo>
                    <a:pt x="0" y="48"/>
                  </a:lnTo>
                  <a:cubicBezTo>
                    <a:pt x="0" y="48"/>
                    <a:pt x="1" y="48"/>
                    <a:pt x="1" y="48"/>
                  </a:cubicBezTo>
                  <a:lnTo>
                    <a:pt x="1" y="48"/>
                  </a:ln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8"/>
                    <a:pt x="3" y="48"/>
                    <a:pt x="4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8" y="48"/>
                    <a:pt x="18" y="48"/>
                    <a:pt x="18" y="48"/>
                  </a:cubicBezTo>
                  <a:lnTo>
                    <a:pt x="18" y="48"/>
                  </a:ln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lnTo>
                    <a:pt x="20" y="48"/>
                  </a:lnTo>
                  <a:cubicBezTo>
                    <a:pt x="20" y="48"/>
                    <a:pt x="20" y="48"/>
                    <a:pt x="20" y="48"/>
                  </a:cubicBezTo>
                  <a:lnTo>
                    <a:pt x="20" y="48"/>
                  </a:ln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lnTo>
                    <a:pt x="21" y="48"/>
                  </a:lnTo>
                  <a:cubicBezTo>
                    <a:pt x="21" y="48"/>
                    <a:pt x="21" y="48"/>
                    <a:pt x="21" y="48"/>
                  </a:cubicBezTo>
                  <a:lnTo>
                    <a:pt x="21" y="48"/>
                  </a:ln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2" y="48"/>
                  </a:cubicBezTo>
                  <a:lnTo>
                    <a:pt x="22" y="48"/>
                  </a:ln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7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2" y="47"/>
                    <a:pt x="22" y="47"/>
                    <a:pt x="22" y="47"/>
                  </a:cubicBezTo>
                  <a:lnTo>
                    <a:pt x="22" y="47"/>
                  </a:lnTo>
                  <a:cubicBezTo>
                    <a:pt x="22" y="47"/>
                    <a:pt x="22" y="47"/>
                    <a:pt x="22" y="47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2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4" y="47"/>
                    <a:pt x="24" y="47"/>
                  </a:cubicBezTo>
                  <a:cubicBezTo>
                    <a:pt x="47" y="46"/>
                    <a:pt x="70" y="44"/>
                    <a:pt x="92" y="39"/>
                  </a:cubicBezTo>
                  <a:lnTo>
                    <a:pt x="84" y="0"/>
                  </a:lnTo>
                  <a:cubicBezTo>
                    <a:pt x="59" y="5"/>
                    <a:pt x="32" y="8"/>
                    <a:pt x="6" y="8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46">
              <a:extLst>
                <a:ext uri="{FF2B5EF4-FFF2-40B4-BE49-F238E27FC236}">
                  <a16:creationId xmlns:a16="http://schemas.microsoft.com/office/drawing/2014/main" id="{0AA0AA16-D527-CD74-D0BE-ACBC535F9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7438" y="3733800"/>
              <a:ext cx="65088" cy="66675"/>
            </a:xfrm>
            <a:custGeom>
              <a:avLst/>
              <a:gdLst>
                <a:gd name="T0" fmla="*/ 4 w 89"/>
                <a:gd name="T1" fmla="*/ 29 h 92"/>
                <a:gd name="T2" fmla="*/ 5 w 89"/>
                <a:gd name="T3" fmla="*/ 30 h 92"/>
                <a:gd name="T4" fmla="*/ 6 w 89"/>
                <a:gd name="T5" fmla="*/ 31 h 92"/>
                <a:gd name="T6" fmla="*/ 6 w 89"/>
                <a:gd name="T7" fmla="*/ 32 h 92"/>
                <a:gd name="T8" fmla="*/ 7 w 89"/>
                <a:gd name="T9" fmla="*/ 32 h 92"/>
                <a:gd name="T10" fmla="*/ 7 w 89"/>
                <a:gd name="T11" fmla="*/ 33 h 92"/>
                <a:gd name="T12" fmla="*/ 8 w 89"/>
                <a:gd name="T13" fmla="*/ 33 h 92"/>
                <a:gd name="T14" fmla="*/ 8 w 89"/>
                <a:gd name="T15" fmla="*/ 34 h 92"/>
                <a:gd name="T16" fmla="*/ 8 w 89"/>
                <a:gd name="T17" fmla="*/ 34 h 92"/>
                <a:gd name="T18" fmla="*/ 9 w 89"/>
                <a:gd name="T19" fmla="*/ 35 h 92"/>
                <a:gd name="T20" fmla="*/ 9 w 89"/>
                <a:gd name="T21" fmla="*/ 35 h 92"/>
                <a:gd name="T22" fmla="*/ 10 w 89"/>
                <a:gd name="T23" fmla="*/ 36 h 92"/>
                <a:gd name="T24" fmla="*/ 10 w 89"/>
                <a:gd name="T25" fmla="*/ 37 h 92"/>
                <a:gd name="T26" fmla="*/ 11 w 89"/>
                <a:gd name="T27" fmla="*/ 37 h 92"/>
                <a:gd name="T28" fmla="*/ 11 w 89"/>
                <a:gd name="T29" fmla="*/ 38 h 92"/>
                <a:gd name="T30" fmla="*/ 12 w 89"/>
                <a:gd name="T31" fmla="*/ 39 h 92"/>
                <a:gd name="T32" fmla="*/ 12 w 89"/>
                <a:gd name="T33" fmla="*/ 40 h 92"/>
                <a:gd name="T34" fmla="*/ 13 w 89"/>
                <a:gd name="T35" fmla="*/ 41 h 92"/>
                <a:gd name="T36" fmla="*/ 14 w 89"/>
                <a:gd name="T37" fmla="*/ 42 h 92"/>
                <a:gd name="T38" fmla="*/ 15 w 89"/>
                <a:gd name="T39" fmla="*/ 43 h 92"/>
                <a:gd name="T40" fmla="*/ 16 w 89"/>
                <a:gd name="T41" fmla="*/ 44 h 92"/>
                <a:gd name="T42" fmla="*/ 16 w 89"/>
                <a:gd name="T43" fmla="*/ 44 h 92"/>
                <a:gd name="T44" fmla="*/ 17 w 89"/>
                <a:gd name="T45" fmla="*/ 45 h 92"/>
                <a:gd name="T46" fmla="*/ 17 w 89"/>
                <a:gd name="T47" fmla="*/ 46 h 92"/>
                <a:gd name="T48" fmla="*/ 18 w 89"/>
                <a:gd name="T49" fmla="*/ 46 h 92"/>
                <a:gd name="T50" fmla="*/ 18 w 89"/>
                <a:gd name="T51" fmla="*/ 47 h 92"/>
                <a:gd name="T52" fmla="*/ 19 w 89"/>
                <a:gd name="T53" fmla="*/ 48 h 92"/>
                <a:gd name="T54" fmla="*/ 20 w 89"/>
                <a:gd name="T55" fmla="*/ 48 h 92"/>
                <a:gd name="T56" fmla="*/ 20 w 89"/>
                <a:gd name="T57" fmla="*/ 49 h 92"/>
                <a:gd name="T58" fmla="*/ 20 w 89"/>
                <a:gd name="T59" fmla="*/ 49 h 92"/>
                <a:gd name="T60" fmla="*/ 21 w 89"/>
                <a:gd name="T61" fmla="*/ 50 h 92"/>
                <a:gd name="T62" fmla="*/ 21 w 89"/>
                <a:gd name="T63" fmla="*/ 50 h 92"/>
                <a:gd name="T64" fmla="*/ 22 w 89"/>
                <a:gd name="T65" fmla="*/ 51 h 92"/>
                <a:gd name="T66" fmla="*/ 22 w 89"/>
                <a:gd name="T67" fmla="*/ 51 h 92"/>
                <a:gd name="T68" fmla="*/ 22 w 89"/>
                <a:gd name="T69" fmla="*/ 52 h 92"/>
                <a:gd name="T70" fmla="*/ 23 w 89"/>
                <a:gd name="T71" fmla="*/ 52 h 92"/>
                <a:gd name="T72" fmla="*/ 23 w 89"/>
                <a:gd name="T73" fmla="*/ 53 h 92"/>
                <a:gd name="T74" fmla="*/ 24 w 89"/>
                <a:gd name="T75" fmla="*/ 53 h 92"/>
                <a:gd name="T76" fmla="*/ 24 w 89"/>
                <a:gd name="T77" fmla="*/ 54 h 92"/>
                <a:gd name="T78" fmla="*/ 25 w 89"/>
                <a:gd name="T79" fmla="*/ 54 h 92"/>
                <a:gd name="T80" fmla="*/ 25 w 89"/>
                <a:gd name="T81" fmla="*/ 55 h 92"/>
                <a:gd name="T82" fmla="*/ 25 w 89"/>
                <a:gd name="T83" fmla="*/ 55 h 92"/>
                <a:gd name="T84" fmla="*/ 26 w 89"/>
                <a:gd name="T85" fmla="*/ 56 h 92"/>
                <a:gd name="T86" fmla="*/ 26 w 89"/>
                <a:gd name="T87" fmla="*/ 56 h 92"/>
                <a:gd name="T88" fmla="*/ 27 w 89"/>
                <a:gd name="T89" fmla="*/ 57 h 92"/>
                <a:gd name="T90" fmla="*/ 27 w 89"/>
                <a:gd name="T91" fmla="*/ 58 h 92"/>
                <a:gd name="T92" fmla="*/ 28 w 89"/>
                <a:gd name="T93" fmla="*/ 58 h 92"/>
                <a:gd name="T94" fmla="*/ 28 w 89"/>
                <a:gd name="T95" fmla="*/ 59 h 92"/>
                <a:gd name="T96" fmla="*/ 29 w 89"/>
                <a:gd name="T97" fmla="*/ 59 h 92"/>
                <a:gd name="T98" fmla="*/ 30 w 89"/>
                <a:gd name="T99" fmla="*/ 60 h 92"/>
                <a:gd name="T100" fmla="*/ 57 w 89"/>
                <a:gd name="T101" fmla="*/ 88 h 92"/>
                <a:gd name="T102" fmla="*/ 58 w 89"/>
                <a:gd name="T103" fmla="*/ 89 h 92"/>
                <a:gd name="T104" fmla="*/ 59 w 89"/>
                <a:gd name="T105" fmla="*/ 90 h 92"/>
                <a:gd name="T106" fmla="*/ 60 w 89"/>
                <a:gd name="T107" fmla="*/ 90 h 92"/>
                <a:gd name="T108" fmla="*/ 60 w 89"/>
                <a:gd name="T109" fmla="*/ 91 h 92"/>
                <a:gd name="T110" fmla="*/ 60 w 89"/>
                <a:gd name="T111" fmla="*/ 91 h 92"/>
                <a:gd name="T112" fmla="*/ 61 w 89"/>
                <a:gd name="T113" fmla="*/ 92 h 92"/>
                <a:gd name="T114" fmla="*/ 61 w 89"/>
                <a:gd name="T11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9" h="92">
                  <a:moveTo>
                    <a:pt x="33" y="0"/>
                  </a:moveTo>
                  <a:lnTo>
                    <a:pt x="33" y="0"/>
                  </a:lnTo>
                  <a:lnTo>
                    <a:pt x="0" y="23"/>
                  </a:lnTo>
                  <a:cubicBezTo>
                    <a:pt x="1" y="25"/>
                    <a:pt x="3" y="27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5" y="29"/>
                  </a:ln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6" y="30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9" y="34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6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lnTo>
                    <a:pt x="10" y="37"/>
                  </a:lnTo>
                  <a:cubicBezTo>
                    <a:pt x="10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lnTo>
                    <a:pt x="11" y="38"/>
                  </a:lnTo>
                  <a:cubicBezTo>
                    <a:pt x="11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1"/>
                    <a:pt x="13" y="41"/>
                  </a:cubicBezTo>
                  <a:lnTo>
                    <a:pt x="13" y="41"/>
                  </a:lnTo>
                  <a:cubicBezTo>
                    <a:pt x="13" y="41"/>
                    <a:pt x="13" y="41"/>
                    <a:pt x="13" y="41"/>
                  </a:cubicBezTo>
                  <a:lnTo>
                    <a:pt x="13" y="41"/>
                  </a:lnTo>
                  <a:cubicBezTo>
                    <a:pt x="13" y="41"/>
                    <a:pt x="13" y="41"/>
                    <a:pt x="13" y="41"/>
                  </a:cubicBezTo>
                  <a:cubicBezTo>
                    <a:pt x="14" y="41"/>
                    <a:pt x="14" y="41"/>
                    <a:pt x="14" y="41"/>
                  </a:cubicBezTo>
                  <a:lnTo>
                    <a:pt x="14" y="41"/>
                  </a:lnTo>
                  <a:cubicBezTo>
                    <a:pt x="14" y="41"/>
                    <a:pt x="14" y="42"/>
                    <a:pt x="14" y="4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42"/>
                    <a:pt x="15" y="42"/>
                    <a:pt x="15" y="42"/>
                  </a:cubicBezTo>
                  <a:lnTo>
                    <a:pt x="15" y="42"/>
                  </a:lnTo>
                  <a:cubicBezTo>
                    <a:pt x="15" y="42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3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6" y="44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lnTo>
                    <a:pt x="16" y="44"/>
                  </a:ln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6" y="44"/>
                    <a:pt x="16" y="45"/>
                  </a:cubicBezTo>
                  <a:cubicBezTo>
                    <a:pt x="16" y="45"/>
                    <a:pt x="16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7" y="45"/>
                    <a:pt x="17" y="45"/>
                    <a:pt x="17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7" y="46"/>
                    <a:pt x="17" y="46"/>
                    <a:pt x="17" y="46"/>
                  </a:cubicBezTo>
                  <a:lnTo>
                    <a:pt x="17" y="46"/>
                  </a:lnTo>
                  <a:cubicBezTo>
                    <a:pt x="17" y="46"/>
                    <a:pt x="17" y="46"/>
                    <a:pt x="18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8" y="46"/>
                    <a:pt x="18" y="46"/>
                    <a:pt x="18" y="46"/>
                  </a:cubicBezTo>
                  <a:lnTo>
                    <a:pt x="18" y="46"/>
                  </a:lnTo>
                  <a:cubicBezTo>
                    <a:pt x="18" y="46"/>
                    <a:pt x="18" y="46"/>
                    <a:pt x="18" y="47"/>
                  </a:cubicBezTo>
                  <a:lnTo>
                    <a:pt x="18" y="47"/>
                  </a:lnTo>
                  <a:cubicBezTo>
                    <a:pt x="18" y="47"/>
                    <a:pt x="18" y="47"/>
                    <a:pt x="18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7"/>
                    <a:pt x="19" y="47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20" y="48"/>
                  </a:cubicBezTo>
                  <a:lnTo>
                    <a:pt x="20" y="48"/>
                  </a:ln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lnTo>
                    <a:pt x="20" y="49"/>
                  </a:ln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1"/>
                    <a:pt x="21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52"/>
                    <a:pt x="22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lnTo>
                    <a:pt x="25" y="54"/>
                  </a:ln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6" y="55"/>
                    <a:pt x="26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6" y="55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9"/>
                    <a:pt x="28" y="59"/>
                  </a:cubicBezTo>
                  <a:lnTo>
                    <a:pt x="28" y="59"/>
                  </a:lnTo>
                  <a:cubicBezTo>
                    <a:pt x="28" y="59"/>
                    <a:pt x="28" y="59"/>
                    <a:pt x="28" y="59"/>
                  </a:cubicBezTo>
                  <a:cubicBezTo>
                    <a:pt x="28" y="59"/>
                    <a:pt x="28" y="59"/>
                    <a:pt x="28" y="59"/>
                  </a:cubicBezTo>
                  <a:cubicBezTo>
                    <a:pt x="28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lnTo>
                    <a:pt x="29" y="59"/>
                  </a:ln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lnTo>
                    <a:pt x="29" y="60"/>
                  </a:ln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1" y="61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9" y="71"/>
                    <a:pt x="48" y="80"/>
                    <a:pt x="57" y="88"/>
                  </a:cubicBezTo>
                  <a:lnTo>
                    <a:pt x="57" y="88"/>
                  </a:lnTo>
                  <a:cubicBezTo>
                    <a:pt x="57" y="88"/>
                    <a:pt x="58" y="88"/>
                    <a:pt x="58" y="89"/>
                  </a:cubicBezTo>
                  <a:lnTo>
                    <a:pt x="58" y="89"/>
                  </a:lnTo>
                  <a:cubicBezTo>
                    <a:pt x="58" y="89"/>
                    <a:pt x="58" y="89"/>
                    <a:pt x="58" y="89"/>
                  </a:cubicBezTo>
                  <a:lnTo>
                    <a:pt x="58" y="89"/>
                  </a:lnTo>
                  <a:cubicBezTo>
                    <a:pt x="58" y="89"/>
                    <a:pt x="58" y="89"/>
                    <a:pt x="58" y="89"/>
                  </a:cubicBezTo>
                  <a:lnTo>
                    <a:pt x="58" y="89"/>
                  </a:ln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lnTo>
                    <a:pt x="58" y="89"/>
                  </a:lnTo>
                  <a:cubicBezTo>
                    <a:pt x="59" y="89"/>
                    <a:pt x="59" y="89"/>
                    <a:pt x="59" y="89"/>
                  </a:cubicBezTo>
                  <a:lnTo>
                    <a:pt x="59" y="90"/>
                  </a:lnTo>
                  <a:cubicBezTo>
                    <a:pt x="59" y="90"/>
                    <a:pt x="59" y="90"/>
                    <a:pt x="59" y="90"/>
                  </a:cubicBezTo>
                  <a:lnTo>
                    <a:pt x="59" y="90"/>
                  </a:ln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lnTo>
                    <a:pt x="61" y="92"/>
                  </a:lnTo>
                  <a:cubicBezTo>
                    <a:pt x="62" y="92"/>
                    <a:pt x="62" y="92"/>
                    <a:pt x="62" y="92"/>
                  </a:cubicBezTo>
                  <a:lnTo>
                    <a:pt x="89" y="63"/>
                  </a:lnTo>
                  <a:cubicBezTo>
                    <a:pt x="68" y="44"/>
                    <a:pt x="49" y="23"/>
                    <a:pt x="33" y="0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47">
              <a:extLst>
                <a:ext uri="{FF2B5EF4-FFF2-40B4-BE49-F238E27FC236}">
                  <a16:creationId xmlns:a16="http://schemas.microsoft.com/office/drawing/2014/main" id="{45487CBF-78E4-4EBD-9865-36E5FF2EE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838" y="3835400"/>
              <a:ext cx="68263" cy="42863"/>
            </a:xfrm>
            <a:custGeom>
              <a:avLst/>
              <a:gdLst>
                <a:gd name="T0" fmla="*/ 0 w 95"/>
                <a:gd name="T1" fmla="*/ 38 h 58"/>
                <a:gd name="T2" fmla="*/ 0 w 95"/>
                <a:gd name="T3" fmla="*/ 38 h 58"/>
                <a:gd name="T4" fmla="*/ 91 w 95"/>
                <a:gd name="T5" fmla="*/ 58 h 58"/>
                <a:gd name="T6" fmla="*/ 95 w 95"/>
                <a:gd name="T7" fmla="*/ 19 h 58"/>
                <a:gd name="T8" fmla="*/ 13 w 95"/>
                <a:gd name="T9" fmla="*/ 0 h 58"/>
                <a:gd name="T10" fmla="*/ 0 w 95"/>
                <a:gd name="T11" fmla="*/ 3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" h="58">
                  <a:moveTo>
                    <a:pt x="0" y="38"/>
                  </a:moveTo>
                  <a:lnTo>
                    <a:pt x="0" y="38"/>
                  </a:lnTo>
                  <a:cubicBezTo>
                    <a:pt x="29" y="48"/>
                    <a:pt x="60" y="55"/>
                    <a:pt x="91" y="58"/>
                  </a:cubicBezTo>
                  <a:lnTo>
                    <a:pt x="95" y="19"/>
                  </a:lnTo>
                  <a:cubicBezTo>
                    <a:pt x="67" y="16"/>
                    <a:pt x="40" y="9"/>
                    <a:pt x="13" y="0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B84A8043-93B0-91F5-1614-EA266367E531}"/>
              </a:ext>
            </a:extLst>
          </p:cNvPr>
          <p:cNvGrpSpPr/>
          <p:nvPr/>
        </p:nvGrpSpPr>
        <p:grpSpPr>
          <a:xfrm>
            <a:off x="4615493" y="3218420"/>
            <a:ext cx="585364" cy="584700"/>
            <a:chOff x="3371923" y="3278353"/>
            <a:chExt cx="585364" cy="584700"/>
          </a:xfrm>
        </p:grpSpPr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E19DCD2C-210B-8984-FB95-987BD37B12F3}"/>
                </a:ext>
              </a:extLst>
            </p:cNvPr>
            <p:cNvSpPr/>
            <p:nvPr/>
          </p:nvSpPr>
          <p:spPr>
            <a:xfrm>
              <a:off x="3477765" y="3278353"/>
              <a:ext cx="479522" cy="474572"/>
            </a:xfrm>
            <a:custGeom>
              <a:avLst/>
              <a:gdLst>
                <a:gd name="connsiteX0" fmla="*/ 239158 w 479522"/>
                <a:gd name="connsiteY0" fmla="*/ 0 h 474572"/>
                <a:gd name="connsiteX1" fmla="*/ 479522 w 479522"/>
                <a:gd name="connsiteY1" fmla="*/ 237289 h 474572"/>
                <a:gd name="connsiteX2" fmla="*/ 257187 w 479522"/>
                <a:gd name="connsiteY2" fmla="*/ 473862 h 474572"/>
                <a:gd name="connsiteX3" fmla="*/ 257187 w 479522"/>
                <a:gd name="connsiteY3" fmla="*/ 474572 h 474572"/>
                <a:gd name="connsiteX4" fmla="*/ 254733 w 479522"/>
                <a:gd name="connsiteY4" fmla="*/ 474572 h 474572"/>
                <a:gd name="connsiteX5" fmla="*/ 261556 w 479522"/>
                <a:gd name="connsiteY5" fmla="*/ 452589 h 474572"/>
                <a:gd name="connsiteX6" fmla="*/ 262019 w 479522"/>
                <a:gd name="connsiteY6" fmla="*/ 448000 h 474572"/>
                <a:gd name="connsiteX7" fmla="*/ 332425 w 479522"/>
                <a:gd name="connsiteY7" fmla="*/ 429112 h 474572"/>
                <a:gd name="connsiteX8" fmla="*/ 454460 w 479522"/>
                <a:gd name="connsiteY8" fmla="*/ 247790 h 474572"/>
                <a:gd name="connsiteX9" fmla="*/ 408745 w 479522"/>
                <a:gd name="connsiteY9" fmla="*/ 247790 h 474572"/>
                <a:gd name="connsiteX10" fmla="*/ 408745 w 479522"/>
                <a:gd name="connsiteY10" fmla="*/ 226783 h 474572"/>
                <a:gd name="connsiteX11" fmla="*/ 454460 w 479522"/>
                <a:gd name="connsiteY11" fmla="*/ 226783 h 474572"/>
                <a:gd name="connsiteX12" fmla="*/ 257187 w 479522"/>
                <a:gd name="connsiteY12" fmla="*/ 25278 h 474572"/>
                <a:gd name="connsiteX13" fmla="*/ 257187 w 479522"/>
                <a:gd name="connsiteY13" fmla="*/ 68358 h 474572"/>
                <a:gd name="connsiteX14" fmla="*/ 235911 w 479522"/>
                <a:gd name="connsiteY14" fmla="*/ 68358 h 474572"/>
                <a:gd name="connsiteX15" fmla="*/ 235911 w 479522"/>
                <a:gd name="connsiteY15" fmla="*/ 24567 h 474572"/>
                <a:gd name="connsiteX16" fmla="*/ 29875 w 479522"/>
                <a:gd name="connsiteY16" fmla="*/ 186171 h 474572"/>
                <a:gd name="connsiteX17" fmla="*/ 25208 w 479522"/>
                <a:gd name="connsiteY17" fmla="*/ 217632 h 474572"/>
                <a:gd name="connsiteX18" fmla="*/ 0 w 479522"/>
                <a:gd name="connsiteY18" fmla="*/ 225456 h 474572"/>
                <a:gd name="connsiteX19" fmla="*/ 3680 w 479522"/>
                <a:gd name="connsiteY19" fmla="*/ 189528 h 474572"/>
                <a:gd name="connsiteX20" fmla="*/ 239158 w 479522"/>
                <a:gd name="connsiteY20" fmla="*/ 0 h 474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79522" h="474572">
                  <a:moveTo>
                    <a:pt x="239158" y="0"/>
                  </a:moveTo>
                  <a:cubicBezTo>
                    <a:pt x="371687" y="0"/>
                    <a:pt x="479522" y="106451"/>
                    <a:pt x="479522" y="237289"/>
                  </a:cubicBezTo>
                  <a:cubicBezTo>
                    <a:pt x="479522" y="362161"/>
                    <a:pt x="381336" y="464691"/>
                    <a:pt x="257187" y="473862"/>
                  </a:cubicBezTo>
                  <a:lnTo>
                    <a:pt x="257187" y="474572"/>
                  </a:lnTo>
                  <a:lnTo>
                    <a:pt x="254733" y="474572"/>
                  </a:lnTo>
                  <a:lnTo>
                    <a:pt x="261556" y="452589"/>
                  </a:lnTo>
                  <a:lnTo>
                    <a:pt x="262019" y="448000"/>
                  </a:lnTo>
                  <a:lnTo>
                    <a:pt x="332425" y="429112"/>
                  </a:lnTo>
                  <a:cubicBezTo>
                    <a:pt x="401731" y="396181"/>
                    <a:pt x="450535" y="327692"/>
                    <a:pt x="454460" y="247790"/>
                  </a:cubicBezTo>
                  <a:lnTo>
                    <a:pt x="408745" y="247790"/>
                  </a:lnTo>
                  <a:lnTo>
                    <a:pt x="408745" y="226783"/>
                  </a:lnTo>
                  <a:lnTo>
                    <a:pt x="454460" y="226783"/>
                  </a:lnTo>
                  <a:cubicBezTo>
                    <a:pt x="449227" y="120247"/>
                    <a:pt x="364115" y="34087"/>
                    <a:pt x="257187" y="25278"/>
                  </a:cubicBezTo>
                  <a:lnTo>
                    <a:pt x="257187" y="68358"/>
                  </a:lnTo>
                  <a:lnTo>
                    <a:pt x="235911" y="68358"/>
                  </a:lnTo>
                  <a:lnTo>
                    <a:pt x="235911" y="24567"/>
                  </a:lnTo>
                  <a:cubicBezTo>
                    <a:pt x="136350" y="26047"/>
                    <a:pt x="52874" y="94444"/>
                    <a:pt x="29875" y="186171"/>
                  </a:cubicBezTo>
                  <a:lnTo>
                    <a:pt x="25208" y="217632"/>
                  </a:lnTo>
                  <a:lnTo>
                    <a:pt x="0" y="225456"/>
                  </a:lnTo>
                  <a:lnTo>
                    <a:pt x="3680" y="189528"/>
                  </a:lnTo>
                  <a:cubicBezTo>
                    <a:pt x="26133" y="81502"/>
                    <a:pt x="123189" y="0"/>
                    <a:pt x="23915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4F2BCEBE-2B77-C9D0-22DF-3447565D7FAB}"/>
                </a:ext>
              </a:extLst>
            </p:cNvPr>
            <p:cNvSpPr/>
            <p:nvPr/>
          </p:nvSpPr>
          <p:spPr>
            <a:xfrm>
              <a:off x="3696174" y="3390883"/>
              <a:ext cx="174998" cy="228224"/>
            </a:xfrm>
            <a:custGeom>
              <a:avLst/>
              <a:gdLst>
                <a:gd name="connsiteX0" fmla="*/ 82867 w 214312"/>
                <a:gd name="connsiteY0" fmla="*/ 151448 h 267652"/>
                <a:gd name="connsiteX1" fmla="*/ 83820 w 214312"/>
                <a:gd name="connsiteY1" fmla="*/ 140970 h 267652"/>
                <a:gd name="connsiteX2" fmla="*/ 59055 w 214312"/>
                <a:gd name="connsiteY2" fmla="*/ 102870 h 267652"/>
                <a:gd name="connsiteX3" fmla="*/ 59055 w 214312"/>
                <a:gd name="connsiteY3" fmla="*/ 0 h 267652"/>
                <a:gd name="connsiteX4" fmla="*/ 22860 w 214312"/>
                <a:gd name="connsiteY4" fmla="*/ 0 h 267652"/>
                <a:gd name="connsiteX5" fmla="*/ 22860 w 214312"/>
                <a:gd name="connsiteY5" fmla="*/ 103823 h 267652"/>
                <a:gd name="connsiteX6" fmla="*/ 0 w 214312"/>
                <a:gd name="connsiteY6" fmla="*/ 140970 h 267652"/>
                <a:gd name="connsiteX7" fmla="*/ 41910 w 214312"/>
                <a:gd name="connsiteY7" fmla="*/ 182880 h 267652"/>
                <a:gd name="connsiteX8" fmla="*/ 59055 w 214312"/>
                <a:gd name="connsiteY8" fmla="*/ 179070 h 267652"/>
                <a:gd name="connsiteX9" fmla="*/ 194310 w 214312"/>
                <a:gd name="connsiteY9" fmla="*/ 267653 h 267652"/>
                <a:gd name="connsiteX10" fmla="*/ 214312 w 214312"/>
                <a:gd name="connsiteY10" fmla="*/ 238125 h 267652"/>
                <a:gd name="connsiteX11" fmla="*/ 82867 w 214312"/>
                <a:gd name="connsiteY11" fmla="*/ 151448 h 267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4312" h="267652">
                  <a:moveTo>
                    <a:pt x="82867" y="151448"/>
                  </a:moveTo>
                  <a:cubicBezTo>
                    <a:pt x="83820" y="147638"/>
                    <a:pt x="83820" y="144780"/>
                    <a:pt x="83820" y="140970"/>
                  </a:cubicBezTo>
                  <a:cubicBezTo>
                    <a:pt x="83820" y="124778"/>
                    <a:pt x="74295" y="109538"/>
                    <a:pt x="59055" y="102870"/>
                  </a:cubicBezTo>
                  <a:lnTo>
                    <a:pt x="59055" y="0"/>
                  </a:lnTo>
                  <a:lnTo>
                    <a:pt x="22860" y="0"/>
                  </a:lnTo>
                  <a:lnTo>
                    <a:pt x="22860" y="103823"/>
                  </a:lnTo>
                  <a:cubicBezTo>
                    <a:pt x="8572" y="110490"/>
                    <a:pt x="0" y="124778"/>
                    <a:pt x="0" y="140970"/>
                  </a:cubicBezTo>
                  <a:cubicBezTo>
                    <a:pt x="0" y="163830"/>
                    <a:pt x="19050" y="182880"/>
                    <a:pt x="41910" y="182880"/>
                  </a:cubicBezTo>
                  <a:cubicBezTo>
                    <a:pt x="47625" y="182880"/>
                    <a:pt x="53340" y="181927"/>
                    <a:pt x="59055" y="179070"/>
                  </a:cubicBezTo>
                  <a:lnTo>
                    <a:pt x="194310" y="267653"/>
                  </a:lnTo>
                  <a:lnTo>
                    <a:pt x="214312" y="238125"/>
                  </a:lnTo>
                  <a:lnTo>
                    <a:pt x="82867" y="151448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13" name="Group 212">
              <a:extLst>
                <a:ext uri="{FF2B5EF4-FFF2-40B4-BE49-F238E27FC236}">
                  <a16:creationId xmlns:a16="http://schemas.microsoft.com/office/drawing/2014/main" id="{C4055ADE-F6B6-AC14-BEE0-AD1B61451095}"/>
                </a:ext>
              </a:extLst>
            </p:cNvPr>
            <p:cNvGrpSpPr/>
            <p:nvPr/>
          </p:nvGrpSpPr>
          <p:grpSpPr>
            <a:xfrm>
              <a:off x="3371923" y="3518543"/>
              <a:ext cx="344510" cy="344510"/>
              <a:chOff x="3371923" y="3518543"/>
              <a:chExt cx="344510" cy="344510"/>
            </a:xfrm>
          </p:grpSpPr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50382817-155F-432C-F235-0C6F4D379D01}"/>
                  </a:ext>
                </a:extLst>
              </p:cNvPr>
              <p:cNvSpPr/>
              <p:nvPr/>
            </p:nvSpPr>
            <p:spPr>
              <a:xfrm>
                <a:off x="3389487" y="3578089"/>
                <a:ext cx="39949" cy="45327"/>
              </a:xfrm>
              <a:custGeom>
                <a:avLst/>
                <a:gdLst>
                  <a:gd name="connsiteX0" fmla="*/ 29797 w 65909"/>
                  <a:gd name="connsiteY0" fmla="*/ 74482 h 74782"/>
                  <a:gd name="connsiteX1" fmla="*/ 35090 w 65909"/>
                  <a:gd name="connsiteY1" fmla="*/ 72493 h 74782"/>
                  <a:gd name="connsiteX2" fmla="*/ 64925 w 65909"/>
                  <a:gd name="connsiteY2" fmla="*/ 27588 h 74782"/>
                  <a:gd name="connsiteX3" fmla="*/ 64689 w 65909"/>
                  <a:gd name="connsiteY3" fmla="*/ 21958 h 74782"/>
                  <a:gd name="connsiteX4" fmla="*/ 43956 w 65909"/>
                  <a:gd name="connsiteY4" fmla="*/ 1225 h 74782"/>
                  <a:gd name="connsiteX5" fmla="*/ 37854 w 65909"/>
                  <a:gd name="connsiteY5" fmla="*/ 1461 h 74782"/>
                  <a:gd name="connsiteX6" fmla="*/ 433 w 65909"/>
                  <a:gd name="connsiteY6" fmla="*/ 57761 h 74782"/>
                  <a:gd name="connsiteX7" fmla="*/ 2625 w 65909"/>
                  <a:gd name="connsiteY7" fmla="*/ 63492 h 74782"/>
                  <a:gd name="connsiteX8" fmla="*/ 29797 w 65909"/>
                  <a:gd name="connsiteY8" fmla="*/ 74482 h 74782"/>
                  <a:gd name="connsiteX9" fmla="*/ 29797 w 65909"/>
                  <a:gd name="connsiteY9" fmla="*/ 74482 h 74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5909" h="74782">
                    <a:moveTo>
                      <a:pt x="29797" y="74482"/>
                    </a:moveTo>
                    <a:cubicBezTo>
                      <a:pt x="31820" y="75291"/>
                      <a:pt x="34078" y="74414"/>
                      <a:pt x="35090" y="72493"/>
                    </a:cubicBezTo>
                    <a:cubicBezTo>
                      <a:pt x="43315" y="56614"/>
                      <a:pt x="53261" y="41545"/>
                      <a:pt x="64925" y="27588"/>
                    </a:cubicBezTo>
                    <a:cubicBezTo>
                      <a:pt x="66307" y="25936"/>
                      <a:pt x="66240" y="23475"/>
                      <a:pt x="64689" y="21958"/>
                    </a:cubicBezTo>
                    <a:lnTo>
                      <a:pt x="43956" y="1225"/>
                    </a:lnTo>
                    <a:cubicBezTo>
                      <a:pt x="42237" y="-494"/>
                      <a:pt x="39405" y="-393"/>
                      <a:pt x="37854" y="1461"/>
                    </a:cubicBezTo>
                    <a:cubicBezTo>
                      <a:pt x="23054" y="18857"/>
                      <a:pt x="10513" y="37735"/>
                      <a:pt x="433" y="57761"/>
                    </a:cubicBezTo>
                    <a:cubicBezTo>
                      <a:pt x="-645" y="59918"/>
                      <a:pt x="366" y="62581"/>
                      <a:pt x="2625" y="63492"/>
                    </a:cubicBezTo>
                    <a:lnTo>
                      <a:pt x="29797" y="74482"/>
                    </a:lnTo>
                    <a:lnTo>
                      <a:pt x="29797" y="74482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23324889-38B2-DE4F-7305-1B2EE0B4A38E}"/>
                  </a:ext>
                </a:extLst>
              </p:cNvPr>
              <p:cNvSpPr/>
              <p:nvPr/>
            </p:nvSpPr>
            <p:spPr>
              <a:xfrm>
                <a:off x="3371923" y="3702169"/>
                <a:ext cx="29355" cy="44460"/>
              </a:xfrm>
              <a:custGeom>
                <a:avLst/>
                <a:gdLst>
                  <a:gd name="connsiteX0" fmla="*/ 13297 w 48431"/>
                  <a:gd name="connsiteY0" fmla="*/ 70526 h 73352"/>
                  <a:gd name="connsiteX1" fmla="*/ 18860 w 48431"/>
                  <a:gd name="connsiteY1" fmla="*/ 73021 h 73352"/>
                  <a:gd name="connsiteX2" fmla="*/ 45897 w 48431"/>
                  <a:gd name="connsiteY2" fmla="*/ 61592 h 73352"/>
                  <a:gd name="connsiteX3" fmla="*/ 48223 w 48431"/>
                  <a:gd name="connsiteY3" fmla="*/ 56468 h 73352"/>
                  <a:gd name="connsiteX4" fmla="*/ 37638 w 48431"/>
                  <a:gd name="connsiteY4" fmla="*/ 3809 h 73352"/>
                  <a:gd name="connsiteX5" fmla="*/ 33491 w 48431"/>
                  <a:gd name="connsiteY5" fmla="*/ 0 h 73352"/>
                  <a:gd name="connsiteX6" fmla="*/ 4161 w 48431"/>
                  <a:gd name="connsiteY6" fmla="*/ 0 h 73352"/>
                  <a:gd name="connsiteX7" fmla="*/ 15 w 48431"/>
                  <a:gd name="connsiteY7" fmla="*/ 4484 h 73352"/>
                  <a:gd name="connsiteX8" fmla="*/ 13297 w 48431"/>
                  <a:gd name="connsiteY8" fmla="*/ 70526 h 73352"/>
                  <a:gd name="connsiteX9" fmla="*/ 13297 w 48431"/>
                  <a:gd name="connsiteY9" fmla="*/ 70526 h 73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431" h="73352">
                    <a:moveTo>
                      <a:pt x="13297" y="70526"/>
                    </a:moveTo>
                    <a:cubicBezTo>
                      <a:pt x="14039" y="72819"/>
                      <a:pt x="16635" y="73965"/>
                      <a:pt x="18860" y="73021"/>
                    </a:cubicBezTo>
                    <a:lnTo>
                      <a:pt x="45897" y="61592"/>
                    </a:lnTo>
                    <a:cubicBezTo>
                      <a:pt x="47886" y="60750"/>
                      <a:pt x="48897" y="58525"/>
                      <a:pt x="48223" y="56468"/>
                    </a:cubicBezTo>
                    <a:cubicBezTo>
                      <a:pt x="42829" y="39477"/>
                      <a:pt x="39256" y="21846"/>
                      <a:pt x="37638" y="3809"/>
                    </a:cubicBezTo>
                    <a:cubicBezTo>
                      <a:pt x="37435" y="1652"/>
                      <a:pt x="35649" y="0"/>
                      <a:pt x="33491" y="0"/>
                    </a:cubicBezTo>
                    <a:lnTo>
                      <a:pt x="4161" y="0"/>
                    </a:lnTo>
                    <a:cubicBezTo>
                      <a:pt x="1734" y="0"/>
                      <a:pt x="-188" y="2056"/>
                      <a:pt x="15" y="4484"/>
                    </a:cubicBezTo>
                    <a:cubicBezTo>
                      <a:pt x="1835" y="27172"/>
                      <a:pt x="6319" y="49321"/>
                      <a:pt x="13297" y="70526"/>
                    </a:cubicBezTo>
                    <a:lnTo>
                      <a:pt x="13297" y="70526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CAEEEC58-688C-3BFB-4089-29C340371233}"/>
                  </a:ext>
                </a:extLst>
              </p:cNvPr>
              <p:cNvSpPr/>
              <p:nvPr/>
            </p:nvSpPr>
            <p:spPr>
              <a:xfrm>
                <a:off x="3431498" y="3537296"/>
                <a:ext cx="43192" cy="38733"/>
              </a:xfrm>
              <a:custGeom>
                <a:avLst/>
                <a:gdLst>
                  <a:gd name="connsiteX0" fmla="*/ 53736 w 71260"/>
                  <a:gd name="connsiteY0" fmla="*/ 461 h 63903"/>
                  <a:gd name="connsiteX1" fmla="*/ 1448 w 71260"/>
                  <a:gd name="connsiteY1" fmla="*/ 35859 h 63903"/>
                  <a:gd name="connsiteX2" fmla="*/ 1212 w 71260"/>
                  <a:gd name="connsiteY2" fmla="*/ 41961 h 63903"/>
                  <a:gd name="connsiteX3" fmla="*/ 21945 w 71260"/>
                  <a:gd name="connsiteY3" fmla="*/ 62694 h 63903"/>
                  <a:gd name="connsiteX4" fmla="*/ 27575 w 71260"/>
                  <a:gd name="connsiteY4" fmla="*/ 62930 h 63903"/>
                  <a:gd name="connsiteX5" fmla="*/ 69041 w 71260"/>
                  <a:gd name="connsiteY5" fmla="*/ 34915 h 63903"/>
                  <a:gd name="connsiteX6" fmla="*/ 70929 w 71260"/>
                  <a:gd name="connsiteY6" fmla="*/ 29623 h 63903"/>
                  <a:gd name="connsiteX7" fmla="*/ 59467 w 71260"/>
                  <a:gd name="connsiteY7" fmla="*/ 2552 h 63903"/>
                  <a:gd name="connsiteX8" fmla="*/ 53736 w 71260"/>
                  <a:gd name="connsiteY8" fmla="*/ 461 h 63903"/>
                  <a:gd name="connsiteX9" fmla="*/ 53736 w 71260"/>
                  <a:gd name="connsiteY9" fmla="*/ 461 h 63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260" h="63903">
                    <a:moveTo>
                      <a:pt x="53736" y="461"/>
                    </a:moveTo>
                    <a:cubicBezTo>
                      <a:pt x="35194" y="10204"/>
                      <a:pt x="17663" y="22037"/>
                      <a:pt x="1448" y="35859"/>
                    </a:cubicBezTo>
                    <a:cubicBezTo>
                      <a:pt x="-406" y="37444"/>
                      <a:pt x="-474" y="40242"/>
                      <a:pt x="1212" y="41961"/>
                    </a:cubicBezTo>
                    <a:lnTo>
                      <a:pt x="21945" y="62694"/>
                    </a:lnTo>
                    <a:cubicBezTo>
                      <a:pt x="23462" y="64211"/>
                      <a:pt x="25923" y="64313"/>
                      <a:pt x="27575" y="62930"/>
                    </a:cubicBezTo>
                    <a:cubicBezTo>
                      <a:pt x="40520" y="52109"/>
                      <a:pt x="54410" y="42770"/>
                      <a:pt x="69041" y="34915"/>
                    </a:cubicBezTo>
                    <a:cubicBezTo>
                      <a:pt x="70963" y="33904"/>
                      <a:pt x="71772" y="31612"/>
                      <a:pt x="70929" y="29623"/>
                    </a:cubicBezTo>
                    <a:lnTo>
                      <a:pt x="59467" y="2552"/>
                    </a:lnTo>
                    <a:cubicBezTo>
                      <a:pt x="58523" y="327"/>
                      <a:pt x="55860" y="-651"/>
                      <a:pt x="53736" y="461"/>
                    </a:cubicBezTo>
                    <a:lnTo>
                      <a:pt x="53736" y="461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CD7E7C7B-75DF-594F-2F8C-C64899E04BC8}"/>
                  </a:ext>
                </a:extLst>
              </p:cNvPr>
              <p:cNvSpPr/>
              <p:nvPr/>
            </p:nvSpPr>
            <p:spPr>
              <a:xfrm>
                <a:off x="3371923" y="3637494"/>
                <a:ext cx="28640" cy="41912"/>
              </a:xfrm>
              <a:custGeom>
                <a:avLst/>
                <a:gdLst>
                  <a:gd name="connsiteX0" fmla="*/ 11915 w 47251"/>
                  <a:gd name="connsiteY0" fmla="*/ 2904 h 69148"/>
                  <a:gd name="connsiteX1" fmla="*/ 14 w 47251"/>
                  <a:gd name="connsiteY1" fmla="*/ 64665 h 69148"/>
                  <a:gd name="connsiteX2" fmla="*/ 4161 w 47251"/>
                  <a:gd name="connsiteY2" fmla="*/ 69148 h 69148"/>
                  <a:gd name="connsiteX3" fmla="*/ 33491 w 47251"/>
                  <a:gd name="connsiteY3" fmla="*/ 69148 h 69148"/>
                  <a:gd name="connsiteX4" fmla="*/ 37637 w 47251"/>
                  <a:gd name="connsiteY4" fmla="*/ 65339 h 69148"/>
                  <a:gd name="connsiteX5" fmla="*/ 47077 w 47251"/>
                  <a:gd name="connsiteY5" fmla="*/ 16422 h 69148"/>
                  <a:gd name="connsiteX6" fmla="*/ 44650 w 47251"/>
                  <a:gd name="connsiteY6" fmla="*/ 11332 h 69148"/>
                  <a:gd name="connsiteX7" fmla="*/ 17444 w 47251"/>
                  <a:gd name="connsiteY7" fmla="*/ 308 h 69148"/>
                  <a:gd name="connsiteX8" fmla="*/ 11915 w 47251"/>
                  <a:gd name="connsiteY8" fmla="*/ 2904 h 69148"/>
                  <a:gd name="connsiteX9" fmla="*/ 11915 w 47251"/>
                  <a:gd name="connsiteY9" fmla="*/ 2904 h 69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251" h="69148">
                    <a:moveTo>
                      <a:pt x="11915" y="2904"/>
                    </a:moveTo>
                    <a:cubicBezTo>
                      <a:pt x="5712" y="22828"/>
                      <a:pt x="1734" y="43527"/>
                      <a:pt x="14" y="64665"/>
                    </a:cubicBezTo>
                    <a:cubicBezTo>
                      <a:pt x="-188" y="67092"/>
                      <a:pt x="1767" y="69148"/>
                      <a:pt x="4161" y="69148"/>
                    </a:cubicBezTo>
                    <a:lnTo>
                      <a:pt x="33491" y="69148"/>
                    </a:lnTo>
                    <a:cubicBezTo>
                      <a:pt x="35648" y="69148"/>
                      <a:pt x="37435" y="67496"/>
                      <a:pt x="37637" y="65339"/>
                    </a:cubicBezTo>
                    <a:cubicBezTo>
                      <a:pt x="39154" y="48618"/>
                      <a:pt x="42323" y="32233"/>
                      <a:pt x="47077" y="16422"/>
                    </a:cubicBezTo>
                    <a:cubicBezTo>
                      <a:pt x="47684" y="14366"/>
                      <a:pt x="46672" y="12141"/>
                      <a:pt x="44650" y="11332"/>
                    </a:cubicBezTo>
                    <a:lnTo>
                      <a:pt x="17444" y="308"/>
                    </a:lnTo>
                    <a:cubicBezTo>
                      <a:pt x="15219" y="-602"/>
                      <a:pt x="12623" y="578"/>
                      <a:pt x="11915" y="2904"/>
                    </a:cubicBezTo>
                    <a:lnTo>
                      <a:pt x="11915" y="2904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9AF1C32D-F4B4-48D0-4743-B669B8064FE3}"/>
                  </a:ext>
                </a:extLst>
              </p:cNvPr>
              <p:cNvSpPr/>
              <p:nvPr/>
            </p:nvSpPr>
            <p:spPr>
              <a:xfrm>
                <a:off x="3658928" y="3578097"/>
                <a:ext cx="38733" cy="43192"/>
              </a:xfrm>
              <a:custGeom>
                <a:avLst/>
                <a:gdLst>
                  <a:gd name="connsiteX0" fmla="*/ 28044 w 63903"/>
                  <a:gd name="connsiteY0" fmla="*/ 1448 h 71260"/>
                  <a:gd name="connsiteX1" fmla="*/ 21942 w 63903"/>
                  <a:gd name="connsiteY1" fmla="*/ 1212 h 71260"/>
                  <a:gd name="connsiteX2" fmla="*/ 1209 w 63903"/>
                  <a:gd name="connsiteY2" fmla="*/ 21945 h 71260"/>
                  <a:gd name="connsiteX3" fmla="*/ 973 w 63903"/>
                  <a:gd name="connsiteY3" fmla="*/ 27575 h 71260"/>
                  <a:gd name="connsiteX4" fmla="*/ 28988 w 63903"/>
                  <a:gd name="connsiteY4" fmla="*/ 69041 h 71260"/>
                  <a:gd name="connsiteX5" fmla="*/ 34281 w 63903"/>
                  <a:gd name="connsiteY5" fmla="*/ 70929 h 71260"/>
                  <a:gd name="connsiteX6" fmla="*/ 61352 w 63903"/>
                  <a:gd name="connsiteY6" fmla="*/ 59467 h 71260"/>
                  <a:gd name="connsiteX7" fmla="*/ 63442 w 63903"/>
                  <a:gd name="connsiteY7" fmla="*/ 53702 h 71260"/>
                  <a:gd name="connsiteX8" fmla="*/ 28044 w 63903"/>
                  <a:gd name="connsiteY8" fmla="*/ 1448 h 71260"/>
                  <a:gd name="connsiteX9" fmla="*/ 28044 w 63903"/>
                  <a:gd name="connsiteY9" fmla="*/ 1448 h 71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903" h="71260">
                    <a:moveTo>
                      <a:pt x="28044" y="1448"/>
                    </a:moveTo>
                    <a:cubicBezTo>
                      <a:pt x="26459" y="-406"/>
                      <a:pt x="23661" y="-474"/>
                      <a:pt x="21942" y="1212"/>
                    </a:cubicBezTo>
                    <a:lnTo>
                      <a:pt x="1209" y="21945"/>
                    </a:lnTo>
                    <a:cubicBezTo>
                      <a:pt x="-308" y="23462"/>
                      <a:pt x="-409" y="25923"/>
                      <a:pt x="973" y="27575"/>
                    </a:cubicBezTo>
                    <a:cubicBezTo>
                      <a:pt x="11795" y="40520"/>
                      <a:pt x="21133" y="54410"/>
                      <a:pt x="28988" y="69041"/>
                    </a:cubicBezTo>
                    <a:cubicBezTo>
                      <a:pt x="29999" y="70963"/>
                      <a:pt x="32292" y="71772"/>
                      <a:pt x="34281" y="70929"/>
                    </a:cubicBezTo>
                    <a:lnTo>
                      <a:pt x="61352" y="59467"/>
                    </a:lnTo>
                    <a:cubicBezTo>
                      <a:pt x="63577" y="58523"/>
                      <a:pt x="64554" y="55860"/>
                      <a:pt x="63442" y="53702"/>
                    </a:cubicBezTo>
                    <a:cubicBezTo>
                      <a:pt x="53733" y="35194"/>
                      <a:pt x="41866" y="17663"/>
                      <a:pt x="28044" y="1448"/>
                    </a:cubicBezTo>
                    <a:lnTo>
                      <a:pt x="28044" y="1448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08A11795-F93C-A2E1-F9EA-79E6F79F676E}"/>
                  </a:ext>
                </a:extLst>
              </p:cNvPr>
              <p:cNvSpPr/>
              <p:nvPr/>
            </p:nvSpPr>
            <p:spPr>
              <a:xfrm>
                <a:off x="3488326" y="3518543"/>
                <a:ext cx="44460" cy="29355"/>
              </a:xfrm>
              <a:custGeom>
                <a:avLst/>
                <a:gdLst>
                  <a:gd name="connsiteX0" fmla="*/ 2826 w 73352"/>
                  <a:gd name="connsiteY0" fmla="*/ 13297 h 48431"/>
                  <a:gd name="connsiteX1" fmla="*/ 332 w 73352"/>
                  <a:gd name="connsiteY1" fmla="*/ 18860 h 48431"/>
                  <a:gd name="connsiteX2" fmla="*/ 11760 w 73352"/>
                  <a:gd name="connsiteY2" fmla="*/ 45897 h 48431"/>
                  <a:gd name="connsiteX3" fmla="*/ 16884 w 73352"/>
                  <a:gd name="connsiteY3" fmla="*/ 48223 h 48431"/>
                  <a:gd name="connsiteX4" fmla="*/ 69543 w 73352"/>
                  <a:gd name="connsiteY4" fmla="*/ 37638 h 48431"/>
                  <a:gd name="connsiteX5" fmla="*/ 73352 w 73352"/>
                  <a:gd name="connsiteY5" fmla="*/ 33491 h 48431"/>
                  <a:gd name="connsiteX6" fmla="*/ 73352 w 73352"/>
                  <a:gd name="connsiteY6" fmla="*/ 4161 h 48431"/>
                  <a:gd name="connsiteX7" fmla="*/ 68869 w 73352"/>
                  <a:gd name="connsiteY7" fmla="*/ 15 h 48431"/>
                  <a:gd name="connsiteX8" fmla="*/ 2826 w 73352"/>
                  <a:gd name="connsiteY8" fmla="*/ 13297 h 48431"/>
                  <a:gd name="connsiteX9" fmla="*/ 2826 w 73352"/>
                  <a:gd name="connsiteY9" fmla="*/ 13297 h 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3352" h="48431">
                    <a:moveTo>
                      <a:pt x="2826" y="13297"/>
                    </a:moveTo>
                    <a:cubicBezTo>
                      <a:pt x="534" y="14039"/>
                      <a:pt x="-612" y="16635"/>
                      <a:pt x="332" y="18860"/>
                    </a:cubicBezTo>
                    <a:lnTo>
                      <a:pt x="11760" y="45897"/>
                    </a:lnTo>
                    <a:cubicBezTo>
                      <a:pt x="12603" y="47886"/>
                      <a:pt x="14828" y="48897"/>
                      <a:pt x="16884" y="48223"/>
                    </a:cubicBezTo>
                    <a:cubicBezTo>
                      <a:pt x="33875" y="42829"/>
                      <a:pt x="51507" y="39256"/>
                      <a:pt x="69543" y="37638"/>
                    </a:cubicBezTo>
                    <a:cubicBezTo>
                      <a:pt x="71700" y="37435"/>
                      <a:pt x="73352" y="35649"/>
                      <a:pt x="73352" y="33491"/>
                    </a:cubicBezTo>
                    <a:lnTo>
                      <a:pt x="73352" y="4161"/>
                    </a:lnTo>
                    <a:cubicBezTo>
                      <a:pt x="73352" y="1734"/>
                      <a:pt x="71296" y="-188"/>
                      <a:pt x="68869" y="15"/>
                    </a:cubicBezTo>
                    <a:cubicBezTo>
                      <a:pt x="46214" y="1835"/>
                      <a:pt x="24065" y="6319"/>
                      <a:pt x="2826" y="13297"/>
                    </a:cubicBezTo>
                    <a:lnTo>
                      <a:pt x="2826" y="13297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9A91922A-9BE0-ECBC-F7C6-A078995F752F}"/>
                  </a:ext>
                </a:extLst>
              </p:cNvPr>
              <p:cNvSpPr/>
              <p:nvPr/>
            </p:nvSpPr>
            <p:spPr>
              <a:xfrm>
                <a:off x="3555550" y="3518543"/>
                <a:ext cx="41912" cy="28640"/>
              </a:xfrm>
              <a:custGeom>
                <a:avLst/>
                <a:gdLst>
                  <a:gd name="connsiteX0" fmla="*/ 4484 w 69148"/>
                  <a:gd name="connsiteY0" fmla="*/ 14 h 47251"/>
                  <a:gd name="connsiteX1" fmla="*/ 0 w 69148"/>
                  <a:gd name="connsiteY1" fmla="*/ 4161 h 47251"/>
                  <a:gd name="connsiteX2" fmla="*/ 0 w 69148"/>
                  <a:gd name="connsiteY2" fmla="*/ 33491 h 47251"/>
                  <a:gd name="connsiteX3" fmla="*/ 3809 w 69148"/>
                  <a:gd name="connsiteY3" fmla="*/ 37637 h 47251"/>
                  <a:gd name="connsiteX4" fmla="*/ 52726 w 69148"/>
                  <a:gd name="connsiteY4" fmla="*/ 47077 h 47251"/>
                  <a:gd name="connsiteX5" fmla="*/ 57817 w 69148"/>
                  <a:gd name="connsiteY5" fmla="*/ 44650 h 47251"/>
                  <a:gd name="connsiteX6" fmla="*/ 68841 w 69148"/>
                  <a:gd name="connsiteY6" fmla="*/ 17410 h 47251"/>
                  <a:gd name="connsiteX7" fmla="*/ 66245 w 69148"/>
                  <a:gd name="connsiteY7" fmla="*/ 11881 h 47251"/>
                  <a:gd name="connsiteX8" fmla="*/ 4484 w 69148"/>
                  <a:gd name="connsiteY8" fmla="*/ 14 h 47251"/>
                  <a:gd name="connsiteX9" fmla="*/ 4484 w 69148"/>
                  <a:gd name="connsiteY9" fmla="*/ 14 h 47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148" h="47251">
                    <a:moveTo>
                      <a:pt x="4484" y="14"/>
                    </a:moveTo>
                    <a:cubicBezTo>
                      <a:pt x="2056" y="-188"/>
                      <a:pt x="0" y="1767"/>
                      <a:pt x="0" y="4161"/>
                    </a:cubicBezTo>
                    <a:lnTo>
                      <a:pt x="0" y="33491"/>
                    </a:lnTo>
                    <a:cubicBezTo>
                      <a:pt x="0" y="35648"/>
                      <a:pt x="1652" y="37435"/>
                      <a:pt x="3809" y="37637"/>
                    </a:cubicBezTo>
                    <a:cubicBezTo>
                      <a:pt x="20531" y="39154"/>
                      <a:pt x="36915" y="42323"/>
                      <a:pt x="52726" y="47077"/>
                    </a:cubicBezTo>
                    <a:cubicBezTo>
                      <a:pt x="54783" y="47684"/>
                      <a:pt x="57008" y="46672"/>
                      <a:pt x="57817" y="44650"/>
                    </a:cubicBezTo>
                    <a:lnTo>
                      <a:pt x="68841" y="17410"/>
                    </a:lnTo>
                    <a:cubicBezTo>
                      <a:pt x="69751" y="15151"/>
                      <a:pt x="68571" y="12589"/>
                      <a:pt x="66245" y="11881"/>
                    </a:cubicBezTo>
                    <a:cubicBezTo>
                      <a:pt x="46354" y="5712"/>
                      <a:pt x="25655" y="1734"/>
                      <a:pt x="4484" y="14"/>
                    </a:cubicBezTo>
                    <a:lnTo>
                      <a:pt x="4484" y="14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599C1B12-6E4C-E012-5EE2-1076239DD4EA}"/>
                  </a:ext>
                </a:extLst>
              </p:cNvPr>
              <p:cNvSpPr/>
              <p:nvPr/>
            </p:nvSpPr>
            <p:spPr>
              <a:xfrm>
                <a:off x="3611540" y="3536087"/>
                <a:ext cx="45327" cy="39949"/>
              </a:xfrm>
              <a:custGeom>
                <a:avLst/>
                <a:gdLst>
                  <a:gd name="connsiteX0" fmla="*/ 17022 w 74782"/>
                  <a:gd name="connsiteY0" fmla="*/ 433 h 65909"/>
                  <a:gd name="connsiteX1" fmla="*/ 11325 w 74782"/>
                  <a:gd name="connsiteY1" fmla="*/ 2625 h 65909"/>
                  <a:gd name="connsiteX2" fmla="*/ 301 w 74782"/>
                  <a:gd name="connsiteY2" fmla="*/ 29830 h 65909"/>
                  <a:gd name="connsiteX3" fmla="*/ 2290 w 74782"/>
                  <a:gd name="connsiteY3" fmla="*/ 35090 h 65909"/>
                  <a:gd name="connsiteX4" fmla="*/ 47195 w 74782"/>
                  <a:gd name="connsiteY4" fmla="*/ 64925 h 65909"/>
                  <a:gd name="connsiteX5" fmla="*/ 52825 w 74782"/>
                  <a:gd name="connsiteY5" fmla="*/ 64689 h 65909"/>
                  <a:gd name="connsiteX6" fmla="*/ 52825 w 74782"/>
                  <a:gd name="connsiteY6" fmla="*/ 64689 h 65909"/>
                  <a:gd name="connsiteX7" fmla="*/ 73558 w 74782"/>
                  <a:gd name="connsiteY7" fmla="*/ 43956 h 65909"/>
                  <a:gd name="connsiteX8" fmla="*/ 73322 w 74782"/>
                  <a:gd name="connsiteY8" fmla="*/ 37854 h 6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782" h="65909">
                    <a:moveTo>
                      <a:pt x="17022" y="433"/>
                    </a:moveTo>
                    <a:cubicBezTo>
                      <a:pt x="14865" y="-645"/>
                      <a:pt x="12201" y="366"/>
                      <a:pt x="11325" y="2625"/>
                    </a:cubicBezTo>
                    <a:lnTo>
                      <a:pt x="301" y="29830"/>
                    </a:lnTo>
                    <a:cubicBezTo>
                      <a:pt x="-508" y="31853"/>
                      <a:pt x="368" y="34112"/>
                      <a:pt x="2290" y="35090"/>
                    </a:cubicBezTo>
                    <a:cubicBezTo>
                      <a:pt x="18168" y="43315"/>
                      <a:pt x="33238" y="53294"/>
                      <a:pt x="47195" y="64925"/>
                    </a:cubicBezTo>
                    <a:cubicBezTo>
                      <a:pt x="48847" y="66307"/>
                      <a:pt x="51308" y="66240"/>
                      <a:pt x="52825" y="64689"/>
                    </a:cubicBezTo>
                    <a:lnTo>
                      <a:pt x="52825" y="64689"/>
                    </a:lnTo>
                    <a:lnTo>
                      <a:pt x="73558" y="43956"/>
                    </a:lnTo>
                    <a:cubicBezTo>
                      <a:pt x="75277" y="42237"/>
                      <a:pt x="75176" y="39405"/>
                      <a:pt x="73322" y="37854"/>
                    </a:cubicBezTo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D510F2D5-7B13-A0BF-4B18-4B768360F121}"/>
                  </a:ext>
                </a:extLst>
              </p:cNvPr>
              <p:cNvSpPr/>
              <p:nvPr/>
            </p:nvSpPr>
            <p:spPr>
              <a:xfrm>
                <a:off x="3658920" y="3758160"/>
                <a:ext cx="39949" cy="45327"/>
              </a:xfrm>
              <a:custGeom>
                <a:avLst/>
                <a:gdLst>
                  <a:gd name="connsiteX0" fmla="*/ 36113 w 65909"/>
                  <a:gd name="connsiteY0" fmla="*/ 301 h 74782"/>
                  <a:gd name="connsiteX1" fmla="*/ 30820 w 65909"/>
                  <a:gd name="connsiteY1" fmla="*/ 2290 h 74782"/>
                  <a:gd name="connsiteX2" fmla="*/ 985 w 65909"/>
                  <a:gd name="connsiteY2" fmla="*/ 47195 h 74782"/>
                  <a:gd name="connsiteX3" fmla="*/ 1221 w 65909"/>
                  <a:gd name="connsiteY3" fmla="*/ 52825 h 74782"/>
                  <a:gd name="connsiteX4" fmla="*/ 21954 w 65909"/>
                  <a:gd name="connsiteY4" fmla="*/ 73558 h 74782"/>
                  <a:gd name="connsiteX5" fmla="*/ 28056 w 65909"/>
                  <a:gd name="connsiteY5" fmla="*/ 73322 h 74782"/>
                  <a:gd name="connsiteX6" fmla="*/ 65476 w 65909"/>
                  <a:gd name="connsiteY6" fmla="*/ 17022 h 74782"/>
                  <a:gd name="connsiteX7" fmla="*/ 63285 w 65909"/>
                  <a:gd name="connsiteY7" fmla="*/ 11325 h 74782"/>
                  <a:gd name="connsiteX8" fmla="*/ 36113 w 65909"/>
                  <a:gd name="connsiteY8" fmla="*/ 301 h 74782"/>
                  <a:gd name="connsiteX9" fmla="*/ 36113 w 65909"/>
                  <a:gd name="connsiteY9" fmla="*/ 301 h 74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5909" h="74782">
                    <a:moveTo>
                      <a:pt x="36113" y="301"/>
                    </a:moveTo>
                    <a:cubicBezTo>
                      <a:pt x="34090" y="-508"/>
                      <a:pt x="31832" y="368"/>
                      <a:pt x="30820" y="2290"/>
                    </a:cubicBezTo>
                    <a:cubicBezTo>
                      <a:pt x="22594" y="18168"/>
                      <a:pt x="12616" y="33238"/>
                      <a:pt x="985" y="47195"/>
                    </a:cubicBezTo>
                    <a:cubicBezTo>
                      <a:pt x="-397" y="48847"/>
                      <a:pt x="-330" y="51308"/>
                      <a:pt x="1221" y="52825"/>
                    </a:cubicBezTo>
                    <a:lnTo>
                      <a:pt x="21954" y="73558"/>
                    </a:lnTo>
                    <a:cubicBezTo>
                      <a:pt x="23673" y="75277"/>
                      <a:pt x="26505" y="75176"/>
                      <a:pt x="28056" y="73322"/>
                    </a:cubicBezTo>
                    <a:cubicBezTo>
                      <a:pt x="42856" y="55926"/>
                      <a:pt x="55396" y="37047"/>
                      <a:pt x="65476" y="17022"/>
                    </a:cubicBezTo>
                    <a:cubicBezTo>
                      <a:pt x="66555" y="14865"/>
                      <a:pt x="65544" y="12201"/>
                      <a:pt x="63285" y="11325"/>
                    </a:cubicBezTo>
                    <a:lnTo>
                      <a:pt x="36113" y="301"/>
                    </a:lnTo>
                    <a:lnTo>
                      <a:pt x="36113" y="301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0D3F08F0-FBCF-AB08-C54D-AC0A918F74BF}"/>
                  </a:ext>
                </a:extLst>
              </p:cNvPr>
              <p:cNvSpPr/>
              <p:nvPr/>
            </p:nvSpPr>
            <p:spPr>
              <a:xfrm>
                <a:off x="3687793" y="3702190"/>
                <a:ext cx="28640" cy="41910"/>
              </a:xfrm>
              <a:custGeom>
                <a:avLst/>
                <a:gdLst>
                  <a:gd name="connsiteX0" fmla="*/ 35337 w 47251"/>
                  <a:gd name="connsiteY0" fmla="*/ 66245 h 69144"/>
                  <a:gd name="connsiteX1" fmla="*/ 47237 w 47251"/>
                  <a:gd name="connsiteY1" fmla="*/ 4484 h 69144"/>
                  <a:gd name="connsiteX2" fmla="*/ 43091 w 47251"/>
                  <a:gd name="connsiteY2" fmla="*/ 0 h 69144"/>
                  <a:gd name="connsiteX3" fmla="*/ 13761 w 47251"/>
                  <a:gd name="connsiteY3" fmla="*/ 0 h 69144"/>
                  <a:gd name="connsiteX4" fmla="*/ 9614 w 47251"/>
                  <a:gd name="connsiteY4" fmla="*/ 3809 h 69144"/>
                  <a:gd name="connsiteX5" fmla="*/ 175 w 47251"/>
                  <a:gd name="connsiteY5" fmla="*/ 52726 h 69144"/>
                  <a:gd name="connsiteX6" fmla="*/ 2602 w 47251"/>
                  <a:gd name="connsiteY6" fmla="*/ 57817 h 69144"/>
                  <a:gd name="connsiteX7" fmla="*/ 29842 w 47251"/>
                  <a:gd name="connsiteY7" fmla="*/ 68841 h 69144"/>
                  <a:gd name="connsiteX8" fmla="*/ 35337 w 47251"/>
                  <a:gd name="connsiteY8" fmla="*/ 66245 h 69144"/>
                  <a:gd name="connsiteX9" fmla="*/ 35337 w 47251"/>
                  <a:gd name="connsiteY9" fmla="*/ 66245 h 6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251" h="69144">
                    <a:moveTo>
                      <a:pt x="35337" y="66245"/>
                    </a:moveTo>
                    <a:cubicBezTo>
                      <a:pt x="41540" y="46321"/>
                      <a:pt x="45518" y="25621"/>
                      <a:pt x="47237" y="4484"/>
                    </a:cubicBezTo>
                    <a:cubicBezTo>
                      <a:pt x="47440" y="2056"/>
                      <a:pt x="45484" y="0"/>
                      <a:pt x="43091" y="0"/>
                    </a:cubicBezTo>
                    <a:lnTo>
                      <a:pt x="13761" y="0"/>
                    </a:lnTo>
                    <a:cubicBezTo>
                      <a:pt x="11603" y="0"/>
                      <a:pt x="9817" y="1652"/>
                      <a:pt x="9614" y="3809"/>
                    </a:cubicBezTo>
                    <a:cubicBezTo>
                      <a:pt x="8097" y="20531"/>
                      <a:pt x="4928" y="36915"/>
                      <a:pt x="175" y="52726"/>
                    </a:cubicBezTo>
                    <a:cubicBezTo>
                      <a:pt x="-432" y="54783"/>
                      <a:pt x="579" y="57008"/>
                      <a:pt x="2602" y="57817"/>
                    </a:cubicBezTo>
                    <a:lnTo>
                      <a:pt x="29842" y="68841"/>
                    </a:lnTo>
                    <a:cubicBezTo>
                      <a:pt x="32033" y="69751"/>
                      <a:pt x="34595" y="68537"/>
                      <a:pt x="35337" y="66245"/>
                    </a:cubicBezTo>
                    <a:lnTo>
                      <a:pt x="35337" y="66245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A004CFD4-AC0B-C07A-96B3-26B349AB0354}"/>
                  </a:ext>
                </a:extLst>
              </p:cNvPr>
              <p:cNvSpPr/>
              <p:nvPr/>
            </p:nvSpPr>
            <p:spPr>
              <a:xfrm>
                <a:off x="3613670" y="3805567"/>
                <a:ext cx="43209" cy="38733"/>
              </a:xfrm>
              <a:custGeom>
                <a:avLst/>
                <a:gdLst>
                  <a:gd name="connsiteX0" fmla="*/ 326 w 71288"/>
                  <a:gd name="connsiteY0" fmla="*/ 34281 h 63903"/>
                  <a:gd name="connsiteX1" fmla="*/ 11788 w 71288"/>
                  <a:gd name="connsiteY1" fmla="*/ 61352 h 63903"/>
                  <a:gd name="connsiteX2" fmla="*/ 17553 w 71288"/>
                  <a:gd name="connsiteY2" fmla="*/ 63442 h 63903"/>
                  <a:gd name="connsiteX3" fmla="*/ 69841 w 71288"/>
                  <a:gd name="connsiteY3" fmla="*/ 28044 h 63903"/>
                  <a:gd name="connsiteX4" fmla="*/ 70077 w 71288"/>
                  <a:gd name="connsiteY4" fmla="*/ 21942 h 63903"/>
                  <a:gd name="connsiteX5" fmla="*/ 49344 w 71288"/>
                  <a:gd name="connsiteY5" fmla="*/ 1209 h 63903"/>
                  <a:gd name="connsiteX6" fmla="*/ 43714 w 71288"/>
                  <a:gd name="connsiteY6" fmla="*/ 973 h 63903"/>
                  <a:gd name="connsiteX7" fmla="*/ 2248 w 71288"/>
                  <a:gd name="connsiteY7" fmla="*/ 28988 h 63903"/>
                  <a:gd name="connsiteX8" fmla="*/ 326 w 71288"/>
                  <a:gd name="connsiteY8" fmla="*/ 34281 h 63903"/>
                  <a:gd name="connsiteX9" fmla="*/ 326 w 71288"/>
                  <a:gd name="connsiteY9" fmla="*/ 34281 h 63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288" h="63903">
                    <a:moveTo>
                      <a:pt x="326" y="34281"/>
                    </a:moveTo>
                    <a:lnTo>
                      <a:pt x="11788" y="61352"/>
                    </a:lnTo>
                    <a:cubicBezTo>
                      <a:pt x="12732" y="63577"/>
                      <a:pt x="15396" y="64554"/>
                      <a:pt x="17553" y="63442"/>
                    </a:cubicBezTo>
                    <a:cubicBezTo>
                      <a:pt x="36095" y="53699"/>
                      <a:pt x="53625" y="41866"/>
                      <a:pt x="69841" y="28044"/>
                    </a:cubicBezTo>
                    <a:cubicBezTo>
                      <a:pt x="71695" y="26459"/>
                      <a:pt x="71763" y="23661"/>
                      <a:pt x="70077" y="21942"/>
                    </a:cubicBezTo>
                    <a:lnTo>
                      <a:pt x="49344" y="1209"/>
                    </a:lnTo>
                    <a:cubicBezTo>
                      <a:pt x="47827" y="-308"/>
                      <a:pt x="45366" y="-409"/>
                      <a:pt x="43714" y="973"/>
                    </a:cubicBezTo>
                    <a:cubicBezTo>
                      <a:pt x="30768" y="11795"/>
                      <a:pt x="16879" y="21133"/>
                      <a:pt x="2248" y="28988"/>
                    </a:cubicBezTo>
                    <a:cubicBezTo>
                      <a:pt x="326" y="29999"/>
                      <a:pt x="-517" y="32292"/>
                      <a:pt x="326" y="34281"/>
                    </a:cubicBezTo>
                    <a:lnTo>
                      <a:pt x="326" y="34281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3013CE32-7B56-72A9-03A5-1CAC69F3F0D6}"/>
                  </a:ext>
                </a:extLst>
              </p:cNvPr>
              <p:cNvSpPr/>
              <p:nvPr/>
            </p:nvSpPr>
            <p:spPr>
              <a:xfrm>
                <a:off x="3687078" y="3634946"/>
                <a:ext cx="29355" cy="44460"/>
              </a:xfrm>
              <a:custGeom>
                <a:avLst/>
                <a:gdLst>
                  <a:gd name="connsiteX0" fmla="*/ 35134 w 48431"/>
                  <a:gd name="connsiteY0" fmla="*/ 2826 h 73352"/>
                  <a:gd name="connsiteX1" fmla="*/ 29572 w 48431"/>
                  <a:gd name="connsiteY1" fmla="*/ 332 h 73352"/>
                  <a:gd name="connsiteX2" fmla="*/ 2534 w 48431"/>
                  <a:gd name="connsiteY2" fmla="*/ 11760 h 73352"/>
                  <a:gd name="connsiteX3" fmla="*/ 208 w 48431"/>
                  <a:gd name="connsiteY3" fmla="*/ 16884 h 73352"/>
                  <a:gd name="connsiteX4" fmla="*/ 10794 w 48431"/>
                  <a:gd name="connsiteY4" fmla="*/ 69543 h 73352"/>
                  <a:gd name="connsiteX5" fmla="*/ 14941 w 48431"/>
                  <a:gd name="connsiteY5" fmla="*/ 73352 h 73352"/>
                  <a:gd name="connsiteX6" fmla="*/ 44270 w 48431"/>
                  <a:gd name="connsiteY6" fmla="*/ 73352 h 73352"/>
                  <a:gd name="connsiteX7" fmla="*/ 48417 w 48431"/>
                  <a:gd name="connsiteY7" fmla="*/ 68869 h 73352"/>
                  <a:gd name="connsiteX8" fmla="*/ 35134 w 48431"/>
                  <a:gd name="connsiteY8" fmla="*/ 2826 h 73352"/>
                  <a:gd name="connsiteX9" fmla="*/ 35134 w 48431"/>
                  <a:gd name="connsiteY9" fmla="*/ 2826 h 73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431" h="73352">
                    <a:moveTo>
                      <a:pt x="35134" y="2826"/>
                    </a:moveTo>
                    <a:cubicBezTo>
                      <a:pt x="34393" y="534"/>
                      <a:pt x="31797" y="-612"/>
                      <a:pt x="29572" y="332"/>
                    </a:cubicBezTo>
                    <a:lnTo>
                      <a:pt x="2534" y="11760"/>
                    </a:lnTo>
                    <a:cubicBezTo>
                      <a:pt x="545" y="12603"/>
                      <a:pt x="-466" y="14828"/>
                      <a:pt x="208" y="16884"/>
                    </a:cubicBezTo>
                    <a:cubicBezTo>
                      <a:pt x="5602" y="33875"/>
                      <a:pt x="9176" y="51507"/>
                      <a:pt x="10794" y="69543"/>
                    </a:cubicBezTo>
                    <a:cubicBezTo>
                      <a:pt x="10996" y="71700"/>
                      <a:pt x="12783" y="73352"/>
                      <a:pt x="14941" y="73352"/>
                    </a:cubicBezTo>
                    <a:lnTo>
                      <a:pt x="44270" y="73352"/>
                    </a:lnTo>
                    <a:cubicBezTo>
                      <a:pt x="46698" y="73352"/>
                      <a:pt x="48619" y="71296"/>
                      <a:pt x="48417" y="68869"/>
                    </a:cubicBezTo>
                    <a:cubicBezTo>
                      <a:pt x="46563" y="46214"/>
                      <a:pt x="42113" y="24065"/>
                      <a:pt x="35134" y="2826"/>
                    </a:cubicBezTo>
                    <a:lnTo>
                      <a:pt x="35134" y="2826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8FEEE95E-8704-1135-7516-3DAEDFBC6A1F}"/>
                  </a:ext>
                </a:extLst>
              </p:cNvPr>
              <p:cNvSpPr/>
              <p:nvPr/>
            </p:nvSpPr>
            <p:spPr>
              <a:xfrm>
                <a:off x="3431469" y="3805560"/>
                <a:ext cx="45327" cy="39949"/>
              </a:xfrm>
              <a:custGeom>
                <a:avLst/>
                <a:gdLst>
                  <a:gd name="connsiteX0" fmla="*/ 57761 w 74782"/>
                  <a:gd name="connsiteY0" fmla="*/ 65476 h 65909"/>
                  <a:gd name="connsiteX1" fmla="*/ 63458 w 74782"/>
                  <a:gd name="connsiteY1" fmla="*/ 63285 h 65909"/>
                  <a:gd name="connsiteX2" fmla="*/ 74482 w 74782"/>
                  <a:gd name="connsiteY2" fmla="*/ 36079 h 65909"/>
                  <a:gd name="connsiteX3" fmla="*/ 72493 w 74782"/>
                  <a:gd name="connsiteY3" fmla="*/ 30820 h 65909"/>
                  <a:gd name="connsiteX4" fmla="*/ 27588 w 74782"/>
                  <a:gd name="connsiteY4" fmla="*/ 985 h 65909"/>
                  <a:gd name="connsiteX5" fmla="*/ 21958 w 74782"/>
                  <a:gd name="connsiteY5" fmla="*/ 1221 h 65909"/>
                  <a:gd name="connsiteX6" fmla="*/ 1225 w 74782"/>
                  <a:gd name="connsiteY6" fmla="*/ 21954 h 65909"/>
                  <a:gd name="connsiteX7" fmla="*/ 1461 w 74782"/>
                  <a:gd name="connsiteY7" fmla="*/ 28056 h 65909"/>
                  <a:gd name="connsiteX8" fmla="*/ 57761 w 74782"/>
                  <a:gd name="connsiteY8" fmla="*/ 65476 h 65909"/>
                  <a:gd name="connsiteX9" fmla="*/ 57761 w 74782"/>
                  <a:gd name="connsiteY9" fmla="*/ 65476 h 6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782" h="65909">
                    <a:moveTo>
                      <a:pt x="57761" y="65476"/>
                    </a:moveTo>
                    <a:cubicBezTo>
                      <a:pt x="59918" y="66555"/>
                      <a:pt x="62581" y="65544"/>
                      <a:pt x="63458" y="63285"/>
                    </a:cubicBezTo>
                    <a:lnTo>
                      <a:pt x="74482" y="36079"/>
                    </a:lnTo>
                    <a:cubicBezTo>
                      <a:pt x="75291" y="34090"/>
                      <a:pt x="74414" y="31798"/>
                      <a:pt x="72493" y="30820"/>
                    </a:cubicBezTo>
                    <a:cubicBezTo>
                      <a:pt x="56614" y="22594"/>
                      <a:pt x="41545" y="12649"/>
                      <a:pt x="27588" y="985"/>
                    </a:cubicBezTo>
                    <a:cubicBezTo>
                      <a:pt x="25936" y="-397"/>
                      <a:pt x="23475" y="-330"/>
                      <a:pt x="21958" y="1221"/>
                    </a:cubicBezTo>
                    <a:lnTo>
                      <a:pt x="1225" y="21954"/>
                    </a:lnTo>
                    <a:cubicBezTo>
                      <a:pt x="-494" y="23673"/>
                      <a:pt x="-393" y="26471"/>
                      <a:pt x="1461" y="28056"/>
                    </a:cubicBezTo>
                    <a:cubicBezTo>
                      <a:pt x="18857" y="42855"/>
                      <a:pt x="37735" y="55363"/>
                      <a:pt x="57761" y="65476"/>
                    </a:cubicBezTo>
                    <a:lnTo>
                      <a:pt x="57761" y="65476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D03CBD42-3441-6F21-FEF0-AF128740C1E0}"/>
                  </a:ext>
                </a:extLst>
              </p:cNvPr>
              <p:cNvSpPr/>
              <p:nvPr/>
            </p:nvSpPr>
            <p:spPr>
              <a:xfrm>
                <a:off x="3390676" y="3760307"/>
                <a:ext cx="38733" cy="43192"/>
              </a:xfrm>
              <a:custGeom>
                <a:avLst/>
                <a:gdLst>
                  <a:gd name="connsiteX0" fmla="*/ 35859 w 63903"/>
                  <a:gd name="connsiteY0" fmla="*/ 69813 h 71260"/>
                  <a:gd name="connsiteX1" fmla="*/ 41961 w 63903"/>
                  <a:gd name="connsiteY1" fmla="*/ 70049 h 71260"/>
                  <a:gd name="connsiteX2" fmla="*/ 62694 w 63903"/>
                  <a:gd name="connsiteY2" fmla="*/ 49316 h 71260"/>
                  <a:gd name="connsiteX3" fmla="*/ 62930 w 63903"/>
                  <a:gd name="connsiteY3" fmla="*/ 43686 h 71260"/>
                  <a:gd name="connsiteX4" fmla="*/ 34915 w 63903"/>
                  <a:gd name="connsiteY4" fmla="*/ 2220 h 71260"/>
                  <a:gd name="connsiteX5" fmla="*/ 29623 w 63903"/>
                  <a:gd name="connsiteY5" fmla="*/ 332 h 71260"/>
                  <a:gd name="connsiteX6" fmla="*/ 2552 w 63903"/>
                  <a:gd name="connsiteY6" fmla="*/ 11794 h 71260"/>
                  <a:gd name="connsiteX7" fmla="*/ 461 w 63903"/>
                  <a:gd name="connsiteY7" fmla="*/ 17559 h 71260"/>
                  <a:gd name="connsiteX8" fmla="*/ 35859 w 63903"/>
                  <a:gd name="connsiteY8" fmla="*/ 69813 h 71260"/>
                  <a:gd name="connsiteX9" fmla="*/ 35859 w 63903"/>
                  <a:gd name="connsiteY9" fmla="*/ 69813 h 71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903" h="71260">
                    <a:moveTo>
                      <a:pt x="35859" y="69813"/>
                    </a:moveTo>
                    <a:cubicBezTo>
                      <a:pt x="37444" y="71667"/>
                      <a:pt x="40242" y="71735"/>
                      <a:pt x="41961" y="70049"/>
                    </a:cubicBezTo>
                    <a:lnTo>
                      <a:pt x="62694" y="49316"/>
                    </a:lnTo>
                    <a:cubicBezTo>
                      <a:pt x="64211" y="47799"/>
                      <a:pt x="64313" y="45338"/>
                      <a:pt x="62930" y="43686"/>
                    </a:cubicBezTo>
                    <a:cubicBezTo>
                      <a:pt x="52109" y="30741"/>
                      <a:pt x="42770" y="16851"/>
                      <a:pt x="34915" y="2220"/>
                    </a:cubicBezTo>
                    <a:cubicBezTo>
                      <a:pt x="33904" y="298"/>
                      <a:pt x="31612" y="-511"/>
                      <a:pt x="29623" y="332"/>
                    </a:cubicBezTo>
                    <a:lnTo>
                      <a:pt x="2552" y="11794"/>
                    </a:lnTo>
                    <a:cubicBezTo>
                      <a:pt x="327" y="12738"/>
                      <a:pt x="-651" y="15401"/>
                      <a:pt x="461" y="17559"/>
                    </a:cubicBezTo>
                    <a:cubicBezTo>
                      <a:pt x="10204" y="36033"/>
                      <a:pt x="22037" y="53564"/>
                      <a:pt x="35859" y="69813"/>
                    </a:cubicBezTo>
                    <a:lnTo>
                      <a:pt x="35859" y="69813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9F641254-37E7-CD0C-7ED0-4273489EEF94}"/>
                  </a:ext>
                </a:extLst>
              </p:cNvPr>
              <p:cNvSpPr/>
              <p:nvPr/>
            </p:nvSpPr>
            <p:spPr>
              <a:xfrm>
                <a:off x="3490874" y="3834393"/>
                <a:ext cx="41912" cy="28660"/>
              </a:xfrm>
              <a:custGeom>
                <a:avLst/>
                <a:gdLst>
                  <a:gd name="connsiteX0" fmla="*/ 16422 w 69148"/>
                  <a:gd name="connsiteY0" fmla="*/ 175 h 47285"/>
                  <a:gd name="connsiteX1" fmla="*/ 11332 w 69148"/>
                  <a:gd name="connsiteY1" fmla="*/ 2602 h 47285"/>
                  <a:gd name="connsiteX2" fmla="*/ 308 w 69148"/>
                  <a:gd name="connsiteY2" fmla="*/ 29842 h 47285"/>
                  <a:gd name="connsiteX3" fmla="*/ 2904 w 69148"/>
                  <a:gd name="connsiteY3" fmla="*/ 35371 h 47285"/>
                  <a:gd name="connsiteX4" fmla="*/ 64665 w 69148"/>
                  <a:gd name="connsiteY4" fmla="*/ 47271 h 47285"/>
                  <a:gd name="connsiteX5" fmla="*/ 69148 w 69148"/>
                  <a:gd name="connsiteY5" fmla="*/ 43124 h 47285"/>
                  <a:gd name="connsiteX6" fmla="*/ 69148 w 69148"/>
                  <a:gd name="connsiteY6" fmla="*/ 13795 h 47285"/>
                  <a:gd name="connsiteX7" fmla="*/ 65339 w 69148"/>
                  <a:gd name="connsiteY7" fmla="*/ 9648 h 47285"/>
                  <a:gd name="connsiteX8" fmla="*/ 16422 w 69148"/>
                  <a:gd name="connsiteY8" fmla="*/ 175 h 47285"/>
                  <a:gd name="connsiteX9" fmla="*/ 16422 w 69148"/>
                  <a:gd name="connsiteY9" fmla="*/ 175 h 47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148" h="47285">
                    <a:moveTo>
                      <a:pt x="16422" y="175"/>
                    </a:moveTo>
                    <a:cubicBezTo>
                      <a:pt x="14366" y="-432"/>
                      <a:pt x="12141" y="579"/>
                      <a:pt x="11332" y="2602"/>
                    </a:cubicBezTo>
                    <a:lnTo>
                      <a:pt x="308" y="29842"/>
                    </a:lnTo>
                    <a:cubicBezTo>
                      <a:pt x="-602" y="32100"/>
                      <a:pt x="578" y="34663"/>
                      <a:pt x="2904" y="35371"/>
                    </a:cubicBezTo>
                    <a:cubicBezTo>
                      <a:pt x="22828" y="41574"/>
                      <a:pt x="43527" y="45552"/>
                      <a:pt x="64665" y="47271"/>
                    </a:cubicBezTo>
                    <a:cubicBezTo>
                      <a:pt x="67092" y="47473"/>
                      <a:pt x="69148" y="45518"/>
                      <a:pt x="69148" y="43124"/>
                    </a:cubicBezTo>
                    <a:lnTo>
                      <a:pt x="69148" y="13795"/>
                    </a:lnTo>
                    <a:cubicBezTo>
                      <a:pt x="69148" y="11637"/>
                      <a:pt x="67496" y="9850"/>
                      <a:pt x="65339" y="9648"/>
                    </a:cubicBezTo>
                    <a:cubicBezTo>
                      <a:pt x="48618" y="8097"/>
                      <a:pt x="32233" y="4928"/>
                      <a:pt x="16422" y="175"/>
                    </a:cubicBezTo>
                    <a:lnTo>
                      <a:pt x="16422" y="175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F3A9971A-A34F-5683-801F-6FB5596FA7B7}"/>
                  </a:ext>
                </a:extLst>
              </p:cNvPr>
              <p:cNvSpPr/>
              <p:nvPr/>
            </p:nvSpPr>
            <p:spPr>
              <a:xfrm>
                <a:off x="3555570" y="3833678"/>
                <a:ext cx="44460" cy="29355"/>
              </a:xfrm>
              <a:custGeom>
                <a:avLst/>
                <a:gdLst>
                  <a:gd name="connsiteX0" fmla="*/ 73021 w 73352"/>
                  <a:gd name="connsiteY0" fmla="*/ 29572 h 48431"/>
                  <a:gd name="connsiteX1" fmla="*/ 61592 w 73352"/>
                  <a:gd name="connsiteY1" fmla="*/ 2534 h 48431"/>
                  <a:gd name="connsiteX2" fmla="*/ 56468 w 73352"/>
                  <a:gd name="connsiteY2" fmla="*/ 208 h 48431"/>
                  <a:gd name="connsiteX3" fmla="*/ 3809 w 73352"/>
                  <a:gd name="connsiteY3" fmla="*/ 10794 h 48431"/>
                  <a:gd name="connsiteX4" fmla="*/ 0 w 73352"/>
                  <a:gd name="connsiteY4" fmla="*/ 14941 h 48431"/>
                  <a:gd name="connsiteX5" fmla="*/ 0 w 73352"/>
                  <a:gd name="connsiteY5" fmla="*/ 44270 h 48431"/>
                  <a:gd name="connsiteX6" fmla="*/ 4484 w 73352"/>
                  <a:gd name="connsiteY6" fmla="*/ 48417 h 48431"/>
                  <a:gd name="connsiteX7" fmla="*/ 70526 w 73352"/>
                  <a:gd name="connsiteY7" fmla="*/ 35134 h 48431"/>
                  <a:gd name="connsiteX8" fmla="*/ 73021 w 73352"/>
                  <a:gd name="connsiteY8" fmla="*/ 29572 h 48431"/>
                  <a:gd name="connsiteX9" fmla="*/ 73021 w 73352"/>
                  <a:gd name="connsiteY9" fmla="*/ 29572 h 48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3352" h="48431">
                    <a:moveTo>
                      <a:pt x="73021" y="29572"/>
                    </a:moveTo>
                    <a:lnTo>
                      <a:pt x="61592" y="2534"/>
                    </a:lnTo>
                    <a:cubicBezTo>
                      <a:pt x="60750" y="545"/>
                      <a:pt x="58525" y="-466"/>
                      <a:pt x="56468" y="208"/>
                    </a:cubicBezTo>
                    <a:cubicBezTo>
                      <a:pt x="39477" y="5602"/>
                      <a:pt x="21846" y="9176"/>
                      <a:pt x="3809" y="10794"/>
                    </a:cubicBezTo>
                    <a:cubicBezTo>
                      <a:pt x="1652" y="10996"/>
                      <a:pt x="0" y="12783"/>
                      <a:pt x="0" y="14941"/>
                    </a:cubicBezTo>
                    <a:lnTo>
                      <a:pt x="0" y="44270"/>
                    </a:lnTo>
                    <a:cubicBezTo>
                      <a:pt x="0" y="46698"/>
                      <a:pt x="2056" y="48619"/>
                      <a:pt x="4484" y="48417"/>
                    </a:cubicBezTo>
                    <a:cubicBezTo>
                      <a:pt x="27172" y="46596"/>
                      <a:pt x="49287" y="42113"/>
                      <a:pt x="70526" y="35134"/>
                    </a:cubicBezTo>
                    <a:cubicBezTo>
                      <a:pt x="72819" y="34393"/>
                      <a:pt x="73965" y="31830"/>
                      <a:pt x="73021" y="29572"/>
                    </a:cubicBezTo>
                    <a:lnTo>
                      <a:pt x="73021" y="29572"/>
                    </a:lnTo>
                    <a:close/>
                  </a:path>
                </a:pathLst>
              </a:custGeom>
              <a:solidFill>
                <a:schemeClr val="bg2"/>
              </a:solidFill>
              <a:ln w="33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CD09129-BB21-8F58-FD67-B8CF7133CE31}"/>
                </a:ext>
              </a:extLst>
            </p:cNvPr>
            <p:cNvSpPr/>
            <p:nvPr/>
          </p:nvSpPr>
          <p:spPr>
            <a:xfrm>
              <a:off x="3415583" y="3562203"/>
              <a:ext cx="257190" cy="257190"/>
            </a:xfrm>
            <a:custGeom>
              <a:avLst/>
              <a:gdLst>
                <a:gd name="connsiteX0" fmla="*/ 216298 w 432596"/>
                <a:gd name="connsiteY0" fmla="*/ 0 h 432596"/>
                <a:gd name="connsiteX1" fmla="*/ 0 w 432596"/>
                <a:gd name="connsiteY1" fmla="*/ 216298 h 432596"/>
                <a:gd name="connsiteX2" fmla="*/ 216298 w 432596"/>
                <a:gd name="connsiteY2" fmla="*/ 432596 h 432596"/>
                <a:gd name="connsiteX3" fmla="*/ 432596 w 432596"/>
                <a:gd name="connsiteY3" fmla="*/ 216298 h 432596"/>
                <a:gd name="connsiteX4" fmla="*/ 216298 w 432596"/>
                <a:gd name="connsiteY4" fmla="*/ 0 h 432596"/>
                <a:gd name="connsiteX5" fmla="*/ 307962 w 432596"/>
                <a:gd name="connsiteY5" fmla="*/ 277992 h 432596"/>
                <a:gd name="connsiteX6" fmla="*/ 289420 w 432596"/>
                <a:gd name="connsiteY6" fmla="*/ 317267 h 432596"/>
                <a:gd name="connsiteX7" fmla="*/ 239930 w 432596"/>
                <a:gd name="connsiteY7" fmla="*/ 333651 h 432596"/>
                <a:gd name="connsiteX8" fmla="*/ 239930 w 432596"/>
                <a:gd name="connsiteY8" fmla="*/ 362711 h 432596"/>
                <a:gd name="connsiteX9" fmla="*/ 197858 w 432596"/>
                <a:gd name="connsiteY9" fmla="*/ 362711 h 432596"/>
                <a:gd name="connsiteX10" fmla="*/ 197858 w 432596"/>
                <a:gd name="connsiteY10" fmla="*/ 333651 h 432596"/>
                <a:gd name="connsiteX11" fmla="*/ 146075 w 432596"/>
                <a:gd name="connsiteY11" fmla="*/ 314165 h 432596"/>
                <a:gd name="connsiteX12" fmla="*/ 127365 w 432596"/>
                <a:gd name="connsiteY12" fmla="*/ 261608 h 432596"/>
                <a:gd name="connsiteX13" fmla="*/ 169438 w 432596"/>
                <a:gd name="connsiteY13" fmla="*/ 261608 h 432596"/>
                <a:gd name="connsiteX14" fmla="*/ 177630 w 432596"/>
                <a:gd name="connsiteY14" fmla="*/ 286791 h 432596"/>
                <a:gd name="connsiteX15" fmla="*/ 200352 w 432596"/>
                <a:gd name="connsiteY15" fmla="*/ 295927 h 432596"/>
                <a:gd name="connsiteX16" fmla="*/ 234671 w 432596"/>
                <a:gd name="connsiteY16" fmla="*/ 295927 h 432596"/>
                <a:gd name="connsiteX17" fmla="*/ 256787 w 432596"/>
                <a:gd name="connsiteY17" fmla="*/ 290196 h 432596"/>
                <a:gd name="connsiteX18" fmla="*/ 265282 w 432596"/>
                <a:gd name="connsiteY18" fmla="*/ 274890 h 432596"/>
                <a:gd name="connsiteX19" fmla="*/ 265282 w 432596"/>
                <a:gd name="connsiteY19" fmla="*/ 264372 h 432596"/>
                <a:gd name="connsiteX20" fmla="*/ 243032 w 432596"/>
                <a:gd name="connsiteY20" fmla="*/ 245493 h 432596"/>
                <a:gd name="connsiteX21" fmla="*/ 186126 w 432596"/>
                <a:gd name="connsiteY21" fmla="*/ 235919 h 432596"/>
                <a:gd name="connsiteX22" fmla="*/ 143918 w 432596"/>
                <a:gd name="connsiteY22" fmla="*/ 218152 h 432596"/>
                <a:gd name="connsiteX23" fmla="*/ 129523 w 432596"/>
                <a:gd name="connsiteY23" fmla="*/ 184609 h 432596"/>
                <a:gd name="connsiteX24" fmla="*/ 129523 w 432596"/>
                <a:gd name="connsiteY24" fmla="*/ 167280 h 432596"/>
                <a:gd name="connsiteX25" fmla="*/ 138018 w 432596"/>
                <a:gd name="connsiteY25" fmla="*/ 139131 h 432596"/>
                <a:gd name="connsiteX26" fmla="*/ 161988 w 432596"/>
                <a:gd name="connsiteY26" fmla="*/ 119645 h 432596"/>
                <a:gd name="connsiteX27" fmla="*/ 197858 w 432596"/>
                <a:gd name="connsiteY27" fmla="*/ 112228 h 432596"/>
                <a:gd name="connsiteX28" fmla="*/ 197858 w 432596"/>
                <a:gd name="connsiteY28" fmla="*/ 83168 h 432596"/>
                <a:gd name="connsiteX29" fmla="*/ 239930 w 432596"/>
                <a:gd name="connsiteY29" fmla="*/ 83168 h 432596"/>
                <a:gd name="connsiteX30" fmla="*/ 239930 w 432596"/>
                <a:gd name="connsiteY30" fmla="*/ 112228 h 432596"/>
                <a:gd name="connsiteX31" fmla="*/ 286453 w 432596"/>
                <a:gd name="connsiteY31" fmla="*/ 131714 h 432596"/>
                <a:gd name="connsiteX32" fmla="*/ 303916 w 432596"/>
                <a:gd name="connsiteY32" fmla="*/ 178709 h 432596"/>
                <a:gd name="connsiteX33" fmla="*/ 261877 w 432596"/>
                <a:gd name="connsiteY33" fmla="*/ 178709 h 432596"/>
                <a:gd name="connsiteX34" fmla="*/ 254764 w 432596"/>
                <a:gd name="connsiteY34" fmla="*/ 157841 h 432596"/>
                <a:gd name="connsiteX35" fmla="*/ 235919 w 432596"/>
                <a:gd name="connsiteY35" fmla="*/ 149952 h 432596"/>
                <a:gd name="connsiteX36" fmla="*/ 200959 w 432596"/>
                <a:gd name="connsiteY36" fmla="*/ 149952 h 432596"/>
                <a:gd name="connsiteX37" fmla="*/ 180091 w 432596"/>
                <a:gd name="connsiteY37" fmla="*/ 155515 h 432596"/>
                <a:gd name="connsiteX38" fmla="*/ 172202 w 432596"/>
                <a:gd name="connsiteY38" fmla="*/ 170348 h 432596"/>
                <a:gd name="connsiteX39" fmla="*/ 172202 w 432596"/>
                <a:gd name="connsiteY39" fmla="*/ 178709 h 432596"/>
                <a:gd name="connsiteX40" fmla="*/ 193542 w 432596"/>
                <a:gd name="connsiteY40" fmla="*/ 197891 h 432596"/>
                <a:gd name="connsiteX41" fmla="*/ 250145 w 432596"/>
                <a:gd name="connsiteY41" fmla="*/ 207803 h 432596"/>
                <a:gd name="connsiteX42" fmla="*/ 293129 w 432596"/>
                <a:gd name="connsiteY42" fmla="*/ 225266 h 432596"/>
                <a:gd name="connsiteX43" fmla="*/ 307962 w 432596"/>
                <a:gd name="connsiteY43" fmla="*/ 257596 h 432596"/>
                <a:gd name="connsiteX44" fmla="*/ 307962 w 432596"/>
                <a:gd name="connsiteY44" fmla="*/ 277992 h 43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32596" h="432596">
                  <a:moveTo>
                    <a:pt x="216298" y="0"/>
                  </a:moveTo>
                  <a:cubicBezTo>
                    <a:pt x="96855" y="0"/>
                    <a:pt x="0" y="96855"/>
                    <a:pt x="0" y="216298"/>
                  </a:cubicBezTo>
                  <a:cubicBezTo>
                    <a:pt x="0" y="335741"/>
                    <a:pt x="96855" y="432596"/>
                    <a:pt x="216298" y="432596"/>
                  </a:cubicBezTo>
                  <a:cubicBezTo>
                    <a:pt x="335741" y="432596"/>
                    <a:pt x="432596" y="335741"/>
                    <a:pt x="432596" y="216298"/>
                  </a:cubicBezTo>
                  <a:cubicBezTo>
                    <a:pt x="432596" y="96855"/>
                    <a:pt x="335741" y="0"/>
                    <a:pt x="216298" y="0"/>
                  </a:cubicBezTo>
                  <a:close/>
                  <a:moveTo>
                    <a:pt x="307962" y="277992"/>
                  </a:moveTo>
                  <a:cubicBezTo>
                    <a:pt x="307962" y="294072"/>
                    <a:pt x="301793" y="307153"/>
                    <a:pt x="289420" y="317267"/>
                  </a:cubicBezTo>
                  <a:cubicBezTo>
                    <a:pt x="277048" y="327380"/>
                    <a:pt x="260562" y="332842"/>
                    <a:pt x="239930" y="333651"/>
                  </a:cubicBezTo>
                  <a:lnTo>
                    <a:pt x="239930" y="362711"/>
                  </a:lnTo>
                  <a:lnTo>
                    <a:pt x="197858" y="362711"/>
                  </a:lnTo>
                  <a:lnTo>
                    <a:pt x="197858" y="333651"/>
                  </a:lnTo>
                  <a:cubicBezTo>
                    <a:pt x="175810" y="333448"/>
                    <a:pt x="158549" y="326942"/>
                    <a:pt x="146075" y="314165"/>
                  </a:cubicBezTo>
                  <a:cubicBezTo>
                    <a:pt x="133602" y="301388"/>
                    <a:pt x="127365" y="283858"/>
                    <a:pt x="127365" y="261608"/>
                  </a:cubicBezTo>
                  <a:lnTo>
                    <a:pt x="169438" y="261608"/>
                  </a:lnTo>
                  <a:cubicBezTo>
                    <a:pt x="169438" y="272328"/>
                    <a:pt x="172169" y="280722"/>
                    <a:pt x="177630" y="286791"/>
                  </a:cubicBezTo>
                  <a:cubicBezTo>
                    <a:pt x="183092" y="292893"/>
                    <a:pt x="190677" y="295927"/>
                    <a:pt x="200352" y="295927"/>
                  </a:cubicBezTo>
                  <a:lnTo>
                    <a:pt x="234671" y="295927"/>
                  </a:lnTo>
                  <a:cubicBezTo>
                    <a:pt x="243740" y="295927"/>
                    <a:pt x="251089" y="294039"/>
                    <a:pt x="256787" y="290196"/>
                  </a:cubicBezTo>
                  <a:cubicBezTo>
                    <a:pt x="262450" y="286386"/>
                    <a:pt x="265282" y="281262"/>
                    <a:pt x="265282" y="274890"/>
                  </a:cubicBezTo>
                  <a:lnTo>
                    <a:pt x="265282" y="264372"/>
                  </a:lnTo>
                  <a:cubicBezTo>
                    <a:pt x="265282" y="254292"/>
                    <a:pt x="257865" y="247988"/>
                    <a:pt x="243032" y="245493"/>
                  </a:cubicBezTo>
                  <a:lnTo>
                    <a:pt x="186126" y="235919"/>
                  </a:lnTo>
                  <a:cubicBezTo>
                    <a:pt x="167584" y="232817"/>
                    <a:pt x="153492" y="226918"/>
                    <a:pt x="143918" y="218152"/>
                  </a:cubicBezTo>
                  <a:cubicBezTo>
                    <a:pt x="134344" y="209387"/>
                    <a:pt x="129523" y="198195"/>
                    <a:pt x="129523" y="184609"/>
                  </a:cubicBezTo>
                  <a:lnTo>
                    <a:pt x="129523" y="167280"/>
                  </a:lnTo>
                  <a:cubicBezTo>
                    <a:pt x="129523" y="156762"/>
                    <a:pt x="132355" y="147390"/>
                    <a:pt x="138018" y="139131"/>
                  </a:cubicBezTo>
                  <a:cubicBezTo>
                    <a:pt x="143682" y="130871"/>
                    <a:pt x="151672" y="124398"/>
                    <a:pt x="161988" y="119645"/>
                  </a:cubicBezTo>
                  <a:cubicBezTo>
                    <a:pt x="172304" y="114892"/>
                    <a:pt x="184271" y="112431"/>
                    <a:pt x="197858" y="112228"/>
                  </a:cubicBezTo>
                  <a:lnTo>
                    <a:pt x="197858" y="83168"/>
                  </a:lnTo>
                  <a:lnTo>
                    <a:pt x="239930" y="83168"/>
                  </a:lnTo>
                  <a:lnTo>
                    <a:pt x="239930" y="112228"/>
                  </a:lnTo>
                  <a:cubicBezTo>
                    <a:pt x="259315" y="113273"/>
                    <a:pt x="274823" y="119746"/>
                    <a:pt x="286453" y="131714"/>
                  </a:cubicBezTo>
                  <a:cubicBezTo>
                    <a:pt x="298084" y="143682"/>
                    <a:pt x="303916" y="159358"/>
                    <a:pt x="303916" y="178709"/>
                  </a:cubicBezTo>
                  <a:lnTo>
                    <a:pt x="261877" y="178709"/>
                  </a:lnTo>
                  <a:cubicBezTo>
                    <a:pt x="261877" y="170045"/>
                    <a:pt x="259517" y="163100"/>
                    <a:pt x="254764" y="157841"/>
                  </a:cubicBezTo>
                  <a:cubicBezTo>
                    <a:pt x="250010" y="152582"/>
                    <a:pt x="243740" y="149952"/>
                    <a:pt x="235919" y="149952"/>
                  </a:cubicBezTo>
                  <a:lnTo>
                    <a:pt x="200959" y="149952"/>
                  </a:lnTo>
                  <a:cubicBezTo>
                    <a:pt x="192295" y="149952"/>
                    <a:pt x="185350" y="151807"/>
                    <a:pt x="180091" y="155515"/>
                  </a:cubicBezTo>
                  <a:cubicBezTo>
                    <a:pt x="174832" y="159223"/>
                    <a:pt x="172202" y="164179"/>
                    <a:pt x="172202" y="170348"/>
                  </a:cubicBezTo>
                  <a:lnTo>
                    <a:pt x="172202" y="178709"/>
                  </a:lnTo>
                  <a:cubicBezTo>
                    <a:pt x="172202" y="189025"/>
                    <a:pt x="179316" y="195397"/>
                    <a:pt x="193542" y="197891"/>
                  </a:cubicBezTo>
                  <a:lnTo>
                    <a:pt x="250145" y="207803"/>
                  </a:lnTo>
                  <a:cubicBezTo>
                    <a:pt x="268889" y="211106"/>
                    <a:pt x="283217" y="216939"/>
                    <a:pt x="293129" y="225266"/>
                  </a:cubicBezTo>
                  <a:cubicBezTo>
                    <a:pt x="303006" y="233626"/>
                    <a:pt x="307962" y="244381"/>
                    <a:pt x="307962" y="257596"/>
                  </a:cubicBezTo>
                  <a:lnTo>
                    <a:pt x="307962" y="277992"/>
                  </a:lnTo>
                  <a:close/>
                </a:path>
              </a:pathLst>
            </a:custGeom>
            <a:solidFill>
              <a:schemeClr val="tx1"/>
            </a:solidFill>
            <a:ln w="33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264" name="Graphic 263">
            <a:extLst>
              <a:ext uri="{FF2B5EF4-FFF2-40B4-BE49-F238E27FC236}">
                <a16:creationId xmlns:a16="http://schemas.microsoft.com/office/drawing/2014/main" id="{328FAEB4-7E1F-F3D4-114C-97914D48EFD8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992244" y="3205970"/>
            <a:ext cx="774700" cy="6096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78014446-B964-3429-51C7-F2EC80E5E52B}"/>
              </a:ext>
            </a:extLst>
          </p:cNvPr>
          <p:cNvPicPr>
            <a:picLocks noChangeAspect="1"/>
          </p:cNvPicPr>
          <p:nvPr/>
        </p:nvPicPr>
        <p:blipFill rotWithShape="1"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rcRect t="15367" b="17121"/>
          <a:stretch/>
        </p:blipFill>
        <p:spPr>
          <a:xfrm>
            <a:off x="4909797" y="4434009"/>
            <a:ext cx="907472" cy="612648"/>
          </a:xfrm>
          <a:prstGeom prst="rect">
            <a:avLst/>
          </a:prstGeom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9565AD96-3A6F-09C9-DB7F-57F2B40D547D}"/>
              </a:ext>
            </a:extLst>
          </p:cNvPr>
          <p:cNvSpPr txBox="1"/>
          <p:nvPr/>
        </p:nvSpPr>
        <p:spPr>
          <a:xfrm>
            <a:off x="411944" y="4127937"/>
            <a:ext cx="83638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ublish</a:t>
            </a:r>
          </a:p>
        </p:txBody>
      </p:sp>
      <p:sp>
        <p:nvSpPr>
          <p:cNvPr id="13" name="Text Placeholder 81">
            <a:extLst>
              <a:ext uri="{FF2B5EF4-FFF2-40B4-BE49-F238E27FC236}">
                <a16:creationId xmlns:a16="http://schemas.microsoft.com/office/drawing/2014/main" id="{9288201F-AEF9-50C6-A6DB-96756B5AB7BD}"/>
              </a:ext>
            </a:extLst>
          </p:cNvPr>
          <p:cNvSpPr txBox="1">
            <a:spLocks/>
          </p:cNvSpPr>
          <p:nvPr/>
        </p:nvSpPr>
        <p:spPr>
          <a:xfrm>
            <a:off x="10782262" y="4127937"/>
            <a:ext cx="120094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arget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DA3750F7-D17F-CD83-FE45-2D3D5D113C7E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1076409" y="4434009"/>
            <a:ext cx="612648" cy="612648"/>
          </a:xfrm>
          <a:prstGeom prst="rect">
            <a:avLst/>
          </a:prstGeom>
        </p:spPr>
      </p:pic>
      <p:sp>
        <p:nvSpPr>
          <p:cNvPr id="30" name="object 49">
            <a:extLst>
              <a:ext uri="{FF2B5EF4-FFF2-40B4-BE49-F238E27FC236}">
                <a16:creationId xmlns:a16="http://schemas.microsoft.com/office/drawing/2014/main" id="{28305925-D7BF-CA93-BF7D-FB0519F74D98}"/>
              </a:ext>
            </a:extLst>
          </p:cNvPr>
          <p:cNvSpPr txBox="1"/>
          <p:nvPr/>
        </p:nvSpPr>
        <p:spPr>
          <a:xfrm>
            <a:off x="10723766" y="5428177"/>
            <a:ext cx="118872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Data Proc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3E8DF8-804B-252F-5C6C-5C08E6F0001A}"/>
              </a:ext>
            </a:extLst>
          </p:cNvPr>
          <p:cNvSpPr txBox="1"/>
          <p:nvPr/>
        </p:nvSpPr>
        <p:spPr>
          <a:xfrm>
            <a:off x="1370558" y="5428177"/>
            <a:ext cx="118872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log Contac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93992A-FD81-2512-A5EC-8CE883149C9A}"/>
              </a:ext>
            </a:extLst>
          </p:cNvPr>
          <p:cNvSpPr txBox="1"/>
          <p:nvPr/>
        </p:nvSpPr>
        <p:spPr>
          <a:xfrm>
            <a:off x="2522981" y="5428177"/>
            <a:ext cx="135632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Workflow </a:t>
            </a:r>
          </a:p>
        </p:txBody>
      </p:sp>
      <p:sp>
        <p:nvSpPr>
          <p:cNvPr id="21" name="object 41">
            <a:extLst>
              <a:ext uri="{FF2B5EF4-FFF2-40B4-BE49-F238E27FC236}">
                <a16:creationId xmlns:a16="http://schemas.microsoft.com/office/drawing/2014/main" id="{AFA1BC8C-435C-58E2-6001-33EF66B8DDA2}"/>
              </a:ext>
            </a:extLst>
          </p:cNvPr>
          <p:cNvSpPr txBox="1"/>
          <p:nvPr/>
        </p:nvSpPr>
        <p:spPr>
          <a:xfrm>
            <a:off x="3766663" y="5428177"/>
            <a:ext cx="97053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eview</a:t>
            </a:r>
            <a:endParaRPr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49E99E3-441E-008C-7474-61E56CDF2A4D}"/>
              </a:ext>
            </a:extLst>
          </p:cNvPr>
          <p:cNvSpPr txBox="1"/>
          <p:nvPr/>
        </p:nvSpPr>
        <p:spPr>
          <a:xfrm>
            <a:off x="5056886" y="5421252"/>
            <a:ext cx="1549092" cy="1523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educe Burndow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9140BD9-6715-924E-CA99-460744DE9D16}"/>
              </a:ext>
            </a:extLst>
          </p:cNvPr>
          <p:cNvSpPr txBox="1"/>
          <p:nvPr/>
        </p:nvSpPr>
        <p:spPr>
          <a:xfrm>
            <a:off x="6825786" y="5428177"/>
            <a:ext cx="118872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ransparency</a:t>
            </a:r>
          </a:p>
        </p:txBody>
      </p:sp>
      <p:pic>
        <p:nvPicPr>
          <p:cNvPr id="104" name="Graphic 103">
            <a:extLst>
              <a:ext uri="{FF2B5EF4-FFF2-40B4-BE49-F238E27FC236}">
                <a16:creationId xmlns:a16="http://schemas.microsoft.com/office/drawing/2014/main" id="{9147C4CD-4683-C19F-5256-7D81475AC007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591254" y="5705488"/>
            <a:ext cx="781050" cy="6096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B7FF4526-BBB6-B37B-B6D1-8ACE69C63DCB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7084826" y="5711643"/>
            <a:ext cx="781050" cy="6096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98BB51C-C46E-388B-5676-F0219CE270E5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5056886" y="5711643"/>
            <a:ext cx="781050" cy="6096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0E350642-E0BC-E547-9529-20B601EF5657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 rot="16200000" flipV="1">
            <a:off x="5930137" y="5711644"/>
            <a:ext cx="781050" cy="6096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F75631B5-E3A5-CDE4-AEF6-3EC7C8CDF959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3861404" y="5705488"/>
            <a:ext cx="781050" cy="609600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CE06449C-F0FB-0883-1D44-7CE7D2C6CFC5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2772795" y="5705488"/>
            <a:ext cx="781050" cy="60960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D87666F7-6FDA-C8D3-2FE3-254C1912687E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1243623" y="1862827"/>
            <a:ext cx="609600" cy="60960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8368B414-21D6-110D-7FD6-D870460303E4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504388" y="4435533"/>
            <a:ext cx="774700" cy="609600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D63E226E-8B2E-E732-009A-8F7D73C39398}"/>
              </a:ext>
            </a:extLst>
          </p:cNvPr>
          <p:cNvGrpSpPr/>
          <p:nvPr/>
        </p:nvGrpSpPr>
        <p:grpSpPr>
          <a:xfrm>
            <a:off x="8612962" y="4441859"/>
            <a:ext cx="566077" cy="596949"/>
            <a:chOff x="7002726" y="4084131"/>
            <a:chExt cx="566077" cy="596949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9A8745B-8A3D-6D71-5869-8C77E37C6AD8}"/>
                </a:ext>
              </a:extLst>
            </p:cNvPr>
            <p:cNvSpPr/>
            <p:nvPr/>
          </p:nvSpPr>
          <p:spPr>
            <a:xfrm>
              <a:off x="7010384" y="4084131"/>
              <a:ext cx="370077" cy="317045"/>
            </a:xfrm>
            <a:custGeom>
              <a:avLst/>
              <a:gdLst>
                <a:gd name="connsiteX0" fmla="*/ 369886 w 370077"/>
                <a:gd name="connsiteY0" fmla="*/ 91131 h 317045"/>
                <a:gd name="connsiteX1" fmla="*/ 300580 w 370077"/>
                <a:gd name="connsiteY1" fmla="*/ 0 h 317045"/>
                <a:gd name="connsiteX2" fmla="*/ 295220 w 370077"/>
                <a:gd name="connsiteY2" fmla="*/ 39248 h 317045"/>
                <a:gd name="connsiteX3" fmla="*/ 112957 w 370077"/>
                <a:gd name="connsiteY3" fmla="*/ 93620 h 317045"/>
                <a:gd name="connsiteX4" fmla="*/ 3063 w 370077"/>
                <a:gd name="connsiteY4" fmla="*/ 276840 h 317045"/>
                <a:gd name="connsiteX5" fmla="*/ 0 w 370077"/>
                <a:gd name="connsiteY5" fmla="*/ 316471 h 317045"/>
                <a:gd name="connsiteX6" fmla="*/ 76581 w 370077"/>
                <a:gd name="connsiteY6" fmla="*/ 317045 h 317045"/>
                <a:gd name="connsiteX7" fmla="*/ 78878 w 370077"/>
                <a:gd name="connsiteY7" fmla="*/ 288136 h 317045"/>
                <a:gd name="connsiteX8" fmla="*/ 158714 w 370077"/>
                <a:gd name="connsiteY8" fmla="*/ 155077 h 317045"/>
                <a:gd name="connsiteX9" fmla="*/ 285073 w 370077"/>
                <a:gd name="connsiteY9" fmla="*/ 115446 h 317045"/>
                <a:gd name="connsiteX10" fmla="*/ 278946 w 370077"/>
                <a:gd name="connsiteY10" fmla="*/ 160437 h 317045"/>
                <a:gd name="connsiteX11" fmla="*/ 370078 w 370077"/>
                <a:gd name="connsiteY11" fmla="*/ 91131 h 317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0077" h="317045">
                  <a:moveTo>
                    <a:pt x="369886" y="91131"/>
                  </a:moveTo>
                  <a:lnTo>
                    <a:pt x="300580" y="0"/>
                  </a:lnTo>
                  <a:lnTo>
                    <a:pt x="295220" y="39248"/>
                  </a:lnTo>
                  <a:cubicBezTo>
                    <a:pt x="229934" y="35419"/>
                    <a:pt x="166181" y="54181"/>
                    <a:pt x="112957" y="93620"/>
                  </a:cubicBezTo>
                  <a:cubicBezTo>
                    <a:pt x="53032" y="138037"/>
                    <a:pt x="13976" y="203131"/>
                    <a:pt x="3063" y="276840"/>
                  </a:cubicBezTo>
                  <a:cubicBezTo>
                    <a:pt x="1149" y="290051"/>
                    <a:pt x="0" y="303261"/>
                    <a:pt x="0" y="316471"/>
                  </a:cubicBezTo>
                  <a:lnTo>
                    <a:pt x="76581" y="317045"/>
                  </a:lnTo>
                  <a:cubicBezTo>
                    <a:pt x="76581" y="307473"/>
                    <a:pt x="77347" y="297709"/>
                    <a:pt x="78878" y="288136"/>
                  </a:cubicBezTo>
                  <a:cubicBezTo>
                    <a:pt x="86919" y="234529"/>
                    <a:pt x="115254" y="187432"/>
                    <a:pt x="158714" y="155077"/>
                  </a:cubicBezTo>
                  <a:cubicBezTo>
                    <a:pt x="195664" y="127699"/>
                    <a:pt x="239890" y="114106"/>
                    <a:pt x="285073" y="115446"/>
                  </a:cubicBezTo>
                  <a:lnTo>
                    <a:pt x="278946" y="160437"/>
                  </a:lnTo>
                  <a:lnTo>
                    <a:pt x="370078" y="91131"/>
                  </a:lnTo>
                  <a:close/>
                </a:path>
              </a:pathLst>
            </a:custGeom>
            <a:solidFill>
              <a:srgbClr val="3D4647"/>
            </a:soli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52AEC76-FC23-D6A4-D5E2-FF313892260D}"/>
                </a:ext>
              </a:extLst>
            </p:cNvPr>
            <p:cNvSpPr/>
            <p:nvPr/>
          </p:nvSpPr>
          <p:spPr>
            <a:xfrm>
              <a:off x="7388311" y="4158223"/>
              <a:ext cx="180492" cy="427130"/>
            </a:xfrm>
            <a:custGeom>
              <a:avLst/>
              <a:gdLst>
                <a:gd name="connsiteX0" fmla="*/ 177476 w 180492"/>
                <a:gd name="connsiteY0" fmla="*/ 284881 h 427130"/>
                <a:gd name="connsiteX1" fmla="*/ 37333 w 180492"/>
                <a:gd name="connsiteY1" fmla="*/ 0 h 427130"/>
                <a:gd name="connsiteX2" fmla="*/ 0 w 180492"/>
                <a:gd name="connsiteY2" fmla="*/ 66817 h 427130"/>
                <a:gd name="connsiteX3" fmla="*/ 101661 w 180492"/>
                <a:gd name="connsiteY3" fmla="*/ 273586 h 427130"/>
                <a:gd name="connsiteX4" fmla="*/ 81559 w 180492"/>
                <a:gd name="connsiteY4" fmla="*/ 335425 h 427130"/>
                <a:gd name="connsiteX5" fmla="*/ 49586 w 180492"/>
                <a:gd name="connsiteY5" fmla="*/ 307856 h 427130"/>
                <a:gd name="connsiteX6" fmla="*/ 58584 w 180492"/>
                <a:gd name="connsiteY6" fmla="*/ 427131 h 427130"/>
                <a:gd name="connsiteX7" fmla="*/ 177859 w 180492"/>
                <a:gd name="connsiteY7" fmla="*/ 418132 h 427130"/>
                <a:gd name="connsiteX8" fmla="*/ 141101 w 180492"/>
                <a:gd name="connsiteY8" fmla="*/ 386543 h 427130"/>
                <a:gd name="connsiteX9" fmla="*/ 177476 w 180492"/>
                <a:gd name="connsiteY9" fmla="*/ 284690 h 42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492" h="427130">
                  <a:moveTo>
                    <a:pt x="177476" y="284881"/>
                  </a:moveTo>
                  <a:cubicBezTo>
                    <a:pt x="194516" y="170584"/>
                    <a:pt x="138229" y="56096"/>
                    <a:pt x="37333" y="0"/>
                  </a:cubicBezTo>
                  <a:lnTo>
                    <a:pt x="0" y="66817"/>
                  </a:lnTo>
                  <a:cubicBezTo>
                    <a:pt x="73135" y="107596"/>
                    <a:pt x="114106" y="190687"/>
                    <a:pt x="101661" y="273586"/>
                  </a:cubicBezTo>
                  <a:cubicBezTo>
                    <a:pt x="98407" y="295411"/>
                    <a:pt x="91323" y="316088"/>
                    <a:pt x="81559" y="335425"/>
                  </a:cubicBezTo>
                  <a:lnTo>
                    <a:pt x="49586" y="307856"/>
                  </a:lnTo>
                  <a:lnTo>
                    <a:pt x="58584" y="427131"/>
                  </a:lnTo>
                  <a:lnTo>
                    <a:pt x="177859" y="418132"/>
                  </a:lnTo>
                  <a:lnTo>
                    <a:pt x="141101" y="386543"/>
                  </a:lnTo>
                  <a:cubicBezTo>
                    <a:pt x="159671" y="355527"/>
                    <a:pt x="172116" y="320874"/>
                    <a:pt x="177476" y="284690"/>
                  </a:cubicBezTo>
                  <a:close/>
                </a:path>
              </a:pathLst>
            </a:custGeom>
            <a:solidFill>
              <a:srgbClr val="3D4647"/>
            </a:soli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53D9167-B592-921A-3568-7F82B5D1D80F}"/>
                </a:ext>
              </a:extLst>
            </p:cNvPr>
            <p:cNvSpPr/>
            <p:nvPr/>
          </p:nvSpPr>
          <p:spPr>
            <a:xfrm>
              <a:off x="7002726" y="4442339"/>
              <a:ext cx="432682" cy="238741"/>
            </a:xfrm>
            <a:custGeom>
              <a:avLst/>
              <a:gdLst>
                <a:gd name="connsiteX0" fmla="*/ 392669 w 432682"/>
                <a:gd name="connsiteY0" fmla="*/ 132485 h 238741"/>
                <a:gd name="connsiteX1" fmla="*/ 257121 w 432682"/>
                <a:gd name="connsiteY1" fmla="*/ 160054 h 238741"/>
                <a:gd name="connsiteX2" fmla="*/ 112574 w 432682"/>
                <a:gd name="connsiteY2" fmla="*/ 62222 h 238741"/>
                <a:gd name="connsiteX3" fmla="*/ 155077 w 432682"/>
                <a:gd name="connsiteY3" fmla="*/ 43843 h 238741"/>
                <a:gd name="connsiteX4" fmla="*/ 43843 w 432682"/>
                <a:gd name="connsiteY4" fmla="*/ 0 h 238741"/>
                <a:gd name="connsiteX5" fmla="*/ 0 w 432682"/>
                <a:gd name="connsiteY5" fmla="*/ 111234 h 238741"/>
                <a:gd name="connsiteX6" fmla="*/ 41737 w 432682"/>
                <a:gd name="connsiteY6" fmla="*/ 93046 h 238741"/>
                <a:gd name="connsiteX7" fmla="*/ 245825 w 432682"/>
                <a:gd name="connsiteY7" fmla="*/ 235678 h 238741"/>
                <a:gd name="connsiteX8" fmla="*/ 286796 w 432682"/>
                <a:gd name="connsiteY8" fmla="*/ 238741 h 238741"/>
                <a:gd name="connsiteX9" fmla="*/ 432683 w 432682"/>
                <a:gd name="connsiteY9" fmla="*/ 197770 h 238741"/>
                <a:gd name="connsiteX10" fmla="*/ 392669 w 432682"/>
                <a:gd name="connsiteY10" fmla="*/ 132485 h 238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2682" h="238741">
                  <a:moveTo>
                    <a:pt x="392669" y="132485"/>
                  </a:moveTo>
                  <a:cubicBezTo>
                    <a:pt x="352273" y="157183"/>
                    <a:pt x="304027" y="167138"/>
                    <a:pt x="257121" y="160054"/>
                  </a:cubicBezTo>
                  <a:cubicBezTo>
                    <a:pt x="196239" y="151056"/>
                    <a:pt x="143398" y="114489"/>
                    <a:pt x="112574" y="62222"/>
                  </a:cubicBezTo>
                  <a:lnTo>
                    <a:pt x="155077" y="43843"/>
                  </a:lnTo>
                  <a:lnTo>
                    <a:pt x="43843" y="0"/>
                  </a:lnTo>
                  <a:lnTo>
                    <a:pt x="0" y="111234"/>
                  </a:lnTo>
                  <a:lnTo>
                    <a:pt x="41737" y="93046"/>
                  </a:lnTo>
                  <a:cubicBezTo>
                    <a:pt x="83282" y="169244"/>
                    <a:pt x="158714" y="222851"/>
                    <a:pt x="245825" y="235678"/>
                  </a:cubicBezTo>
                  <a:cubicBezTo>
                    <a:pt x="259418" y="237784"/>
                    <a:pt x="273203" y="238741"/>
                    <a:pt x="286796" y="238741"/>
                  </a:cubicBezTo>
                  <a:cubicBezTo>
                    <a:pt x="338105" y="238741"/>
                    <a:pt x="388649" y="224574"/>
                    <a:pt x="432683" y="197770"/>
                  </a:cubicBezTo>
                  <a:lnTo>
                    <a:pt x="392669" y="132485"/>
                  </a:lnTo>
                  <a:close/>
                </a:path>
              </a:pathLst>
            </a:custGeom>
            <a:solidFill>
              <a:srgbClr val="3D4647"/>
            </a:soli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3086A97-0DD4-7434-4925-EA48D1474B6F}"/>
                </a:ext>
              </a:extLst>
            </p:cNvPr>
            <p:cNvSpPr/>
            <p:nvPr/>
          </p:nvSpPr>
          <p:spPr>
            <a:xfrm>
              <a:off x="7199539" y="4297409"/>
              <a:ext cx="179199" cy="206960"/>
            </a:xfrm>
            <a:custGeom>
              <a:avLst/>
              <a:gdLst>
                <a:gd name="connsiteX0" fmla="*/ 179200 w 179199"/>
                <a:gd name="connsiteY0" fmla="*/ 51692 h 206960"/>
                <a:gd name="connsiteX1" fmla="*/ 89600 w 179199"/>
                <a:gd name="connsiteY1" fmla="*/ 0 h 206960"/>
                <a:gd name="connsiteX2" fmla="*/ 0 w 179199"/>
                <a:gd name="connsiteY2" fmla="*/ 51692 h 206960"/>
                <a:gd name="connsiteX3" fmla="*/ 0 w 179199"/>
                <a:gd name="connsiteY3" fmla="*/ 155077 h 206960"/>
                <a:gd name="connsiteX4" fmla="*/ 89600 w 179199"/>
                <a:gd name="connsiteY4" fmla="*/ 206960 h 206960"/>
                <a:gd name="connsiteX5" fmla="*/ 179200 w 179199"/>
                <a:gd name="connsiteY5" fmla="*/ 155077 h 206960"/>
                <a:gd name="connsiteX6" fmla="*/ 179200 w 179199"/>
                <a:gd name="connsiteY6" fmla="*/ 51692 h 20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199" h="206960">
                  <a:moveTo>
                    <a:pt x="179200" y="51692"/>
                  </a:moveTo>
                  <a:lnTo>
                    <a:pt x="89600" y="0"/>
                  </a:lnTo>
                  <a:lnTo>
                    <a:pt x="0" y="51692"/>
                  </a:lnTo>
                  <a:lnTo>
                    <a:pt x="0" y="155077"/>
                  </a:lnTo>
                  <a:lnTo>
                    <a:pt x="89600" y="206960"/>
                  </a:lnTo>
                  <a:lnTo>
                    <a:pt x="179200" y="155077"/>
                  </a:lnTo>
                  <a:lnTo>
                    <a:pt x="179200" y="51692"/>
                  </a:lnTo>
                  <a:close/>
                </a:path>
              </a:pathLst>
            </a:custGeom>
            <a:solidFill>
              <a:schemeClr val="accent1"/>
            </a:soli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C6B88F8F-8835-3896-8EA1-EF6F9E910D76}"/>
              </a:ext>
            </a:extLst>
          </p:cNvPr>
          <p:cNvGrpSpPr/>
          <p:nvPr/>
        </p:nvGrpSpPr>
        <p:grpSpPr>
          <a:xfrm>
            <a:off x="10775215" y="5727541"/>
            <a:ext cx="582582" cy="577804"/>
            <a:chOff x="11009399" y="4190399"/>
            <a:chExt cx="582582" cy="577804"/>
          </a:xfrm>
        </p:grpSpPr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1BF6258F-6B4C-CF14-03F0-A1C31BA18F71}"/>
                </a:ext>
              </a:extLst>
            </p:cNvPr>
            <p:cNvSpPr/>
            <p:nvPr/>
          </p:nvSpPr>
          <p:spPr>
            <a:xfrm>
              <a:off x="11264987" y="4434594"/>
              <a:ext cx="249462" cy="142348"/>
            </a:xfrm>
            <a:custGeom>
              <a:avLst/>
              <a:gdLst>
                <a:gd name="connsiteX0" fmla="*/ 73503 w 249462"/>
                <a:gd name="connsiteY0" fmla="*/ 141780 h 142348"/>
                <a:gd name="connsiteX1" fmla="*/ 73709 w 249462"/>
                <a:gd name="connsiteY1" fmla="*/ 142157 h 142348"/>
                <a:gd name="connsiteX2" fmla="*/ 73326 w 249462"/>
                <a:gd name="connsiteY2" fmla="*/ 142348 h 142348"/>
                <a:gd name="connsiteX3" fmla="*/ 228402 w 249462"/>
                <a:gd name="connsiteY3" fmla="*/ 15223 h 142348"/>
                <a:gd name="connsiteX4" fmla="*/ 249462 w 249462"/>
                <a:gd name="connsiteY4" fmla="*/ 68255 h 142348"/>
                <a:gd name="connsiteX5" fmla="*/ 197387 w 249462"/>
                <a:gd name="connsiteY5" fmla="*/ 84146 h 142348"/>
                <a:gd name="connsiteX6" fmla="*/ 164841 w 249462"/>
                <a:gd name="connsiteY6" fmla="*/ 99 h 142348"/>
                <a:gd name="connsiteX7" fmla="*/ 228211 w 249462"/>
                <a:gd name="connsiteY7" fmla="*/ 14649 h 142348"/>
                <a:gd name="connsiteX8" fmla="*/ 212512 w 249462"/>
                <a:gd name="connsiteY8" fmla="*/ 49685 h 142348"/>
                <a:gd name="connsiteX9" fmla="*/ 196813 w 249462"/>
                <a:gd name="connsiteY9" fmla="*/ 84721 h 142348"/>
                <a:gd name="connsiteX10" fmla="*/ 162543 w 249462"/>
                <a:gd name="connsiteY10" fmla="*/ 76871 h 142348"/>
                <a:gd name="connsiteX11" fmla="*/ 127890 w 249462"/>
                <a:gd name="connsiteY11" fmla="*/ 82806 h 142348"/>
                <a:gd name="connsiteX12" fmla="*/ 98024 w 249462"/>
                <a:gd name="connsiteY12" fmla="*/ 101569 h 142348"/>
                <a:gd name="connsiteX13" fmla="*/ 77730 w 249462"/>
                <a:gd name="connsiteY13" fmla="*/ 130287 h 142348"/>
                <a:gd name="connsiteX14" fmla="*/ 75241 w 249462"/>
                <a:gd name="connsiteY14" fmla="*/ 136222 h 142348"/>
                <a:gd name="connsiteX15" fmla="*/ 73503 w 249462"/>
                <a:gd name="connsiteY15" fmla="*/ 141780 h 142348"/>
                <a:gd name="connsiteX16" fmla="*/ 50735 w 249462"/>
                <a:gd name="connsiteY16" fmla="*/ 100037 h 142348"/>
                <a:gd name="connsiteX17" fmla="*/ 0 w 249462"/>
                <a:gd name="connsiteY17" fmla="*/ 121097 h 142348"/>
                <a:gd name="connsiteX18" fmla="*/ 3638 w 249462"/>
                <a:gd name="connsiteY18" fmla="*/ 109801 h 142348"/>
                <a:gd name="connsiteX19" fmla="*/ 8041 w 249462"/>
                <a:gd name="connsiteY19" fmla="*/ 98888 h 142348"/>
                <a:gd name="connsiteX20" fmla="*/ 45566 w 249462"/>
                <a:gd name="connsiteY20" fmla="*/ 45665 h 142348"/>
                <a:gd name="connsiteX21" fmla="*/ 100704 w 249462"/>
                <a:gd name="connsiteY21" fmla="*/ 11012 h 142348"/>
                <a:gd name="connsiteX22" fmla="*/ 164841 w 249462"/>
                <a:gd name="connsiteY22" fmla="*/ 99 h 142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9462" h="142348">
                  <a:moveTo>
                    <a:pt x="73503" y="141780"/>
                  </a:moveTo>
                  <a:lnTo>
                    <a:pt x="73709" y="142157"/>
                  </a:lnTo>
                  <a:lnTo>
                    <a:pt x="73326" y="142348"/>
                  </a:lnTo>
                  <a:close/>
                  <a:moveTo>
                    <a:pt x="228402" y="15223"/>
                  </a:moveTo>
                  <a:lnTo>
                    <a:pt x="249462" y="68255"/>
                  </a:lnTo>
                  <a:lnTo>
                    <a:pt x="197387" y="84146"/>
                  </a:lnTo>
                  <a:close/>
                  <a:moveTo>
                    <a:pt x="164841" y="99"/>
                  </a:moveTo>
                  <a:cubicBezTo>
                    <a:pt x="186475" y="865"/>
                    <a:pt x="207917" y="5651"/>
                    <a:pt x="228211" y="14649"/>
                  </a:cubicBezTo>
                  <a:lnTo>
                    <a:pt x="212512" y="49685"/>
                  </a:lnTo>
                  <a:lnTo>
                    <a:pt x="196813" y="84721"/>
                  </a:lnTo>
                  <a:cubicBezTo>
                    <a:pt x="185900" y="79743"/>
                    <a:pt x="174222" y="77254"/>
                    <a:pt x="162543" y="76871"/>
                  </a:cubicBezTo>
                  <a:cubicBezTo>
                    <a:pt x="150865" y="76488"/>
                    <a:pt x="139186" y="78594"/>
                    <a:pt x="127890" y="82806"/>
                  </a:cubicBezTo>
                  <a:cubicBezTo>
                    <a:pt x="116595" y="87018"/>
                    <a:pt x="106639" y="93528"/>
                    <a:pt x="98024" y="101569"/>
                  </a:cubicBezTo>
                  <a:cubicBezTo>
                    <a:pt x="89408" y="109610"/>
                    <a:pt x="82516" y="119374"/>
                    <a:pt x="77730" y="130287"/>
                  </a:cubicBezTo>
                  <a:cubicBezTo>
                    <a:pt x="76772" y="132201"/>
                    <a:pt x="76007" y="134307"/>
                    <a:pt x="75241" y="136222"/>
                  </a:cubicBezTo>
                  <a:lnTo>
                    <a:pt x="73503" y="141780"/>
                  </a:lnTo>
                  <a:lnTo>
                    <a:pt x="50735" y="100037"/>
                  </a:lnTo>
                  <a:lnTo>
                    <a:pt x="0" y="121097"/>
                  </a:lnTo>
                  <a:cubicBezTo>
                    <a:pt x="1149" y="117268"/>
                    <a:pt x="2297" y="113630"/>
                    <a:pt x="3638" y="109801"/>
                  </a:cubicBezTo>
                  <a:cubicBezTo>
                    <a:pt x="4978" y="105972"/>
                    <a:pt x="6509" y="102335"/>
                    <a:pt x="8041" y="98888"/>
                  </a:cubicBezTo>
                  <a:cubicBezTo>
                    <a:pt x="17231" y="78594"/>
                    <a:pt x="29867" y="60598"/>
                    <a:pt x="45566" y="45665"/>
                  </a:cubicBezTo>
                  <a:cubicBezTo>
                    <a:pt x="61265" y="30731"/>
                    <a:pt x="79836" y="19053"/>
                    <a:pt x="100704" y="11012"/>
                  </a:cubicBezTo>
                  <a:cubicBezTo>
                    <a:pt x="121572" y="2971"/>
                    <a:pt x="143206" y="-667"/>
                    <a:pt x="164841" y="99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A6F3A896-C2C1-8383-092C-7AF02C94CE8E}"/>
                </a:ext>
              </a:extLst>
            </p:cNvPr>
            <p:cNvSpPr/>
            <p:nvPr/>
          </p:nvSpPr>
          <p:spPr>
            <a:xfrm>
              <a:off x="11464289" y="4483129"/>
              <a:ext cx="127692" cy="254440"/>
            </a:xfrm>
            <a:custGeom>
              <a:avLst/>
              <a:gdLst>
                <a:gd name="connsiteX0" fmla="*/ 78495 w 127692"/>
                <a:gd name="connsiteY0" fmla="*/ 0 h 254440"/>
                <a:gd name="connsiteX1" fmla="*/ 124827 w 127692"/>
                <a:gd name="connsiteY1" fmla="*/ 87877 h 254440"/>
                <a:gd name="connsiteX2" fmla="*/ 113340 w 127692"/>
                <a:gd name="connsiteY2" fmla="*/ 186475 h 254440"/>
                <a:gd name="connsiteX3" fmla="*/ 89982 w 127692"/>
                <a:gd name="connsiteY3" fmla="*/ 224191 h 254440"/>
                <a:gd name="connsiteX4" fmla="*/ 57627 w 127692"/>
                <a:gd name="connsiteY4" fmla="*/ 254440 h 254440"/>
                <a:gd name="connsiteX5" fmla="*/ 57627 w 127692"/>
                <a:gd name="connsiteY5" fmla="*/ 254249 h 254440"/>
                <a:gd name="connsiteX6" fmla="*/ 0 w 127692"/>
                <a:gd name="connsiteY6" fmla="*/ 242762 h 254440"/>
                <a:gd name="connsiteX7" fmla="*/ 13379 w 127692"/>
                <a:gd name="connsiteY7" fmla="*/ 192073 h 254440"/>
                <a:gd name="connsiteX8" fmla="*/ 13210 w 127692"/>
                <a:gd name="connsiteY8" fmla="*/ 191835 h 254440"/>
                <a:gd name="connsiteX9" fmla="*/ 13517 w 127692"/>
                <a:gd name="connsiteY9" fmla="*/ 191548 h 254440"/>
                <a:gd name="connsiteX10" fmla="*/ 13593 w 127692"/>
                <a:gd name="connsiteY10" fmla="*/ 191261 h 254440"/>
                <a:gd name="connsiteX11" fmla="*/ 13684 w 127692"/>
                <a:gd name="connsiteY11" fmla="*/ 191392 h 254440"/>
                <a:gd name="connsiteX12" fmla="*/ 30632 w 127692"/>
                <a:gd name="connsiteY12" fmla="*/ 175562 h 254440"/>
                <a:gd name="connsiteX13" fmla="*/ 43268 w 127692"/>
                <a:gd name="connsiteY13" fmla="*/ 155268 h 254440"/>
                <a:gd name="connsiteX14" fmla="*/ 49586 w 127692"/>
                <a:gd name="connsiteY14" fmla="*/ 101853 h 254440"/>
                <a:gd name="connsiteX15" fmla="*/ 24506 w 127692"/>
                <a:gd name="connsiteY15" fmla="*/ 54373 h 254440"/>
                <a:gd name="connsiteX16" fmla="*/ 72177 w 127692"/>
                <a:gd name="connsiteY16" fmla="*/ 53607 h 25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7692" h="254440">
                  <a:moveTo>
                    <a:pt x="78495" y="0"/>
                  </a:moveTo>
                  <a:cubicBezTo>
                    <a:pt x="103001" y="24314"/>
                    <a:pt x="118700" y="55138"/>
                    <a:pt x="124827" y="87877"/>
                  </a:cubicBezTo>
                  <a:cubicBezTo>
                    <a:pt x="130953" y="120615"/>
                    <a:pt x="127316" y="155077"/>
                    <a:pt x="113340" y="186475"/>
                  </a:cubicBezTo>
                  <a:cubicBezTo>
                    <a:pt x="107213" y="200068"/>
                    <a:pt x="99364" y="212704"/>
                    <a:pt x="89982" y="224191"/>
                  </a:cubicBezTo>
                  <a:cubicBezTo>
                    <a:pt x="80601" y="235678"/>
                    <a:pt x="69688" y="245825"/>
                    <a:pt x="57627" y="254440"/>
                  </a:cubicBezTo>
                  <a:lnTo>
                    <a:pt x="57627" y="254249"/>
                  </a:lnTo>
                  <a:lnTo>
                    <a:pt x="0" y="242762"/>
                  </a:lnTo>
                  <a:lnTo>
                    <a:pt x="13379" y="192073"/>
                  </a:lnTo>
                  <a:lnTo>
                    <a:pt x="13210" y="191835"/>
                  </a:lnTo>
                  <a:lnTo>
                    <a:pt x="13517" y="191548"/>
                  </a:lnTo>
                  <a:lnTo>
                    <a:pt x="13593" y="191261"/>
                  </a:lnTo>
                  <a:lnTo>
                    <a:pt x="13684" y="191392"/>
                  </a:lnTo>
                  <a:lnTo>
                    <a:pt x="30632" y="175562"/>
                  </a:lnTo>
                  <a:cubicBezTo>
                    <a:pt x="35610" y="169435"/>
                    <a:pt x="40013" y="162543"/>
                    <a:pt x="43268" y="155268"/>
                  </a:cubicBezTo>
                  <a:cubicBezTo>
                    <a:pt x="50926" y="138229"/>
                    <a:pt x="52841" y="119658"/>
                    <a:pt x="49586" y="101853"/>
                  </a:cubicBezTo>
                  <a:cubicBezTo>
                    <a:pt x="46331" y="84048"/>
                    <a:pt x="37716" y="67391"/>
                    <a:pt x="24506" y="54373"/>
                  </a:cubicBezTo>
                  <a:lnTo>
                    <a:pt x="72177" y="53607"/>
                  </a:lnTo>
                  <a:close/>
                </a:path>
              </a:pathLst>
            </a:custGeom>
            <a:solidFill>
              <a:schemeClr val="accent1"/>
            </a:soli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C6141953-D536-2ED5-4F2E-F9CF8E19E27B}"/>
                </a:ext>
              </a:extLst>
            </p:cNvPr>
            <p:cNvSpPr/>
            <p:nvPr/>
          </p:nvSpPr>
          <p:spPr>
            <a:xfrm>
              <a:off x="11259243" y="4571964"/>
              <a:ext cx="211746" cy="196239"/>
            </a:xfrm>
            <a:custGeom>
              <a:avLst/>
              <a:gdLst>
                <a:gd name="connsiteX0" fmla="*/ 34078 w 211746"/>
                <a:gd name="connsiteY0" fmla="*/ 0 h 196239"/>
                <a:gd name="connsiteX1" fmla="*/ 75831 w 211746"/>
                <a:gd name="connsiteY1" fmla="*/ 37558 h 196239"/>
                <a:gd name="connsiteX2" fmla="*/ 76198 w 211746"/>
                <a:gd name="connsiteY2" fmla="*/ 37525 h 196239"/>
                <a:gd name="connsiteX3" fmla="*/ 92663 w 211746"/>
                <a:gd name="connsiteY3" fmla="*/ 81942 h 196239"/>
                <a:gd name="connsiteX4" fmla="*/ 129230 w 211746"/>
                <a:gd name="connsiteY4" fmla="*/ 111809 h 196239"/>
                <a:gd name="connsiteX5" fmla="*/ 159671 w 211746"/>
                <a:gd name="connsiteY5" fmla="*/ 119467 h 196239"/>
                <a:gd name="connsiteX6" fmla="*/ 190687 w 211746"/>
                <a:gd name="connsiteY6" fmla="*/ 116212 h 196239"/>
                <a:gd name="connsiteX7" fmla="*/ 165989 w 211746"/>
                <a:gd name="connsiteY7" fmla="*/ 158906 h 196239"/>
                <a:gd name="connsiteX8" fmla="*/ 211746 w 211746"/>
                <a:gd name="connsiteY8" fmla="*/ 189921 h 196239"/>
                <a:gd name="connsiteX9" fmla="*/ 189155 w 211746"/>
                <a:gd name="connsiteY9" fmla="*/ 194707 h 196239"/>
                <a:gd name="connsiteX10" fmla="*/ 166181 w 211746"/>
                <a:gd name="connsiteY10" fmla="*/ 196239 h 196239"/>
                <a:gd name="connsiteX11" fmla="*/ 131528 w 211746"/>
                <a:gd name="connsiteY11" fmla="*/ 192602 h 196239"/>
                <a:gd name="connsiteX12" fmla="*/ 98024 w 211746"/>
                <a:gd name="connsiteY12" fmla="*/ 181689 h 196239"/>
                <a:gd name="connsiteX13" fmla="*/ 30441 w 211746"/>
                <a:gd name="connsiteY13" fmla="*/ 126359 h 196239"/>
                <a:gd name="connsiteX14" fmla="*/ 0 w 211746"/>
                <a:gd name="connsiteY14" fmla="*/ 44417 h 196239"/>
                <a:gd name="connsiteX15" fmla="*/ 361 w 211746"/>
                <a:gd name="connsiteY15" fmla="*/ 44385 h 196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1746" h="196239">
                  <a:moveTo>
                    <a:pt x="34078" y="0"/>
                  </a:moveTo>
                  <a:lnTo>
                    <a:pt x="75831" y="37558"/>
                  </a:lnTo>
                  <a:lnTo>
                    <a:pt x="76198" y="37525"/>
                  </a:lnTo>
                  <a:cubicBezTo>
                    <a:pt x="77730" y="53798"/>
                    <a:pt x="83473" y="69115"/>
                    <a:pt x="92663" y="81942"/>
                  </a:cubicBezTo>
                  <a:cubicBezTo>
                    <a:pt x="101853" y="94769"/>
                    <a:pt x="114297" y="105299"/>
                    <a:pt x="129230" y="111809"/>
                  </a:cubicBezTo>
                  <a:cubicBezTo>
                    <a:pt x="138803" y="116212"/>
                    <a:pt x="149142" y="118701"/>
                    <a:pt x="159671" y="119467"/>
                  </a:cubicBezTo>
                  <a:cubicBezTo>
                    <a:pt x="170201" y="120232"/>
                    <a:pt x="180540" y="119084"/>
                    <a:pt x="190687" y="116212"/>
                  </a:cubicBezTo>
                  <a:lnTo>
                    <a:pt x="165989" y="158906"/>
                  </a:lnTo>
                  <a:lnTo>
                    <a:pt x="211746" y="189921"/>
                  </a:lnTo>
                  <a:cubicBezTo>
                    <a:pt x="204280" y="192027"/>
                    <a:pt x="196813" y="193559"/>
                    <a:pt x="189155" y="194707"/>
                  </a:cubicBezTo>
                  <a:cubicBezTo>
                    <a:pt x="181497" y="195856"/>
                    <a:pt x="173839" y="196239"/>
                    <a:pt x="166181" y="196239"/>
                  </a:cubicBezTo>
                  <a:cubicBezTo>
                    <a:pt x="154502" y="196239"/>
                    <a:pt x="142824" y="195090"/>
                    <a:pt x="131528" y="192602"/>
                  </a:cubicBezTo>
                  <a:cubicBezTo>
                    <a:pt x="120232" y="190113"/>
                    <a:pt x="108936" y="186475"/>
                    <a:pt x="98024" y="181689"/>
                  </a:cubicBezTo>
                  <a:cubicBezTo>
                    <a:pt x="70455" y="169436"/>
                    <a:pt x="47289" y="150099"/>
                    <a:pt x="30441" y="126359"/>
                  </a:cubicBezTo>
                  <a:cubicBezTo>
                    <a:pt x="13593" y="102619"/>
                    <a:pt x="2680" y="74475"/>
                    <a:pt x="0" y="44417"/>
                  </a:cubicBezTo>
                  <a:lnTo>
                    <a:pt x="361" y="44385"/>
                  </a:lnTo>
                  <a:close/>
                </a:path>
              </a:pathLst>
            </a:custGeom>
            <a:solidFill>
              <a:schemeClr val="accent1"/>
            </a:soli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966D648D-5BDC-F483-68B3-8395B5E6437A}"/>
                </a:ext>
              </a:extLst>
            </p:cNvPr>
            <p:cNvSpPr/>
            <p:nvPr/>
          </p:nvSpPr>
          <p:spPr>
            <a:xfrm>
              <a:off x="11009399" y="4190399"/>
              <a:ext cx="479014" cy="150098"/>
            </a:xfrm>
            <a:custGeom>
              <a:avLst/>
              <a:gdLst>
                <a:gd name="connsiteX0" fmla="*/ 0 w 479014"/>
                <a:gd name="connsiteY0" fmla="*/ 0 h 150098"/>
                <a:gd name="connsiteX1" fmla="*/ 0 w 479014"/>
                <a:gd name="connsiteY1" fmla="*/ 150099 h 150098"/>
                <a:gd name="connsiteX2" fmla="*/ 479014 w 479014"/>
                <a:gd name="connsiteY2" fmla="*/ 150099 h 150098"/>
                <a:gd name="connsiteX3" fmla="*/ 479014 w 479014"/>
                <a:gd name="connsiteY3" fmla="*/ 0 h 150098"/>
                <a:gd name="connsiteX4" fmla="*/ 0 w 479014"/>
                <a:gd name="connsiteY4" fmla="*/ 0 h 150098"/>
                <a:gd name="connsiteX5" fmla="*/ 83665 w 479014"/>
                <a:gd name="connsiteY5" fmla="*/ 117935 h 150098"/>
                <a:gd name="connsiteX6" fmla="*/ 51501 w 479014"/>
                <a:gd name="connsiteY6" fmla="*/ 85771 h 150098"/>
                <a:gd name="connsiteX7" fmla="*/ 83665 w 479014"/>
                <a:gd name="connsiteY7" fmla="*/ 53607 h 150098"/>
                <a:gd name="connsiteX8" fmla="*/ 115829 w 479014"/>
                <a:gd name="connsiteY8" fmla="*/ 85771 h 150098"/>
                <a:gd name="connsiteX9" fmla="*/ 83665 w 479014"/>
                <a:gd name="connsiteY9" fmla="*/ 117935 h 150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014" h="150098">
                  <a:moveTo>
                    <a:pt x="0" y="0"/>
                  </a:moveTo>
                  <a:lnTo>
                    <a:pt x="0" y="150099"/>
                  </a:lnTo>
                  <a:lnTo>
                    <a:pt x="479014" y="150099"/>
                  </a:lnTo>
                  <a:lnTo>
                    <a:pt x="479014" y="0"/>
                  </a:lnTo>
                  <a:lnTo>
                    <a:pt x="0" y="0"/>
                  </a:lnTo>
                  <a:close/>
                  <a:moveTo>
                    <a:pt x="83665" y="117935"/>
                  </a:moveTo>
                  <a:cubicBezTo>
                    <a:pt x="66051" y="117935"/>
                    <a:pt x="51501" y="103576"/>
                    <a:pt x="51501" y="85771"/>
                  </a:cubicBezTo>
                  <a:cubicBezTo>
                    <a:pt x="51501" y="67966"/>
                    <a:pt x="65860" y="53607"/>
                    <a:pt x="83665" y="53607"/>
                  </a:cubicBezTo>
                  <a:cubicBezTo>
                    <a:pt x="101470" y="53607"/>
                    <a:pt x="115829" y="67966"/>
                    <a:pt x="115829" y="85771"/>
                  </a:cubicBezTo>
                  <a:cubicBezTo>
                    <a:pt x="115829" y="103576"/>
                    <a:pt x="101470" y="117935"/>
                    <a:pt x="83665" y="117935"/>
                  </a:cubicBezTo>
                  <a:close/>
                </a:path>
              </a:pathLst>
            </a:custGeom>
            <a:solidFill>
              <a:srgbClr val="3D4647"/>
            </a:soli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5DC21412-D7B8-51CA-A7DB-FCE5DF669CF2}"/>
                </a:ext>
              </a:extLst>
            </p:cNvPr>
            <p:cNvSpPr/>
            <p:nvPr/>
          </p:nvSpPr>
          <p:spPr>
            <a:xfrm>
              <a:off x="11009399" y="4379363"/>
              <a:ext cx="479014" cy="145503"/>
            </a:xfrm>
            <a:custGeom>
              <a:avLst/>
              <a:gdLst>
                <a:gd name="connsiteX0" fmla="*/ 0 w 479014"/>
                <a:gd name="connsiteY0" fmla="*/ 145504 h 145503"/>
                <a:gd name="connsiteX1" fmla="*/ 227254 w 479014"/>
                <a:gd name="connsiteY1" fmla="*/ 145504 h 145503"/>
                <a:gd name="connsiteX2" fmla="*/ 413155 w 479014"/>
                <a:gd name="connsiteY2" fmla="*/ 18188 h 145503"/>
                <a:gd name="connsiteX3" fmla="*/ 479014 w 479014"/>
                <a:gd name="connsiteY3" fmla="*/ 29484 h 145503"/>
                <a:gd name="connsiteX4" fmla="*/ 479014 w 479014"/>
                <a:gd name="connsiteY4" fmla="*/ 0 h 145503"/>
                <a:gd name="connsiteX5" fmla="*/ 0 w 479014"/>
                <a:gd name="connsiteY5" fmla="*/ 0 h 145503"/>
                <a:gd name="connsiteX6" fmla="*/ 0 w 479014"/>
                <a:gd name="connsiteY6" fmla="*/ 145312 h 145503"/>
                <a:gd name="connsiteX7" fmla="*/ 83665 w 479014"/>
                <a:gd name="connsiteY7" fmla="*/ 55138 h 145503"/>
                <a:gd name="connsiteX8" fmla="*/ 115829 w 479014"/>
                <a:gd name="connsiteY8" fmla="*/ 87302 h 145503"/>
                <a:gd name="connsiteX9" fmla="*/ 83665 w 479014"/>
                <a:gd name="connsiteY9" fmla="*/ 119466 h 145503"/>
                <a:gd name="connsiteX10" fmla="*/ 51501 w 479014"/>
                <a:gd name="connsiteY10" fmla="*/ 87302 h 145503"/>
                <a:gd name="connsiteX11" fmla="*/ 83665 w 479014"/>
                <a:gd name="connsiteY11" fmla="*/ 55138 h 145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79014" h="145503">
                  <a:moveTo>
                    <a:pt x="0" y="145504"/>
                  </a:moveTo>
                  <a:lnTo>
                    <a:pt x="227254" y="145504"/>
                  </a:lnTo>
                  <a:cubicBezTo>
                    <a:pt x="256163" y="71029"/>
                    <a:pt x="328341" y="18188"/>
                    <a:pt x="413155" y="18188"/>
                  </a:cubicBezTo>
                  <a:cubicBezTo>
                    <a:pt x="436320" y="18188"/>
                    <a:pt x="458337" y="22400"/>
                    <a:pt x="479014" y="29484"/>
                  </a:cubicBezTo>
                  <a:lnTo>
                    <a:pt x="479014" y="0"/>
                  </a:lnTo>
                  <a:lnTo>
                    <a:pt x="0" y="0"/>
                  </a:lnTo>
                  <a:lnTo>
                    <a:pt x="0" y="145312"/>
                  </a:lnTo>
                  <a:close/>
                  <a:moveTo>
                    <a:pt x="83665" y="55138"/>
                  </a:moveTo>
                  <a:cubicBezTo>
                    <a:pt x="101470" y="55138"/>
                    <a:pt x="115829" y="69497"/>
                    <a:pt x="115829" y="87302"/>
                  </a:cubicBezTo>
                  <a:cubicBezTo>
                    <a:pt x="115829" y="105107"/>
                    <a:pt x="101470" y="119466"/>
                    <a:pt x="83665" y="119466"/>
                  </a:cubicBezTo>
                  <a:cubicBezTo>
                    <a:pt x="65860" y="119466"/>
                    <a:pt x="51501" y="105107"/>
                    <a:pt x="51501" y="87302"/>
                  </a:cubicBezTo>
                  <a:cubicBezTo>
                    <a:pt x="51501" y="69497"/>
                    <a:pt x="65860" y="55138"/>
                    <a:pt x="83665" y="55138"/>
                  </a:cubicBezTo>
                  <a:close/>
                </a:path>
              </a:pathLst>
            </a:custGeom>
            <a:solidFill>
              <a:srgbClr val="3D4647"/>
            </a:soli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E7828983-38E5-FCE3-EF12-0FA1715818D7}"/>
                </a:ext>
              </a:extLst>
            </p:cNvPr>
            <p:cNvSpPr/>
            <p:nvPr/>
          </p:nvSpPr>
          <p:spPr>
            <a:xfrm>
              <a:off x="11009399" y="4563349"/>
              <a:ext cx="250994" cy="149907"/>
            </a:xfrm>
            <a:custGeom>
              <a:avLst/>
              <a:gdLst>
                <a:gd name="connsiteX0" fmla="*/ 216533 w 250994"/>
                <a:gd name="connsiteY0" fmla="*/ 0 h 149907"/>
                <a:gd name="connsiteX1" fmla="*/ 0 w 250994"/>
                <a:gd name="connsiteY1" fmla="*/ 0 h 149907"/>
                <a:gd name="connsiteX2" fmla="*/ 0 w 250994"/>
                <a:gd name="connsiteY2" fmla="*/ 149907 h 149907"/>
                <a:gd name="connsiteX3" fmla="*/ 250994 w 250994"/>
                <a:gd name="connsiteY3" fmla="*/ 149907 h 149907"/>
                <a:gd name="connsiteX4" fmla="*/ 213470 w 250994"/>
                <a:gd name="connsiteY4" fmla="*/ 33696 h 149907"/>
                <a:gd name="connsiteX5" fmla="*/ 216533 w 250994"/>
                <a:gd name="connsiteY5" fmla="*/ 0 h 149907"/>
                <a:gd name="connsiteX6" fmla="*/ 83665 w 250994"/>
                <a:gd name="connsiteY6" fmla="*/ 122147 h 149907"/>
                <a:gd name="connsiteX7" fmla="*/ 51501 w 250994"/>
                <a:gd name="connsiteY7" fmla="*/ 89983 h 149907"/>
                <a:gd name="connsiteX8" fmla="*/ 83665 w 250994"/>
                <a:gd name="connsiteY8" fmla="*/ 57819 h 149907"/>
                <a:gd name="connsiteX9" fmla="*/ 115829 w 250994"/>
                <a:gd name="connsiteY9" fmla="*/ 89983 h 149907"/>
                <a:gd name="connsiteX10" fmla="*/ 83665 w 250994"/>
                <a:gd name="connsiteY10" fmla="*/ 122147 h 149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0994" h="149907">
                  <a:moveTo>
                    <a:pt x="216533" y="0"/>
                  </a:moveTo>
                  <a:lnTo>
                    <a:pt x="0" y="0"/>
                  </a:lnTo>
                  <a:lnTo>
                    <a:pt x="0" y="149907"/>
                  </a:lnTo>
                  <a:lnTo>
                    <a:pt x="250994" y="149907"/>
                  </a:lnTo>
                  <a:cubicBezTo>
                    <a:pt x="227446" y="117169"/>
                    <a:pt x="213470" y="77155"/>
                    <a:pt x="213470" y="33696"/>
                  </a:cubicBezTo>
                  <a:cubicBezTo>
                    <a:pt x="213470" y="22209"/>
                    <a:pt x="214618" y="10913"/>
                    <a:pt x="216533" y="0"/>
                  </a:cubicBezTo>
                  <a:close/>
                  <a:moveTo>
                    <a:pt x="83665" y="122147"/>
                  </a:moveTo>
                  <a:cubicBezTo>
                    <a:pt x="66051" y="122147"/>
                    <a:pt x="51501" y="107788"/>
                    <a:pt x="51501" y="89983"/>
                  </a:cubicBezTo>
                  <a:cubicBezTo>
                    <a:pt x="51501" y="72178"/>
                    <a:pt x="65860" y="57819"/>
                    <a:pt x="83665" y="57819"/>
                  </a:cubicBezTo>
                  <a:cubicBezTo>
                    <a:pt x="101470" y="57819"/>
                    <a:pt x="115829" y="72178"/>
                    <a:pt x="115829" y="89983"/>
                  </a:cubicBezTo>
                  <a:cubicBezTo>
                    <a:pt x="115829" y="107788"/>
                    <a:pt x="101470" y="122147"/>
                    <a:pt x="83665" y="122147"/>
                  </a:cubicBezTo>
                  <a:close/>
                </a:path>
              </a:pathLst>
            </a:custGeom>
            <a:solidFill>
              <a:srgbClr val="3D4647"/>
            </a:soli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119" name="Graphic 118">
            <a:extLst>
              <a:ext uri="{FF2B5EF4-FFF2-40B4-BE49-F238E27FC236}">
                <a16:creationId xmlns:a16="http://schemas.microsoft.com/office/drawing/2014/main" id="{ABFD2DE8-5F56-1FF2-5685-DB56BA1A264F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1388450" y="5711643"/>
            <a:ext cx="609600" cy="609600"/>
          </a:xfrm>
          <a:prstGeom prst="rect">
            <a:avLst/>
          </a:prstGeom>
        </p:spPr>
      </p:pic>
      <p:sp>
        <p:nvSpPr>
          <p:cNvPr id="17" name="object 19">
            <a:extLst>
              <a:ext uri="{FF2B5EF4-FFF2-40B4-BE49-F238E27FC236}">
                <a16:creationId xmlns:a16="http://schemas.microsoft.com/office/drawing/2014/main" id="{5911A822-DADE-2DF9-03AD-45192FAB4140}"/>
              </a:ext>
            </a:extLst>
          </p:cNvPr>
          <p:cNvSpPr txBox="1"/>
          <p:nvPr/>
        </p:nvSpPr>
        <p:spPr>
          <a:xfrm>
            <a:off x="8083300" y="5428177"/>
            <a:ext cx="137160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Operatin</a:t>
            </a:r>
            <a:r>
              <a:rPr lang="en-US" dirty="0"/>
              <a:t>g Margin</a:t>
            </a:r>
            <a:endParaRPr dirty="0"/>
          </a:p>
        </p:txBody>
      </p:sp>
      <p:sp>
        <p:nvSpPr>
          <p:cNvPr id="114" name="object 37">
            <a:extLst>
              <a:ext uri="{FF2B5EF4-FFF2-40B4-BE49-F238E27FC236}">
                <a16:creationId xmlns:a16="http://schemas.microsoft.com/office/drawing/2014/main" id="{0E31B229-6EFB-870F-4D28-B5BFBA873E92}"/>
              </a:ext>
            </a:extLst>
          </p:cNvPr>
          <p:cNvSpPr txBox="1"/>
          <p:nvPr/>
        </p:nvSpPr>
        <p:spPr>
          <a:xfrm>
            <a:off x="8341888" y="1628374"/>
            <a:ext cx="133794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Trend Drive</a:t>
            </a:r>
            <a:r>
              <a:rPr lang="en-US" dirty="0"/>
              <a:t>n Product</a:t>
            </a:r>
            <a:endParaRPr dirty="0"/>
          </a:p>
        </p:txBody>
      </p:sp>
      <p:sp>
        <p:nvSpPr>
          <p:cNvPr id="118" name="object 3">
            <a:extLst>
              <a:ext uri="{FF2B5EF4-FFF2-40B4-BE49-F238E27FC236}">
                <a16:creationId xmlns:a16="http://schemas.microsoft.com/office/drawing/2014/main" id="{8F1D495D-D2A5-EEBF-D564-31782882D675}"/>
              </a:ext>
            </a:extLst>
          </p:cNvPr>
          <p:cNvSpPr txBox="1"/>
          <p:nvPr/>
        </p:nvSpPr>
        <p:spPr>
          <a:xfrm>
            <a:off x="3356733" y="2851900"/>
            <a:ext cx="715514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</a:t>
            </a:r>
            <a:r>
              <a:rPr dirty="0"/>
              <a:t>sset Effici</a:t>
            </a:r>
            <a:r>
              <a:rPr lang="en-US" dirty="0"/>
              <a:t>ency</a:t>
            </a:r>
            <a:endParaRPr dirty="0"/>
          </a:p>
        </p:txBody>
      </p:sp>
      <p:pic>
        <p:nvPicPr>
          <p:cNvPr id="155" name="Graphic 154">
            <a:extLst>
              <a:ext uri="{FF2B5EF4-FFF2-40B4-BE49-F238E27FC236}">
                <a16:creationId xmlns:a16="http://schemas.microsoft.com/office/drawing/2014/main" id="{A970D833-2613-7CF9-8A06-F8316C6164EB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3408166" y="3204446"/>
            <a:ext cx="612648" cy="612648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83FD9E3C-5BD0-0815-EEC1-4684D1133863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8119332" y="5711643"/>
            <a:ext cx="609600" cy="609600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90293E8A-171E-550F-A789-BBB906472B10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8606311" y="1787493"/>
            <a:ext cx="781050" cy="78105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894F1510-7576-AA84-FDCC-3EAB0A4AA969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6157947" y="4435533"/>
            <a:ext cx="609600" cy="609600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59AAE015-9EBB-BD13-C10D-5AF084A9A8FC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7687250" y="4435533"/>
            <a:ext cx="609600" cy="609600"/>
          </a:xfrm>
          <a:prstGeom prst="rect">
            <a:avLst/>
          </a:prstGeom>
        </p:spPr>
      </p:pic>
      <p:pic>
        <p:nvPicPr>
          <p:cNvPr id="126" name="Graphic 125">
            <a:extLst>
              <a:ext uri="{FF2B5EF4-FFF2-40B4-BE49-F238E27FC236}">
                <a16:creationId xmlns:a16="http://schemas.microsoft.com/office/drawing/2014/main" id="{21DBF734-73EB-8F75-B708-B323834922AA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4004783" y="1935564"/>
            <a:ext cx="609600" cy="609600"/>
          </a:xfrm>
          <a:prstGeom prst="rect">
            <a:avLst/>
          </a:prstGeom>
        </p:spPr>
      </p:pic>
      <p:sp>
        <p:nvSpPr>
          <p:cNvPr id="127" name="Text Placeholder 81">
            <a:extLst>
              <a:ext uri="{FF2B5EF4-FFF2-40B4-BE49-F238E27FC236}">
                <a16:creationId xmlns:a16="http://schemas.microsoft.com/office/drawing/2014/main" id="{5328414E-A577-83FD-E08F-E40B31EF3F96}"/>
              </a:ext>
            </a:extLst>
          </p:cNvPr>
          <p:cNvSpPr txBox="1">
            <a:spLocks/>
          </p:cNvSpPr>
          <p:nvPr/>
        </p:nvSpPr>
        <p:spPr>
          <a:xfrm>
            <a:off x="4024010" y="1629043"/>
            <a:ext cx="1737360" cy="1371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ar Chart Horizontal Variable</a:t>
            </a:r>
          </a:p>
        </p:txBody>
      </p:sp>
      <p:pic>
        <p:nvPicPr>
          <p:cNvPr id="158" name="Graphic 157">
            <a:extLst>
              <a:ext uri="{FF2B5EF4-FFF2-40B4-BE49-F238E27FC236}">
                <a16:creationId xmlns:a16="http://schemas.microsoft.com/office/drawing/2014/main" id="{53B05446-2037-C137-DD87-8576213DDB44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5155165" y="1935564"/>
            <a:ext cx="609600" cy="609600"/>
          </a:xfrm>
          <a:prstGeom prst="rect">
            <a:avLst/>
          </a:prstGeom>
        </p:spPr>
      </p:pic>
      <p:grpSp>
        <p:nvGrpSpPr>
          <p:cNvPr id="15" name="Graphic 47">
            <a:extLst>
              <a:ext uri="{FF2B5EF4-FFF2-40B4-BE49-F238E27FC236}">
                <a16:creationId xmlns:a16="http://schemas.microsoft.com/office/drawing/2014/main" id="{8DA68F97-F9ED-CA0D-36E6-0846478C5543}"/>
              </a:ext>
            </a:extLst>
          </p:cNvPr>
          <p:cNvGrpSpPr>
            <a:grpSpLocks noChangeAspect="1"/>
          </p:cNvGrpSpPr>
          <p:nvPr/>
        </p:nvGrpSpPr>
        <p:grpSpPr>
          <a:xfrm>
            <a:off x="8896583" y="5708595"/>
            <a:ext cx="612648" cy="612648"/>
            <a:chOff x="8554758" y="5711643"/>
            <a:chExt cx="609600" cy="609600"/>
          </a:xfrm>
        </p:grpSpPr>
        <p:grpSp>
          <p:nvGrpSpPr>
            <p:cNvPr id="75" name="Graphic 47">
              <a:extLst>
                <a:ext uri="{FF2B5EF4-FFF2-40B4-BE49-F238E27FC236}">
                  <a16:creationId xmlns:a16="http://schemas.microsoft.com/office/drawing/2014/main" id="{24EB0D19-950D-B066-4989-ABBA1F77F526}"/>
                </a:ext>
              </a:extLst>
            </p:cNvPr>
            <p:cNvGrpSpPr/>
            <p:nvPr/>
          </p:nvGrpSpPr>
          <p:grpSpPr>
            <a:xfrm>
              <a:off x="8554758" y="5711643"/>
              <a:ext cx="609600" cy="609600"/>
              <a:chOff x="8554758" y="5711643"/>
              <a:chExt cx="609600" cy="609600"/>
            </a:xfrm>
          </p:grpSpPr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5984C53D-D9C1-90B6-3994-C5F8674074ED}"/>
                  </a:ext>
                </a:extLst>
              </p:cNvPr>
              <p:cNvSpPr/>
              <p:nvPr/>
            </p:nvSpPr>
            <p:spPr>
              <a:xfrm>
                <a:off x="8554758" y="5811655"/>
                <a:ext cx="609600" cy="509587"/>
              </a:xfrm>
              <a:custGeom>
                <a:avLst/>
                <a:gdLst>
                  <a:gd name="connsiteX0" fmla="*/ 530543 w 609600"/>
                  <a:gd name="connsiteY0" fmla="*/ 0 h 509587"/>
                  <a:gd name="connsiteX1" fmla="*/ 310515 w 609600"/>
                  <a:gd name="connsiteY1" fmla="*/ 219075 h 509587"/>
                  <a:gd name="connsiteX2" fmla="*/ 0 w 609600"/>
                  <a:gd name="connsiteY2" fmla="*/ 219075 h 509587"/>
                  <a:gd name="connsiteX3" fmla="*/ 304800 w 609600"/>
                  <a:gd name="connsiteY3" fmla="*/ 509588 h 509587"/>
                  <a:gd name="connsiteX4" fmla="*/ 609600 w 609600"/>
                  <a:gd name="connsiteY4" fmla="*/ 204788 h 509587"/>
                  <a:gd name="connsiteX5" fmla="*/ 530543 w 609600"/>
                  <a:gd name="connsiteY5" fmla="*/ 0 h 509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9600" h="509587">
                    <a:moveTo>
                      <a:pt x="530543" y="0"/>
                    </a:moveTo>
                    <a:lnTo>
                      <a:pt x="310515" y="219075"/>
                    </a:lnTo>
                    <a:lnTo>
                      <a:pt x="0" y="219075"/>
                    </a:lnTo>
                    <a:cubicBezTo>
                      <a:pt x="7620" y="381000"/>
                      <a:pt x="140970" y="509588"/>
                      <a:pt x="304800" y="509588"/>
                    </a:cubicBezTo>
                    <a:cubicBezTo>
                      <a:pt x="473393" y="509588"/>
                      <a:pt x="609600" y="373380"/>
                      <a:pt x="609600" y="204788"/>
                    </a:cubicBezTo>
                    <a:cubicBezTo>
                      <a:pt x="609600" y="125730"/>
                      <a:pt x="579120" y="53340"/>
                      <a:pt x="530543" y="0"/>
                    </a:cubicBezTo>
                    <a:close/>
                  </a:path>
                </a:pathLst>
              </a:custGeom>
              <a:solidFill>
                <a:srgbClr val="3D46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FF393657-6B56-9B33-5043-90EAD6923AF4}"/>
                  </a:ext>
                </a:extLst>
              </p:cNvPr>
              <p:cNvSpPr/>
              <p:nvPr/>
            </p:nvSpPr>
            <p:spPr>
              <a:xfrm>
                <a:off x="8554758" y="5711643"/>
                <a:ext cx="509587" cy="290512"/>
              </a:xfrm>
              <a:custGeom>
                <a:avLst/>
                <a:gdLst>
                  <a:gd name="connsiteX0" fmla="*/ 509588 w 509587"/>
                  <a:gd name="connsiteY0" fmla="*/ 79058 h 290512"/>
                  <a:gd name="connsiteX1" fmla="*/ 304800 w 509587"/>
                  <a:gd name="connsiteY1" fmla="*/ 0 h 290512"/>
                  <a:gd name="connsiteX2" fmla="*/ 0 w 509587"/>
                  <a:gd name="connsiteY2" fmla="*/ 290513 h 290512"/>
                  <a:gd name="connsiteX3" fmla="*/ 299085 w 509587"/>
                  <a:gd name="connsiteY3" fmla="*/ 290513 h 290512"/>
                  <a:gd name="connsiteX4" fmla="*/ 509588 w 509587"/>
                  <a:gd name="connsiteY4" fmla="*/ 79058 h 290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9587" h="290512">
                    <a:moveTo>
                      <a:pt x="509588" y="79058"/>
                    </a:moveTo>
                    <a:cubicBezTo>
                      <a:pt x="455295" y="30480"/>
                      <a:pt x="383858" y="0"/>
                      <a:pt x="304800" y="0"/>
                    </a:cubicBezTo>
                    <a:cubicBezTo>
                      <a:pt x="140970" y="0"/>
                      <a:pt x="7620" y="128588"/>
                      <a:pt x="0" y="290513"/>
                    </a:cubicBezTo>
                    <a:lnTo>
                      <a:pt x="299085" y="290513"/>
                    </a:lnTo>
                    <a:lnTo>
                      <a:pt x="509588" y="79058"/>
                    </a:lnTo>
                    <a:close/>
                  </a:path>
                </a:pathLst>
              </a:custGeom>
              <a:solidFill>
                <a:srgbClr val="40AA1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D10BACF5-EE96-5559-7057-F346C9AB16B9}"/>
                </a:ext>
              </a:extLst>
            </p:cNvPr>
            <p:cNvSpPr/>
            <p:nvPr/>
          </p:nvSpPr>
          <p:spPr>
            <a:xfrm>
              <a:off x="8715730" y="5782128"/>
              <a:ext cx="109537" cy="167639"/>
            </a:xfrm>
            <a:custGeom>
              <a:avLst/>
              <a:gdLst>
                <a:gd name="connsiteX0" fmla="*/ 109538 w 109537"/>
                <a:gd name="connsiteY0" fmla="*/ 117158 h 167639"/>
                <a:gd name="connsiteX1" fmla="*/ 98108 w 109537"/>
                <a:gd name="connsiteY1" fmla="*/ 140970 h 167639"/>
                <a:gd name="connsiteX2" fmla="*/ 68580 w 109537"/>
                <a:gd name="connsiteY2" fmla="*/ 150495 h 167639"/>
                <a:gd name="connsiteX3" fmla="*/ 68580 w 109537"/>
                <a:gd name="connsiteY3" fmla="*/ 167640 h 167639"/>
                <a:gd name="connsiteX4" fmla="*/ 42863 w 109537"/>
                <a:gd name="connsiteY4" fmla="*/ 167640 h 167639"/>
                <a:gd name="connsiteX5" fmla="*/ 42863 w 109537"/>
                <a:gd name="connsiteY5" fmla="*/ 150495 h 167639"/>
                <a:gd name="connsiteX6" fmla="*/ 11430 w 109537"/>
                <a:gd name="connsiteY6" fmla="*/ 139065 h 167639"/>
                <a:gd name="connsiteX7" fmla="*/ 0 w 109537"/>
                <a:gd name="connsiteY7" fmla="*/ 107633 h 167639"/>
                <a:gd name="connsiteX8" fmla="*/ 25718 w 109537"/>
                <a:gd name="connsiteY8" fmla="*/ 107633 h 167639"/>
                <a:gd name="connsiteX9" fmla="*/ 30480 w 109537"/>
                <a:gd name="connsiteY9" fmla="*/ 122872 h 167639"/>
                <a:gd name="connsiteX10" fmla="*/ 43815 w 109537"/>
                <a:gd name="connsiteY10" fmla="*/ 128587 h 167639"/>
                <a:gd name="connsiteX11" fmla="*/ 64770 w 109537"/>
                <a:gd name="connsiteY11" fmla="*/ 128587 h 167639"/>
                <a:gd name="connsiteX12" fmla="*/ 78105 w 109537"/>
                <a:gd name="connsiteY12" fmla="*/ 124778 h 167639"/>
                <a:gd name="connsiteX13" fmla="*/ 82868 w 109537"/>
                <a:gd name="connsiteY13" fmla="*/ 115253 h 167639"/>
                <a:gd name="connsiteX14" fmla="*/ 82868 w 109537"/>
                <a:gd name="connsiteY14" fmla="*/ 108585 h 167639"/>
                <a:gd name="connsiteX15" fmla="*/ 69533 w 109537"/>
                <a:gd name="connsiteY15" fmla="*/ 97155 h 167639"/>
                <a:gd name="connsiteX16" fmla="*/ 36195 w 109537"/>
                <a:gd name="connsiteY16" fmla="*/ 91440 h 167639"/>
                <a:gd name="connsiteX17" fmla="*/ 10478 w 109537"/>
                <a:gd name="connsiteY17" fmla="*/ 80962 h 167639"/>
                <a:gd name="connsiteX18" fmla="*/ 1905 w 109537"/>
                <a:gd name="connsiteY18" fmla="*/ 60960 h 167639"/>
                <a:gd name="connsiteX19" fmla="*/ 1905 w 109537"/>
                <a:gd name="connsiteY19" fmla="*/ 50482 h 167639"/>
                <a:gd name="connsiteX20" fmla="*/ 6668 w 109537"/>
                <a:gd name="connsiteY20" fmla="*/ 33337 h 167639"/>
                <a:gd name="connsiteX21" fmla="*/ 20955 w 109537"/>
                <a:gd name="connsiteY21" fmla="*/ 21907 h 167639"/>
                <a:gd name="connsiteX22" fmla="*/ 42863 w 109537"/>
                <a:gd name="connsiteY22" fmla="*/ 17145 h 167639"/>
                <a:gd name="connsiteX23" fmla="*/ 42863 w 109537"/>
                <a:gd name="connsiteY23" fmla="*/ 0 h 167639"/>
                <a:gd name="connsiteX24" fmla="*/ 68580 w 109537"/>
                <a:gd name="connsiteY24" fmla="*/ 0 h 167639"/>
                <a:gd name="connsiteX25" fmla="*/ 68580 w 109537"/>
                <a:gd name="connsiteY25" fmla="*/ 17145 h 167639"/>
                <a:gd name="connsiteX26" fmla="*/ 96203 w 109537"/>
                <a:gd name="connsiteY26" fmla="*/ 28575 h 167639"/>
                <a:gd name="connsiteX27" fmla="*/ 106680 w 109537"/>
                <a:gd name="connsiteY27" fmla="*/ 57150 h 167639"/>
                <a:gd name="connsiteX28" fmla="*/ 80963 w 109537"/>
                <a:gd name="connsiteY28" fmla="*/ 57150 h 167639"/>
                <a:gd name="connsiteX29" fmla="*/ 76200 w 109537"/>
                <a:gd name="connsiteY29" fmla="*/ 44768 h 167639"/>
                <a:gd name="connsiteX30" fmla="*/ 64770 w 109537"/>
                <a:gd name="connsiteY30" fmla="*/ 40005 h 167639"/>
                <a:gd name="connsiteX31" fmla="*/ 43815 w 109537"/>
                <a:gd name="connsiteY31" fmla="*/ 40005 h 167639"/>
                <a:gd name="connsiteX32" fmla="*/ 31433 w 109537"/>
                <a:gd name="connsiteY32" fmla="*/ 43815 h 167639"/>
                <a:gd name="connsiteX33" fmla="*/ 26670 w 109537"/>
                <a:gd name="connsiteY33" fmla="*/ 52387 h 167639"/>
                <a:gd name="connsiteX34" fmla="*/ 26670 w 109537"/>
                <a:gd name="connsiteY34" fmla="*/ 57150 h 167639"/>
                <a:gd name="connsiteX35" fmla="*/ 40005 w 109537"/>
                <a:gd name="connsiteY35" fmla="*/ 68580 h 167639"/>
                <a:gd name="connsiteX36" fmla="*/ 74295 w 109537"/>
                <a:gd name="connsiteY36" fmla="*/ 74295 h 167639"/>
                <a:gd name="connsiteX37" fmla="*/ 100013 w 109537"/>
                <a:gd name="connsiteY37" fmla="*/ 84772 h 167639"/>
                <a:gd name="connsiteX38" fmla="*/ 108585 w 109537"/>
                <a:gd name="connsiteY38" fmla="*/ 103822 h 167639"/>
                <a:gd name="connsiteX39" fmla="*/ 108585 w 109537"/>
                <a:gd name="connsiteY39" fmla="*/ 117158 h 16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9537" h="167639">
                  <a:moveTo>
                    <a:pt x="109538" y="117158"/>
                  </a:moveTo>
                  <a:cubicBezTo>
                    <a:pt x="109538" y="126683"/>
                    <a:pt x="105728" y="134303"/>
                    <a:pt x="98108" y="140970"/>
                  </a:cubicBezTo>
                  <a:cubicBezTo>
                    <a:pt x="90488" y="146685"/>
                    <a:pt x="80963" y="150495"/>
                    <a:pt x="68580" y="150495"/>
                  </a:cubicBezTo>
                  <a:lnTo>
                    <a:pt x="68580" y="167640"/>
                  </a:lnTo>
                  <a:lnTo>
                    <a:pt x="42863" y="167640"/>
                  </a:lnTo>
                  <a:lnTo>
                    <a:pt x="42863" y="150495"/>
                  </a:lnTo>
                  <a:cubicBezTo>
                    <a:pt x="29528" y="150495"/>
                    <a:pt x="19050" y="146685"/>
                    <a:pt x="11430" y="139065"/>
                  </a:cubicBezTo>
                  <a:cubicBezTo>
                    <a:pt x="3810" y="131445"/>
                    <a:pt x="0" y="120968"/>
                    <a:pt x="0" y="107633"/>
                  </a:cubicBezTo>
                  <a:lnTo>
                    <a:pt x="25718" y="107633"/>
                  </a:lnTo>
                  <a:cubicBezTo>
                    <a:pt x="25718" y="114300"/>
                    <a:pt x="27622" y="119062"/>
                    <a:pt x="30480" y="122872"/>
                  </a:cubicBezTo>
                  <a:cubicBezTo>
                    <a:pt x="33338" y="126683"/>
                    <a:pt x="38100" y="128587"/>
                    <a:pt x="43815" y="128587"/>
                  </a:cubicBezTo>
                  <a:lnTo>
                    <a:pt x="64770" y="128587"/>
                  </a:lnTo>
                  <a:cubicBezTo>
                    <a:pt x="70485" y="128587"/>
                    <a:pt x="74295" y="127635"/>
                    <a:pt x="78105" y="124778"/>
                  </a:cubicBezTo>
                  <a:cubicBezTo>
                    <a:pt x="81915" y="122872"/>
                    <a:pt x="82868" y="119062"/>
                    <a:pt x="82868" y="115253"/>
                  </a:cubicBezTo>
                  <a:lnTo>
                    <a:pt x="82868" y="108585"/>
                  </a:lnTo>
                  <a:cubicBezTo>
                    <a:pt x="82868" y="102870"/>
                    <a:pt x="78105" y="99060"/>
                    <a:pt x="69533" y="97155"/>
                  </a:cubicBezTo>
                  <a:lnTo>
                    <a:pt x="36195" y="91440"/>
                  </a:lnTo>
                  <a:cubicBezTo>
                    <a:pt x="24765" y="89535"/>
                    <a:pt x="16193" y="85725"/>
                    <a:pt x="10478" y="80962"/>
                  </a:cubicBezTo>
                  <a:cubicBezTo>
                    <a:pt x="4763" y="75248"/>
                    <a:pt x="1905" y="68580"/>
                    <a:pt x="1905" y="60960"/>
                  </a:cubicBezTo>
                  <a:lnTo>
                    <a:pt x="1905" y="50482"/>
                  </a:lnTo>
                  <a:cubicBezTo>
                    <a:pt x="1905" y="43815"/>
                    <a:pt x="3810" y="38100"/>
                    <a:pt x="6668" y="33337"/>
                  </a:cubicBezTo>
                  <a:cubicBezTo>
                    <a:pt x="10478" y="28575"/>
                    <a:pt x="15240" y="24765"/>
                    <a:pt x="20955" y="21907"/>
                  </a:cubicBezTo>
                  <a:cubicBezTo>
                    <a:pt x="27622" y="19050"/>
                    <a:pt x="34290" y="17145"/>
                    <a:pt x="42863" y="17145"/>
                  </a:cubicBezTo>
                  <a:lnTo>
                    <a:pt x="42863" y="0"/>
                  </a:lnTo>
                  <a:lnTo>
                    <a:pt x="68580" y="0"/>
                  </a:lnTo>
                  <a:lnTo>
                    <a:pt x="68580" y="17145"/>
                  </a:lnTo>
                  <a:cubicBezTo>
                    <a:pt x="80010" y="18098"/>
                    <a:pt x="89535" y="21907"/>
                    <a:pt x="96203" y="28575"/>
                  </a:cubicBezTo>
                  <a:cubicBezTo>
                    <a:pt x="102870" y="36195"/>
                    <a:pt x="106680" y="45720"/>
                    <a:pt x="106680" y="57150"/>
                  </a:cubicBezTo>
                  <a:lnTo>
                    <a:pt x="80963" y="57150"/>
                  </a:lnTo>
                  <a:cubicBezTo>
                    <a:pt x="80963" y="52387"/>
                    <a:pt x="79058" y="47625"/>
                    <a:pt x="76200" y="44768"/>
                  </a:cubicBezTo>
                  <a:cubicBezTo>
                    <a:pt x="73343" y="41910"/>
                    <a:pt x="69533" y="40005"/>
                    <a:pt x="64770" y="40005"/>
                  </a:cubicBezTo>
                  <a:lnTo>
                    <a:pt x="43815" y="40005"/>
                  </a:lnTo>
                  <a:cubicBezTo>
                    <a:pt x="39053" y="40005"/>
                    <a:pt x="34290" y="40957"/>
                    <a:pt x="31433" y="43815"/>
                  </a:cubicBezTo>
                  <a:cubicBezTo>
                    <a:pt x="28575" y="45720"/>
                    <a:pt x="26670" y="48578"/>
                    <a:pt x="26670" y="52387"/>
                  </a:cubicBezTo>
                  <a:lnTo>
                    <a:pt x="26670" y="57150"/>
                  </a:lnTo>
                  <a:cubicBezTo>
                    <a:pt x="26670" y="63818"/>
                    <a:pt x="31433" y="67628"/>
                    <a:pt x="40005" y="68580"/>
                  </a:cubicBezTo>
                  <a:lnTo>
                    <a:pt x="74295" y="74295"/>
                  </a:lnTo>
                  <a:cubicBezTo>
                    <a:pt x="85725" y="76200"/>
                    <a:pt x="94298" y="80010"/>
                    <a:pt x="100013" y="84772"/>
                  </a:cubicBezTo>
                  <a:cubicBezTo>
                    <a:pt x="105728" y="89535"/>
                    <a:pt x="108585" y="96203"/>
                    <a:pt x="108585" y="103822"/>
                  </a:cubicBezTo>
                  <a:lnTo>
                    <a:pt x="108585" y="1171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54D20962-20E4-4D89-7938-8585BB4A2C1D}"/>
                </a:ext>
              </a:extLst>
            </p:cNvPr>
            <p:cNvSpPr/>
            <p:nvPr/>
          </p:nvSpPr>
          <p:spPr>
            <a:xfrm flipV="1">
              <a:off x="8755735" y="6059305"/>
              <a:ext cx="207645" cy="218122"/>
            </a:xfrm>
            <a:custGeom>
              <a:avLst/>
              <a:gdLst>
                <a:gd name="connsiteX0" fmla="*/ 207645 w 207645"/>
                <a:gd name="connsiteY0" fmla="*/ 138113 h 218122"/>
                <a:gd name="connsiteX1" fmla="*/ 103823 w 207645"/>
                <a:gd name="connsiteY1" fmla="*/ 0 h 218122"/>
                <a:gd name="connsiteX2" fmla="*/ 0 w 207645"/>
                <a:gd name="connsiteY2" fmla="*/ 138113 h 218122"/>
                <a:gd name="connsiteX3" fmla="*/ 65723 w 207645"/>
                <a:gd name="connsiteY3" fmla="*/ 138113 h 218122"/>
                <a:gd name="connsiteX4" fmla="*/ 65723 w 207645"/>
                <a:gd name="connsiteY4" fmla="*/ 218123 h 218122"/>
                <a:gd name="connsiteX5" fmla="*/ 141923 w 207645"/>
                <a:gd name="connsiteY5" fmla="*/ 218123 h 218122"/>
                <a:gd name="connsiteX6" fmla="*/ 141923 w 207645"/>
                <a:gd name="connsiteY6" fmla="*/ 138113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7645" h="218122">
                  <a:moveTo>
                    <a:pt x="207645" y="138113"/>
                  </a:moveTo>
                  <a:lnTo>
                    <a:pt x="103823" y="0"/>
                  </a:lnTo>
                  <a:lnTo>
                    <a:pt x="0" y="138113"/>
                  </a:lnTo>
                  <a:lnTo>
                    <a:pt x="65723" y="138113"/>
                  </a:lnTo>
                  <a:lnTo>
                    <a:pt x="65723" y="218123"/>
                  </a:lnTo>
                  <a:lnTo>
                    <a:pt x="141923" y="218123"/>
                  </a:lnTo>
                  <a:lnTo>
                    <a:pt x="141923" y="13811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295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Graphic 92">
            <a:extLst>
              <a:ext uri="{FF2B5EF4-FFF2-40B4-BE49-F238E27FC236}">
                <a16:creationId xmlns:a16="http://schemas.microsoft.com/office/drawing/2014/main" id="{6D2F0736-F78E-9EC3-4912-55DEDE3925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0605" y="5426058"/>
            <a:ext cx="609600" cy="609600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0DCC6052-435D-9FCB-5D3C-84E61CC7BF06}"/>
              </a:ext>
            </a:extLst>
          </p:cNvPr>
          <p:cNvGrpSpPr/>
          <p:nvPr/>
        </p:nvGrpSpPr>
        <p:grpSpPr>
          <a:xfrm>
            <a:off x="503678" y="5426058"/>
            <a:ext cx="609600" cy="609600"/>
            <a:chOff x="3787020" y="5710343"/>
            <a:chExt cx="609600" cy="609600"/>
          </a:xfrm>
          <a:solidFill>
            <a:schemeClr val="tx1"/>
          </a:solidFill>
        </p:grpSpPr>
        <p:sp>
          <p:nvSpPr>
            <p:cNvPr id="67" name="Graphic 62">
              <a:extLst>
                <a:ext uri="{FF2B5EF4-FFF2-40B4-BE49-F238E27FC236}">
                  <a16:creationId xmlns:a16="http://schemas.microsoft.com/office/drawing/2014/main" id="{D0233E62-6160-DBD4-5543-5B159F911232}"/>
                </a:ext>
              </a:extLst>
            </p:cNvPr>
            <p:cNvSpPr/>
            <p:nvPr/>
          </p:nvSpPr>
          <p:spPr>
            <a:xfrm>
              <a:off x="3922007" y="5755955"/>
              <a:ext cx="373294" cy="485477"/>
            </a:xfrm>
            <a:custGeom>
              <a:avLst/>
              <a:gdLst>
                <a:gd name="connsiteX0" fmla="*/ 437628 w 437628"/>
                <a:gd name="connsiteY0" fmla="*/ 0 h 543204"/>
                <a:gd name="connsiteX1" fmla="*/ 52788 w 437628"/>
                <a:gd name="connsiteY1" fmla="*/ 229883 h 543204"/>
                <a:gd name="connsiteX2" fmla="*/ 195826 w 437628"/>
                <a:gd name="connsiteY2" fmla="*/ 299699 h 543204"/>
                <a:gd name="connsiteX3" fmla="*/ 0 w 437628"/>
                <a:gd name="connsiteY3" fmla="*/ 543204 h 543204"/>
                <a:gd name="connsiteX4" fmla="*/ 384841 w 437628"/>
                <a:gd name="connsiteY4" fmla="*/ 313322 h 543204"/>
                <a:gd name="connsiteX5" fmla="*/ 243505 w 437628"/>
                <a:gd name="connsiteY5" fmla="*/ 243505 h 543204"/>
                <a:gd name="connsiteX6" fmla="*/ 437628 w 437628"/>
                <a:gd name="connsiteY6" fmla="*/ 0 h 543204"/>
                <a:gd name="connsiteX0" fmla="*/ 384840 w 384840"/>
                <a:gd name="connsiteY0" fmla="*/ 0 h 462386"/>
                <a:gd name="connsiteX1" fmla="*/ 0 w 384840"/>
                <a:gd name="connsiteY1" fmla="*/ 229883 h 462386"/>
                <a:gd name="connsiteX2" fmla="*/ 143038 w 384840"/>
                <a:gd name="connsiteY2" fmla="*/ 299699 h 462386"/>
                <a:gd name="connsiteX3" fmla="*/ 60357 w 384840"/>
                <a:gd name="connsiteY3" fmla="*/ 462386 h 462386"/>
                <a:gd name="connsiteX4" fmla="*/ 332053 w 384840"/>
                <a:gd name="connsiteY4" fmla="*/ 313322 h 462386"/>
                <a:gd name="connsiteX5" fmla="*/ 190717 w 384840"/>
                <a:gd name="connsiteY5" fmla="*/ 243505 h 462386"/>
                <a:gd name="connsiteX6" fmla="*/ 384840 w 384840"/>
                <a:gd name="connsiteY6" fmla="*/ 0 h 462386"/>
                <a:gd name="connsiteX0" fmla="*/ 373294 w 373294"/>
                <a:gd name="connsiteY0" fmla="*/ 0 h 462386"/>
                <a:gd name="connsiteX1" fmla="*/ 0 w 373294"/>
                <a:gd name="connsiteY1" fmla="*/ 229883 h 462386"/>
                <a:gd name="connsiteX2" fmla="*/ 131492 w 373294"/>
                <a:gd name="connsiteY2" fmla="*/ 299699 h 462386"/>
                <a:gd name="connsiteX3" fmla="*/ 48811 w 373294"/>
                <a:gd name="connsiteY3" fmla="*/ 462386 h 462386"/>
                <a:gd name="connsiteX4" fmla="*/ 320507 w 373294"/>
                <a:gd name="connsiteY4" fmla="*/ 313322 h 462386"/>
                <a:gd name="connsiteX5" fmla="*/ 179171 w 373294"/>
                <a:gd name="connsiteY5" fmla="*/ 243505 h 462386"/>
                <a:gd name="connsiteX6" fmla="*/ 373294 w 373294"/>
                <a:gd name="connsiteY6" fmla="*/ 0 h 462386"/>
                <a:gd name="connsiteX0" fmla="*/ 373294 w 373294"/>
                <a:gd name="connsiteY0" fmla="*/ 0 h 462386"/>
                <a:gd name="connsiteX1" fmla="*/ 0 w 373294"/>
                <a:gd name="connsiteY1" fmla="*/ 229883 h 462386"/>
                <a:gd name="connsiteX2" fmla="*/ 131492 w 373294"/>
                <a:gd name="connsiteY2" fmla="*/ 299699 h 462386"/>
                <a:gd name="connsiteX3" fmla="*/ 48811 w 373294"/>
                <a:gd name="connsiteY3" fmla="*/ 462386 h 462386"/>
                <a:gd name="connsiteX4" fmla="*/ 320507 w 373294"/>
                <a:gd name="connsiteY4" fmla="*/ 313322 h 462386"/>
                <a:gd name="connsiteX5" fmla="*/ 169934 w 373294"/>
                <a:gd name="connsiteY5" fmla="*/ 220414 h 462386"/>
                <a:gd name="connsiteX6" fmla="*/ 373294 w 373294"/>
                <a:gd name="connsiteY6" fmla="*/ 0 h 462386"/>
                <a:gd name="connsiteX0" fmla="*/ 373294 w 373294"/>
                <a:gd name="connsiteY0" fmla="*/ 0 h 462386"/>
                <a:gd name="connsiteX1" fmla="*/ 0 w 373294"/>
                <a:gd name="connsiteY1" fmla="*/ 229883 h 462386"/>
                <a:gd name="connsiteX2" fmla="*/ 131492 w 373294"/>
                <a:gd name="connsiteY2" fmla="*/ 299699 h 462386"/>
                <a:gd name="connsiteX3" fmla="*/ 48811 w 373294"/>
                <a:gd name="connsiteY3" fmla="*/ 462386 h 462386"/>
                <a:gd name="connsiteX4" fmla="*/ 306653 w 373294"/>
                <a:gd name="connsiteY4" fmla="*/ 294849 h 462386"/>
                <a:gd name="connsiteX5" fmla="*/ 169934 w 373294"/>
                <a:gd name="connsiteY5" fmla="*/ 220414 h 462386"/>
                <a:gd name="connsiteX6" fmla="*/ 373294 w 373294"/>
                <a:gd name="connsiteY6" fmla="*/ 0 h 462386"/>
                <a:gd name="connsiteX0" fmla="*/ 373294 w 373294"/>
                <a:gd name="connsiteY0" fmla="*/ 0 h 485477"/>
                <a:gd name="connsiteX1" fmla="*/ 0 w 373294"/>
                <a:gd name="connsiteY1" fmla="*/ 229883 h 485477"/>
                <a:gd name="connsiteX2" fmla="*/ 131492 w 373294"/>
                <a:gd name="connsiteY2" fmla="*/ 299699 h 485477"/>
                <a:gd name="connsiteX3" fmla="*/ 11866 w 373294"/>
                <a:gd name="connsiteY3" fmla="*/ 485477 h 485477"/>
                <a:gd name="connsiteX4" fmla="*/ 306653 w 373294"/>
                <a:gd name="connsiteY4" fmla="*/ 294849 h 485477"/>
                <a:gd name="connsiteX5" fmla="*/ 169934 w 373294"/>
                <a:gd name="connsiteY5" fmla="*/ 220414 h 485477"/>
                <a:gd name="connsiteX6" fmla="*/ 373294 w 373294"/>
                <a:gd name="connsiteY6" fmla="*/ 0 h 485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3294" h="485477">
                  <a:moveTo>
                    <a:pt x="373294" y="0"/>
                  </a:moveTo>
                  <a:lnTo>
                    <a:pt x="0" y="229883"/>
                  </a:lnTo>
                  <a:lnTo>
                    <a:pt x="131492" y="299699"/>
                  </a:lnTo>
                  <a:lnTo>
                    <a:pt x="11866" y="485477"/>
                  </a:lnTo>
                  <a:lnTo>
                    <a:pt x="306653" y="294849"/>
                  </a:lnTo>
                  <a:lnTo>
                    <a:pt x="169934" y="220414"/>
                  </a:lnTo>
                  <a:cubicBezTo>
                    <a:pt x="175043" y="215306"/>
                    <a:pt x="373294" y="0"/>
                    <a:pt x="373294" y="0"/>
                  </a:cubicBezTo>
                  <a:close/>
                </a:path>
              </a:pathLst>
            </a:custGeom>
            <a:grpFill/>
            <a:ln w="169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29CC5888-A11C-8CB4-AD79-145336E19F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87020" y="5710343"/>
              <a:ext cx="609600" cy="6096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70B42D7-8EC5-5FF2-35CB-F683C524D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ICONS  </a:t>
            </a:r>
          </a:p>
        </p:txBody>
      </p:sp>
      <p:sp>
        <p:nvSpPr>
          <p:cNvPr id="3" name="Text Placeholder 81">
            <a:extLst>
              <a:ext uri="{FF2B5EF4-FFF2-40B4-BE49-F238E27FC236}">
                <a16:creationId xmlns:a16="http://schemas.microsoft.com/office/drawing/2014/main" id="{036696FF-1EF3-8858-D3F4-7618CF435986}"/>
              </a:ext>
            </a:extLst>
          </p:cNvPr>
          <p:cNvSpPr txBox="1">
            <a:spLocks/>
          </p:cNvSpPr>
          <p:nvPr/>
        </p:nvSpPr>
        <p:spPr>
          <a:xfrm>
            <a:off x="5812360" y="5162354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nvironme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5ED4039-5F84-6864-4811-FDE26A7CB2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32546" y="5426058"/>
            <a:ext cx="609600" cy="6096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C8267368-9245-E3CE-A634-9DC67F5D630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219587" y="5426058"/>
            <a:ext cx="609600" cy="6096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3D09DBC-2204-ED50-9B47-CDE47F819A4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84116" y="5426058"/>
            <a:ext cx="609600" cy="609600"/>
          </a:xfrm>
          <a:prstGeom prst="rect">
            <a:avLst/>
          </a:prstGeom>
        </p:spPr>
      </p:pic>
      <p:sp>
        <p:nvSpPr>
          <p:cNvPr id="7" name="Text Placeholder 81">
            <a:extLst>
              <a:ext uri="{FF2B5EF4-FFF2-40B4-BE49-F238E27FC236}">
                <a16:creationId xmlns:a16="http://schemas.microsoft.com/office/drawing/2014/main" id="{3AAF56FE-9B64-5016-6947-BD7DE8761060}"/>
              </a:ext>
            </a:extLst>
          </p:cNvPr>
          <p:cNvSpPr txBox="1">
            <a:spLocks/>
          </p:cNvSpPr>
          <p:nvPr/>
        </p:nvSpPr>
        <p:spPr>
          <a:xfrm>
            <a:off x="4292888" y="3985175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in, Map Marker</a:t>
            </a:r>
          </a:p>
        </p:txBody>
      </p:sp>
      <p:pic>
        <p:nvPicPr>
          <p:cNvPr id="8" name="Graphic 104">
            <a:extLst>
              <a:ext uri="{FF2B5EF4-FFF2-40B4-BE49-F238E27FC236}">
                <a16:creationId xmlns:a16="http://schemas.microsoft.com/office/drawing/2014/main" id="{CEDB3E61-F103-FC2F-5E03-F22EB67C55CA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14383" t="11298" r="16384" b="6420"/>
          <a:stretch/>
        </p:blipFill>
        <p:spPr>
          <a:xfrm>
            <a:off x="4605768" y="4193020"/>
            <a:ext cx="457644" cy="612648"/>
          </a:xfrm>
          <a:prstGeom prst="rect">
            <a:avLst/>
          </a:prstGeom>
        </p:spPr>
      </p:pic>
      <p:sp>
        <p:nvSpPr>
          <p:cNvPr id="9" name="Text Placeholder 81">
            <a:extLst>
              <a:ext uri="{FF2B5EF4-FFF2-40B4-BE49-F238E27FC236}">
                <a16:creationId xmlns:a16="http://schemas.microsoft.com/office/drawing/2014/main" id="{5FC9DA42-E473-D88B-FE6B-CB5A19F369FA}"/>
              </a:ext>
            </a:extLst>
          </p:cNvPr>
          <p:cNvSpPr txBox="1">
            <a:spLocks/>
          </p:cNvSpPr>
          <p:nvPr/>
        </p:nvSpPr>
        <p:spPr>
          <a:xfrm>
            <a:off x="7017646" y="5093104"/>
            <a:ext cx="141585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Waste Management, Trash, Delete 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B0AAD4B-6984-6754-26F3-AA60E3B9FA5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419250" y="5424534"/>
            <a:ext cx="612648" cy="612648"/>
          </a:xfrm>
          <a:prstGeom prst="rect">
            <a:avLst/>
          </a:prstGeom>
        </p:spPr>
      </p:pic>
      <p:sp>
        <p:nvSpPr>
          <p:cNvPr id="11" name="Text Placeholder 81">
            <a:extLst>
              <a:ext uri="{FF2B5EF4-FFF2-40B4-BE49-F238E27FC236}">
                <a16:creationId xmlns:a16="http://schemas.microsoft.com/office/drawing/2014/main" id="{145EF056-7138-2F52-1181-3DBFCBA422AB}"/>
              </a:ext>
            </a:extLst>
          </p:cNvPr>
          <p:cNvSpPr txBox="1">
            <a:spLocks/>
          </p:cNvSpPr>
          <p:nvPr/>
        </p:nvSpPr>
        <p:spPr>
          <a:xfrm>
            <a:off x="8827007" y="5162354"/>
            <a:ext cx="118872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00" dirty="0"/>
              <a:t>Fire </a:t>
            </a:r>
          </a:p>
        </p:txBody>
      </p:sp>
      <p:sp>
        <p:nvSpPr>
          <p:cNvPr id="12" name="object 35">
            <a:extLst>
              <a:ext uri="{FF2B5EF4-FFF2-40B4-BE49-F238E27FC236}">
                <a16:creationId xmlns:a16="http://schemas.microsoft.com/office/drawing/2014/main" id="{7135F510-2DCA-7A6E-6616-3E49D6240B14}"/>
              </a:ext>
            </a:extLst>
          </p:cNvPr>
          <p:cNvSpPr txBox="1"/>
          <p:nvPr/>
        </p:nvSpPr>
        <p:spPr>
          <a:xfrm>
            <a:off x="6734010" y="3985175"/>
            <a:ext cx="767651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Current</a:t>
            </a:r>
          </a:p>
        </p:txBody>
      </p:sp>
      <p:sp>
        <p:nvSpPr>
          <p:cNvPr id="13" name="Text Placeholder 81">
            <a:extLst>
              <a:ext uri="{FF2B5EF4-FFF2-40B4-BE49-F238E27FC236}">
                <a16:creationId xmlns:a16="http://schemas.microsoft.com/office/drawing/2014/main" id="{D2527B6A-6568-A5B2-7953-B3F749ADCF8B}"/>
              </a:ext>
            </a:extLst>
          </p:cNvPr>
          <p:cNvSpPr txBox="1">
            <a:spLocks/>
          </p:cNvSpPr>
          <p:nvPr/>
        </p:nvSpPr>
        <p:spPr>
          <a:xfrm>
            <a:off x="483181" y="3985175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us</a:t>
            </a:r>
          </a:p>
        </p:txBody>
      </p:sp>
      <p:sp>
        <p:nvSpPr>
          <p:cNvPr id="14" name="Text Placeholder 81">
            <a:extLst>
              <a:ext uri="{FF2B5EF4-FFF2-40B4-BE49-F238E27FC236}">
                <a16:creationId xmlns:a16="http://schemas.microsoft.com/office/drawing/2014/main" id="{C7087A5D-933E-5E7B-FD40-369515743F59}"/>
              </a:ext>
            </a:extLst>
          </p:cNvPr>
          <p:cNvSpPr txBox="1">
            <a:spLocks/>
          </p:cNvSpPr>
          <p:nvPr/>
        </p:nvSpPr>
        <p:spPr>
          <a:xfrm>
            <a:off x="2331913" y="5162354"/>
            <a:ext cx="118872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eaf 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89368FA-CDF3-58DE-D826-176D6B6E4C2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10592" y="4218251"/>
            <a:ext cx="922561" cy="56218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E9DAF43-2637-94AF-7C1A-E0659D9E307D}"/>
              </a:ext>
            </a:extLst>
          </p:cNvPr>
          <p:cNvSpPr txBox="1"/>
          <p:nvPr/>
        </p:nvSpPr>
        <p:spPr>
          <a:xfrm>
            <a:off x="5645569" y="3985175"/>
            <a:ext cx="588303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On Track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0B18223-5A57-D8C3-CBB2-B259033FA48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636138" y="4194544"/>
            <a:ext cx="609600" cy="6096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F7DCEAD3-C62D-2401-8661-389083BBCC3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818464" y="4186979"/>
            <a:ext cx="624730" cy="62473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D9194A7B-0EF1-8F6E-79CE-864031860CF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438822" y="5426058"/>
            <a:ext cx="609600" cy="6096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58FF753-2D99-9D92-8464-E460D061ECB5}"/>
              </a:ext>
            </a:extLst>
          </p:cNvPr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rcRect t="17410"/>
          <a:stretch/>
        </p:blipFill>
        <p:spPr>
          <a:xfrm>
            <a:off x="3205060" y="4193020"/>
            <a:ext cx="741789" cy="612648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F0018B3-7C7F-565E-6CF4-5006EFBACBEF}"/>
              </a:ext>
            </a:extLst>
          </p:cNvPr>
          <p:cNvSpPr txBox="1"/>
          <p:nvPr/>
        </p:nvSpPr>
        <p:spPr>
          <a:xfrm>
            <a:off x="3277315" y="3985175"/>
            <a:ext cx="59727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ike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4D181B5-7CA0-8A2F-5595-72749682242E}"/>
              </a:ext>
            </a:extLst>
          </p:cNvPr>
          <p:cNvSpPr/>
          <p:nvPr/>
        </p:nvSpPr>
        <p:spPr>
          <a:xfrm>
            <a:off x="503678" y="3610762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Transportation / Environmental </a:t>
            </a:r>
          </a:p>
        </p:txBody>
      </p:sp>
      <p:sp>
        <p:nvSpPr>
          <p:cNvPr id="26" name="Text Placeholder 81">
            <a:extLst>
              <a:ext uri="{FF2B5EF4-FFF2-40B4-BE49-F238E27FC236}">
                <a16:creationId xmlns:a16="http://schemas.microsoft.com/office/drawing/2014/main" id="{9EACC684-AB05-138E-D4AA-1AAE19BF3114}"/>
              </a:ext>
            </a:extLst>
          </p:cNvPr>
          <p:cNvSpPr txBox="1">
            <a:spLocks/>
          </p:cNvSpPr>
          <p:nvPr/>
        </p:nvSpPr>
        <p:spPr>
          <a:xfrm>
            <a:off x="534246" y="5162354"/>
            <a:ext cx="118872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00" dirty="0"/>
              <a:t>Lightning</a:t>
            </a:r>
          </a:p>
        </p:txBody>
      </p:sp>
      <p:sp>
        <p:nvSpPr>
          <p:cNvPr id="28" name="Text Placeholder 81">
            <a:extLst>
              <a:ext uri="{FF2B5EF4-FFF2-40B4-BE49-F238E27FC236}">
                <a16:creationId xmlns:a16="http://schemas.microsoft.com/office/drawing/2014/main" id="{59BC5BFA-83CD-301F-659E-DF98E40912F7}"/>
              </a:ext>
            </a:extLst>
          </p:cNvPr>
          <p:cNvSpPr txBox="1">
            <a:spLocks/>
          </p:cNvSpPr>
          <p:nvPr/>
        </p:nvSpPr>
        <p:spPr>
          <a:xfrm>
            <a:off x="396544" y="1607423"/>
            <a:ext cx="104997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Magnify </a:t>
            </a:r>
            <a:br>
              <a:rPr lang="en-US" dirty="0"/>
            </a:br>
            <a:r>
              <a:rPr lang="en-US" dirty="0"/>
              <a:t>Glass, Search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2A1700F-67F0-103F-39DA-C753545CE514}"/>
              </a:ext>
            </a:extLst>
          </p:cNvPr>
          <p:cNvSpPr/>
          <p:nvPr/>
        </p:nvSpPr>
        <p:spPr>
          <a:xfrm>
            <a:off x="503678" y="1188197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Device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0" name="Text Placeholder 81">
            <a:extLst>
              <a:ext uri="{FF2B5EF4-FFF2-40B4-BE49-F238E27FC236}">
                <a16:creationId xmlns:a16="http://schemas.microsoft.com/office/drawing/2014/main" id="{35E431D6-473F-7087-4981-B16B51DA4D55}"/>
              </a:ext>
            </a:extLst>
          </p:cNvPr>
          <p:cNvSpPr txBox="1">
            <a:spLocks/>
          </p:cNvSpPr>
          <p:nvPr/>
        </p:nvSpPr>
        <p:spPr>
          <a:xfrm>
            <a:off x="2169221" y="1676673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aptop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B94CCA7E-9617-A78B-56A0-2124D00890B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378641" y="1896006"/>
            <a:ext cx="612648" cy="612648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3E46382D-2731-2C24-4000-44890C0632B8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696225" y="1897530"/>
            <a:ext cx="609600" cy="609600"/>
          </a:xfrm>
          <a:prstGeom prst="rect">
            <a:avLst/>
          </a:prstGeom>
        </p:spPr>
      </p:pic>
      <p:sp>
        <p:nvSpPr>
          <p:cNvPr id="33" name="Text Placeholder 81">
            <a:extLst>
              <a:ext uri="{FF2B5EF4-FFF2-40B4-BE49-F238E27FC236}">
                <a16:creationId xmlns:a16="http://schemas.microsoft.com/office/drawing/2014/main" id="{D5433539-90DD-CD9D-511F-113634635229}"/>
              </a:ext>
            </a:extLst>
          </p:cNvPr>
          <p:cNvSpPr txBox="1">
            <a:spLocks/>
          </p:cNvSpPr>
          <p:nvPr/>
        </p:nvSpPr>
        <p:spPr>
          <a:xfrm>
            <a:off x="3167004" y="1607423"/>
            <a:ext cx="76780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Mobile Phone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B9BD65C5-6D70-CFF6-2D00-3D4938CFD5CE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246107" y="1897530"/>
            <a:ext cx="609600" cy="6096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85D0CDED-ADBB-DB3B-A1F9-491EDC2E5E5E}"/>
              </a:ext>
            </a:extLst>
          </p:cNvPr>
          <p:cNvSpPr txBox="1"/>
          <p:nvPr/>
        </p:nvSpPr>
        <p:spPr>
          <a:xfrm>
            <a:off x="1702590" y="1676673"/>
            <a:ext cx="29655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rint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F702903-3294-2F31-2E18-32D2BB215FFB}"/>
              </a:ext>
            </a:extLst>
          </p:cNvPr>
          <p:cNvGrpSpPr/>
          <p:nvPr/>
        </p:nvGrpSpPr>
        <p:grpSpPr>
          <a:xfrm>
            <a:off x="1534585" y="1920390"/>
            <a:ext cx="609600" cy="563880"/>
            <a:chOff x="1648885" y="6019275"/>
            <a:chExt cx="609600" cy="563880"/>
          </a:xfrm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30AD294-F815-6D81-1DE5-DC99204D42E2}"/>
                </a:ext>
              </a:extLst>
            </p:cNvPr>
            <p:cNvSpPr/>
            <p:nvPr/>
          </p:nvSpPr>
          <p:spPr>
            <a:xfrm>
              <a:off x="1760327" y="6019275"/>
              <a:ext cx="396239" cy="148590"/>
            </a:xfrm>
            <a:custGeom>
              <a:avLst/>
              <a:gdLst>
                <a:gd name="connsiteX0" fmla="*/ 68580 w 396239"/>
                <a:gd name="connsiteY0" fmla="*/ 0 h 148590"/>
                <a:gd name="connsiteX1" fmla="*/ 0 w 396239"/>
                <a:gd name="connsiteY1" fmla="*/ 69533 h 148590"/>
                <a:gd name="connsiteX2" fmla="*/ 0 w 396239"/>
                <a:gd name="connsiteY2" fmla="*/ 148590 h 148590"/>
                <a:gd name="connsiteX3" fmla="*/ 29528 w 396239"/>
                <a:gd name="connsiteY3" fmla="*/ 148590 h 148590"/>
                <a:gd name="connsiteX4" fmla="*/ 29528 w 396239"/>
                <a:gd name="connsiteY4" fmla="*/ 112395 h 148590"/>
                <a:gd name="connsiteX5" fmla="*/ 108585 w 396239"/>
                <a:gd name="connsiteY5" fmla="*/ 112395 h 148590"/>
                <a:gd name="connsiteX6" fmla="*/ 108585 w 396239"/>
                <a:gd name="connsiteY6" fmla="*/ 29528 h 148590"/>
                <a:gd name="connsiteX7" fmla="*/ 366713 w 396239"/>
                <a:gd name="connsiteY7" fmla="*/ 29528 h 148590"/>
                <a:gd name="connsiteX8" fmla="*/ 366713 w 396239"/>
                <a:gd name="connsiteY8" fmla="*/ 148590 h 148590"/>
                <a:gd name="connsiteX9" fmla="*/ 396240 w 396239"/>
                <a:gd name="connsiteY9" fmla="*/ 148590 h 148590"/>
                <a:gd name="connsiteX10" fmla="*/ 396240 w 396239"/>
                <a:gd name="connsiteY10" fmla="*/ 0 h 1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6239" h="148590">
                  <a:moveTo>
                    <a:pt x="68580" y="0"/>
                  </a:moveTo>
                  <a:lnTo>
                    <a:pt x="0" y="69533"/>
                  </a:lnTo>
                  <a:lnTo>
                    <a:pt x="0" y="148590"/>
                  </a:lnTo>
                  <a:lnTo>
                    <a:pt x="29528" y="148590"/>
                  </a:lnTo>
                  <a:lnTo>
                    <a:pt x="29528" y="112395"/>
                  </a:lnTo>
                  <a:lnTo>
                    <a:pt x="108585" y="112395"/>
                  </a:lnTo>
                  <a:lnTo>
                    <a:pt x="108585" y="29528"/>
                  </a:lnTo>
                  <a:lnTo>
                    <a:pt x="366713" y="29528"/>
                  </a:lnTo>
                  <a:lnTo>
                    <a:pt x="366713" y="148590"/>
                  </a:lnTo>
                  <a:lnTo>
                    <a:pt x="396240" y="148590"/>
                  </a:lnTo>
                  <a:lnTo>
                    <a:pt x="396240" y="0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2179970-C39C-3F37-1EDA-86E44172A558}"/>
                </a:ext>
              </a:extLst>
            </p:cNvPr>
            <p:cNvSpPr/>
            <p:nvPr/>
          </p:nvSpPr>
          <p:spPr>
            <a:xfrm>
              <a:off x="1826050" y="6460283"/>
              <a:ext cx="271462" cy="18097"/>
            </a:xfrm>
            <a:custGeom>
              <a:avLst/>
              <a:gdLst>
                <a:gd name="connsiteX0" fmla="*/ 0 w 271462"/>
                <a:gd name="connsiteY0" fmla="*/ 0 h 18097"/>
                <a:gd name="connsiteX1" fmla="*/ 271463 w 271462"/>
                <a:gd name="connsiteY1" fmla="*/ 0 h 18097"/>
                <a:gd name="connsiteX2" fmla="*/ 271463 w 271462"/>
                <a:gd name="connsiteY2" fmla="*/ 18098 h 18097"/>
                <a:gd name="connsiteX3" fmla="*/ 0 w 271462"/>
                <a:gd name="connsiteY3" fmla="*/ 18098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462" h="18097">
                  <a:moveTo>
                    <a:pt x="0" y="0"/>
                  </a:moveTo>
                  <a:lnTo>
                    <a:pt x="271463" y="0"/>
                  </a:lnTo>
                  <a:lnTo>
                    <a:pt x="271463" y="18098"/>
                  </a:lnTo>
                  <a:lnTo>
                    <a:pt x="0" y="18098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39" name="Graphic 23">
              <a:extLst>
                <a:ext uri="{FF2B5EF4-FFF2-40B4-BE49-F238E27FC236}">
                  <a16:creationId xmlns:a16="http://schemas.microsoft.com/office/drawing/2014/main" id="{1D0C7337-5E17-6493-F9A2-C020FD8B0AD0}"/>
                </a:ext>
              </a:extLst>
            </p:cNvPr>
            <p:cNvGrpSpPr/>
            <p:nvPr/>
          </p:nvGrpSpPr>
          <p:grpSpPr>
            <a:xfrm>
              <a:off x="1648885" y="6186915"/>
              <a:ext cx="609600" cy="396240"/>
              <a:chOff x="1648885" y="6186915"/>
              <a:chExt cx="609600" cy="396240"/>
            </a:xfrm>
            <a:solidFill>
              <a:srgbClr val="3D4647"/>
            </a:solidFill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A49FFB60-2F37-F71A-7E7B-D05A3D376842}"/>
                  </a:ext>
                </a:extLst>
              </p:cNvPr>
              <p:cNvSpPr/>
              <p:nvPr/>
            </p:nvSpPr>
            <p:spPr>
              <a:xfrm>
                <a:off x="1663172" y="6201203"/>
                <a:ext cx="581025" cy="219074"/>
              </a:xfrm>
              <a:custGeom>
                <a:avLst/>
                <a:gdLst>
                  <a:gd name="connsiteX0" fmla="*/ 497205 w 581025"/>
                  <a:gd name="connsiteY0" fmla="*/ 219075 h 219074"/>
                  <a:gd name="connsiteX1" fmla="*/ 494348 w 581025"/>
                  <a:gd name="connsiteY1" fmla="*/ 200025 h 219074"/>
                  <a:gd name="connsiteX2" fmla="*/ 534353 w 581025"/>
                  <a:gd name="connsiteY2" fmla="*/ 200025 h 219074"/>
                  <a:gd name="connsiteX3" fmla="*/ 534353 w 581025"/>
                  <a:gd name="connsiteY3" fmla="*/ 132398 h 219074"/>
                  <a:gd name="connsiteX4" fmla="*/ 496253 w 581025"/>
                  <a:gd name="connsiteY4" fmla="*/ 114300 h 219074"/>
                  <a:gd name="connsiteX5" fmla="*/ 100965 w 581025"/>
                  <a:gd name="connsiteY5" fmla="*/ 114300 h 219074"/>
                  <a:gd name="connsiteX6" fmla="*/ 59055 w 581025"/>
                  <a:gd name="connsiteY6" fmla="*/ 133350 h 219074"/>
                  <a:gd name="connsiteX7" fmla="*/ 59055 w 581025"/>
                  <a:gd name="connsiteY7" fmla="*/ 200025 h 219074"/>
                  <a:gd name="connsiteX8" fmla="*/ 101918 w 581025"/>
                  <a:gd name="connsiteY8" fmla="*/ 200025 h 219074"/>
                  <a:gd name="connsiteX9" fmla="*/ 99060 w 581025"/>
                  <a:gd name="connsiteY9" fmla="*/ 219075 h 219074"/>
                  <a:gd name="connsiteX10" fmla="*/ 0 w 581025"/>
                  <a:gd name="connsiteY10" fmla="*/ 219075 h 219074"/>
                  <a:gd name="connsiteX11" fmla="*/ 0 w 581025"/>
                  <a:gd name="connsiteY11" fmla="*/ 0 h 219074"/>
                  <a:gd name="connsiteX12" fmla="*/ 581025 w 581025"/>
                  <a:gd name="connsiteY12" fmla="*/ 0 h 219074"/>
                  <a:gd name="connsiteX13" fmla="*/ 581025 w 581025"/>
                  <a:gd name="connsiteY13" fmla="*/ 219075 h 219074"/>
                  <a:gd name="connsiteX14" fmla="*/ 497205 w 581025"/>
                  <a:gd name="connsiteY14" fmla="*/ 219075 h 219074"/>
                  <a:gd name="connsiteX15" fmla="*/ 22860 w 581025"/>
                  <a:gd name="connsiteY15" fmla="*/ 33338 h 219074"/>
                  <a:gd name="connsiteX16" fmla="*/ 22860 w 581025"/>
                  <a:gd name="connsiteY16" fmla="*/ 75248 h 219074"/>
                  <a:gd name="connsiteX17" fmla="*/ 59055 w 581025"/>
                  <a:gd name="connsiteY17" fmla="*/ 96203 h 219074"/>
                  <a:gd name="connsiteX18" fmla="*/ 95250 w 581025"/>
                  <a:gd name="connsiteY18" fmla="*/ 75248 h 219074"/>
                  <a:gd name="connsiteX19" fmla="*/ 95250 w 581025"/>
                  <a:gd name="connsiteY19" fmla="*/ 33338 h 219074"/>
                  <a:gd name="connsiteX20" fmla="*/ 59055 w 581025"/>
                  <a:gd name="connsiteY20" fmla="*/ 12382 h 219074"/>
                  <a:gd name="connsiteX21" fmla="*/ 22860 w 581025"/>
                  <a:gd name="connsiteY21" fmla="*/ 33338 h 219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81025" h="219074">
                    <a:moveTo>
                      <a:pt x="497205" y="219075"/>
                    </a:moveTo>
                    <a:lnTo>
                      <a:pt x="494348" y="200025"/>
                    </a:lnTo>
                    <a:lnTo>
                      <a:pt x="534353" y="200025"/>
                    </a:lnTo>
                    <a:lnTo>
                      <a:pt x="534353" y="132398"/>
                    </a:lnTo>
                    <a:lnTo>
                      <a:pt x="496253" y="114300"/>
                    </a:lnTo>
                    <a:lnTo>
                      <a:pt x="100965" y="114300"/>
                    </a:lnTo>
                    <a:lnTo>
                      <a:pt x="59055" y="133350"/>
                    </a:lnTo>
                    <a:lnTo>
                      <a:pt x="59055" y="200025"/>
                    </a:lnTo>
                    <a:lnTo>
                      <a:pt x="101918" y="200025"/>
                    </a:lnTo>
                    <a:lnTo>
                      <a:pt x="99060" y="219075"/>
                    </a:lnTo>
                    <a:lnTo>
                      <a:pt x="0" y="219075"/>
                    </a:lnTo>
                    <a:lnTo>
                      <a:pt x="0" y="0"/>
                    </a:lnTo>
                    <a:lnTo>
                      <a:pt x="581025" y="0"/>
                    </a:lnTo>
                    <a:lnTo>
                      <a:pt x="581025" y="219075"/>
                    </a:lnTo>
                    <a:lnTo>
                      <a:pt x="497205" y="219075"/>
                    </a:lnTo>
                    <a:close/>
                    <a:moveTo>
                      <a:pt x="22860" y="33338"/>
                    </a:moveTo>
                    <a:lnTo>
                      <a:pt x="22860" y="75248"/>
                    </a:lnTo>
                    <a:lnTo>
                      <a:pt x="59055" y="96203"/>
                    </a:lnTo>
                    <a:lnTo>
                      <a:pt x="95250" y="75248"/>
                    </a:lnTo>
                    <a:lnTo>
                      <a:pt x="95250" y="33338"/>
                    </a:lnTo>
                    <a:lnTo>
                      <a:pt x="59055" y="12382"/>
                    </a:lnTo>
                    <a:lnTo>
                      <a:pt x="22860" y="33338"/>
                    </a:lnTo>
                    <a:close/>
                  </a:path>
                </a:pathLst>
              </a:custGeom>
              <a:solidFill>
                <a:srgbClr val="3D46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7F338B84-14DB-0A37-E2FA-7DB1A6FC83AD}"/>
                  </a:ext>
                </a:extLst>
              </p:cNvPr>
              <p:cNvSpPr/>
              <p:nvPr/>
            </p:nvSpPr>
            <p:spPr>
              <a:xfrm>
                <a:off x="1648885" y="6186915"/>
                <a:ext cx="609600" cy="396240"/>
              </a:xfrm>
              <a:custGeom>
                <a:avLst/>
                <a:gdLst>
                  <a:gd name="connsiteX0" fmla="*/ 581025 w 609600"/>
                  <a:gd name="connsiteY0" fmla="*/ 28575 h 396240"/>
                  <a:gd name="connsiteX1" fmla="*/ 581025 w 609600"/>
                  <a:gd name="connsiteY1" fmla="*/ 219075 h 396240"/>
                  <a:gd name="connsiteX2" fmla="*/ 562928 w 609600"/>
                  <a:gd name="connsiteY2" fmla="*/ 219075 h 396240"/>
                  <a:gd name="connsiteX3" fmla="*/ 562928 w 609600"/>
                  <a:gd name="connsiteY3" fmla="*/ 200025 h 396240"/>
                  <a:gd name="connsiteX4" fmla="*/ 562928 w 609600"/>
                  <a:gd name="connsiteY4" fmla="*/ 155258 h 396240"/>
                  <a:gd name="connsiteX5" fmla="*/ 562928 w 609600"/>
                  <a:gd name="connsiteY5" fmla="*/ 137160 h 396240"/>
                  <a:gd name="connsiteX6" fmla="*/ 546735 w 609600"/>
                  <a:gd name="connsiteY6" fmla="*/ 129540 h 396240"/>
                  <a:gd name="connsiteX7" fmla="*/ 520065 w 609600"/>
                  <a:gd name="connsiteY7" fmla="*/ 117157 h 396240"/>
                  <a:gd name="connsiteX8" fmla="*/ 514350 w 609600"/>
                  <a:gd name="connsiteY8" fmla="*/ 115253 h 396240"/>
                  <a:gd name="connsiteX9" fmla="*/ 507683 w 609600"/>
                  <a:gd name="connsiteY9" fmla="*/ 115253 h 396240"/>
                  <a:gd name="connsiteX10" fmla="*/ 119063 w 609600"/>
                  <a:gd name="connsiteY10" fmla="*/ 115253 h 396240"/>
                  <a:gd name="connsiteX11" fmla="*/ 112395 w 609600"/>
                  <a:gd name="connsiteY11" fmla="*/ 115253 h 396240"/>
                  <a:gd name="connsiteX12" fmla="*/ 106680 w 609600"/>
                  <a:gd name="connsiteY12" fmla="*/ 118110 h 396240"/>
                  <a:gd name="connsiteX13" fmla="*/ 76200 w 609600"/>
                  <a:gd name="connsiteY13" fmla="*/ 131445 h 396240"/>
                  <a:gd name="connsiteX14" fmla="*/ 59055 w 609600"/>
                  <a:gd name="connsiteY14" fmla="*/ 139065 h 396240"/>
                  <a:gd name="connsiteX15" fmla="*/ 59055 w 609600"/>
                  <a:gd name="connsiteY15" fmla="*/ 157162 h 396240"/>
                  <a:gd name="connsiteX16" fmla="*/ 59055 w 609600"/>
                  <a:gd name="connsiteY16" fmla="*/ 200025 h 396240"/>
                  <a:gd name="connsiteX17" fmla="*/ 59055 w 609600"/>
                  <a:gd name="connsiteY17" fmla="*/ 219075 h 396240"/>
                  <a:gd name="connsiteX18" fmla="*/ 28575 w 609600"/>
                  <a:gd name="connsiteY18" fmla="*/ 219075 h 396240"/>
                  <a:gd name="connsiteX19" fmla="*/ 28575 w 609600"/>
                  <a:gd name="connsiteY19" fmla="*/ 100965 h 396240"/>
                  <a:gd name="connsiteX20" fmla="*/ 37148 w 609600"/>
                  <a:gd name="connsiteY20" fmla="*/ 105728 h 396240"/>
                  <a:gd name="connsiteX21" fmla="*/ 59055 w 609600"/>
                  <a:gd name="connsiteY21" fmla="*/ 118110 h 396240"/>
                  <a:gd name="connsiteX22" fmla="*/ 73343 w 609600"/>
                  <a:gd name="connsiteY22" fmla="*/ 126683 h 396240"/>
                  <a:gd name="connsiteX23" fmla="*/ 87630 w 609600"/>
                  <a:gd name="connsiteY23" fmla="*/ 118110 h 396240"/>
                  <a:gd name="connsiteX24" fmla="*/ 109538 w 609600"/>
                  <a:gd name="connsiteY24" fmla="*/ 105728 h 396240"/>
                  <a:gd name="connsiteX25" fmla="*/ 123825 w 609600"/>
                  <a:gd name="connsiteY25" fmla="*/ 97155 h 396240"/>
                  <a:gd name="connsiteX26" fmla="*/ 123825 w 609600"/>
                  <a:gd name="connsiteY26" fmla="*/ 80963 h 396240"/>
                  <a:gd name="connsiteX27" fmla="*/ 123825 w 609600"/>
                  <a:gd name="connsiteY27" fmla="*/ 56197 h 396240"/>
                  <a:gd name="connsiteX28" fmla="*/ 123825 w 609600"/>
                  <a:gd name="connsiteY28" fmla="*/ 40005 h 396240"/>
                  <a:gd name="connsiteX29" fmla="*/ 109538 w 609600"/>
                  <a:gd name="connsiteY29" fmla="*/ 31432 h 396240"/>
                  <a:gd name="connsiteX30" fmla="*/ 105728 w 609600"/>
                  <a:gd name="connsiteY30" fmla="*/ 29528 h 396240"/>
                  <a:gd name="connsiteX31" fmla="*/ 581025 w 609600"/>
                  <a:gd name="connsiteY31" fmla="*/ 29528 h 396240"/>
                  <a:gd name="connsiteX32" fmla="*/ 40958 w 609600"/>
                  <a:gd name="connsiteY32" fmla="*/ 28575 h 396240"/>
                  <a:gd name="connsiteX33" fmla="*/ 37148 w 609600"/>
                  <a:gd name="connsiteY33" fmla="*/ 30480 h 396240"/>
                  <a:gd name="connsiteX34" fmla="*/ 28575 w 609600"/>
                  <a:gd name="connsiteY34" fmla="*/ 36195 h 396240"/>
                  <a:gd name="connsiteX35" fmla="*/ 28575 w 609600"/>
                  <a:gd name="connsiteY35" fmla="*/ 28575 h 396240"/>
                  <a:gd name="connsiteX36" fmla="*/ 40958 w 609600"/>
                  <a:gd name="connsiteY36" fmla="*/ 28575 h 396240"/>
                  <a:gd name="connsiteX37" fmla="*/ 609600 w 609600"/>
                  <a:gd name="connsiteY37" fmla="*/ 0 h 396240"/>
                  <a:gd name="connsiteX38" fmla="*/ 0 w 609600"/>
                  <a:gd name="connsiteY38" fmla="*/ 0 h 396240"/>
                  <a:gd name="connsiteX39" fmla="*/ 0 w 609600"/>
                  <a:gd name="connsiteY39" fmla="*/ 247650 h 396240"/>
                  <a:gd name="connsiteX40" fmla="*/ 104775 w 609600"/>
                  <a:gd name="connsiteY40" fmla="*/ 247650 h 396240"/>
                  <a:gd name="connsiteX41" fmla="*/ 82868 w 609600"/>
                  <a:gd name="connsiteY41" fmla="*/ 396240 h 396240"/>
                  <a:gd name="connsiteX42" fmla="*/ 538163 w 609600"/>
                  <a:gd name="connsiteY42" fmla="*/ 396240 h 396240"/>
                  <a:gd name="connsiteX43" fmla="*/ 538163 w 609600"/>
                  <a:gd name="connsiteY43" fmla="*/ 395287 h 396240"/>
                  <a:gd name="connsiteX44" fmla="*/ 543878 w 609600"/>
                  <a:gd name="connsiteY44" fmla="*/ 396240 h 396240"/>
                  <a:gd name="connsiteX45" fmla="*/ 540068 w 609600"/>
                  <a:gd name="connsiteY45" fmla="*/ 373380 h 396240"/>
                  <a:gd name="connsiteX46" fmla="*/ 521018 w 609600"/>
                  <a:gd name="connsiteY46" fmla="*/ 247650 h 396240"/>
                  <a:gd name="connsiteX47" fmla="*/ 609600 w 609600"/>
                  <a:gd name="connsiteY47" fmla="*/ 247650 h 396240"/>
                  <a:gd name="connsiteX48" fmla="*/ 609600 w 609600"/>
                  <a:gd name="connsiteY48" fmla="*/ 0 h 396240"/>
                  <a:gd name="connsiteX49" fmla="*/ 609600 w 609600"/>
                  <a:gd name="connsiteY49" fmla="*/ 0 h 396240"/>
                  <a:gd name="connsiteX50" fmla="*/ 73343 w 609600"/>
                  <a:gd name="connsiteY50" fmla="*/ 94298 h 396240"/>
                  <a:gd name="connsiteX51" fmla="*/ 51435 w 609600"/>
                  <a:gd name="connsiteY51" fmla="*/ 81915 h 396240"/>
                  <a:gd name="connsiteX52" fmla="*/ 51435 w 609600"/>
                  <a:gd name="connsiteY52" fmla="*/ 56197 h 396240"/>
                  <a:gd name="connsiteX53" fmla="*/ 73343 w 609600"/>
                  <a:gd name="connsiteY53" fmla="*/ 43815 h 396240"/>
                  <a:gd name="connsiteX54" fmla="*/ 95250 w 609600"/>
                  <a:gd name="connsiteY54" fmla="*/ 56197 h 396240"/>
                  <a:gd name="connsiteX55" fmla="*/ 95250 w 609600"/>
                  <a:gd name="connsiteY55" fmla="*/ 81915 h 396240"/>
                  <a:gd name="connsiteX56" fmla="*/ 73343 w 609600"/>
                  <a:gd name="connsiteY56" fmla="*/ 94298 h 396240"/>
                  <a:gd name="connsiteX57" fmla="*/ 73343 w 609600"/>
                  <a:gd name="connsiteY57" fmla="*/ 94298 h 396240"/>
                  <a:gd name="connsiteX58" fmla="*/ 87630 w 609600"/>
                  <a:gd name="connsiteY58" fmla="*/ 200978 h 396240"/>
                  <a:gd name="connsiteX59" fmla="*/ 87630 w 609600"/>
                  <a:gd name="connsiteY59" fmla="*/ 158115 h 396240"/>
                  <a:gd name="connsiteX60" fmla="*/ 118110 w 609600"/>
                  <a:gd name="connsiteY60" fmla="*/ 143828 h 396240"/>
                  <a:gd name="connsiteX61" fmla="*/ 507683 w 609600"/>
                  <a:gd name="connsiteY61" fmla="*/ 143828 h 396240"/>
                  <a:gd name="connsiteX62" fmla="*/ 534353 w 609600"/>
                  <a:gd name="connsiteY62" fmla="*/ 156210 h 396240"/>
                  <a:gd name="connsiteX63" fmla="*/ 534353 w 609600"/>
                  <a:gd name="connsiteY63" fmla="*/ 200978 h 396240"/>
                  <a:gd name="connsiteX64" fmla="*/ 512445 w 609600"/>
                  <a:gd name="connsiteY64" fmla="*/ 200978 h 396240"/>
                  <a:gd name="connsiteX65" fmla="*/ 507683 w 609600"/>
                  <a:gd name="connsiteY65" fmla="*/ 164783 h 396240"/>
                  <a:gd name="connsiteX66" fmla="*/ 118110 w 609600"/>
                  <a:gd name="connsiteY66" fmla="*/ 164783 h 396240"/>
                  <a:gd name="connsiteX67" fmla="*/ 112395 w 609600"/>
                  <a:gd name="connsiteY67" fmla="*/ 200978 h 396240"/>
                  <a:gd name="connsiteX68" fmla="*/ 87630 w 609600"/>
                  <a:gd name="connsiteY68" fmla="*/ 200978 h 396240"/>
                  <a:gd name="connsiteX69" fmla="*/ 87630 w 609600"/>
                  <a:gd name="connsiteY69" fmla="*/ 200978 h 396240"/>
                  <a:gd name="connsiteX70" fmla="*/ 107633 w 609600"/>
                  <a:gd name="connsiteY70" fmla="*/ 373380 h 396240"/>
                  <a:gd name="connsiteX71" fmla="*/ 111443 w 609600"/>
                  <a:gd name="connsiteY71" fmla="*/ 345758 h 396240"/>
                  <a:gd name="connsiteX72" fmla="*/ 135255 w 609600"/>
                  <a:gd name="connsiteY72" fmla="*/ 187642 h 396240"/>
                  <a:gd name="connsiteX73" fmla="*/ 490538 w 609600"/>
                  <a:gd name="connsiteY73" fmla="*/ 187642 h 396240"/>
                  <a:gd name="connsiteX74" fmla="*/ 518160 w 609600"/>
                  <a:gd name="connsiteY74" fmla="*/ 373380 h 396240"/>
                  <a:gd name="connsiteX75" fmla="*/ 107633 w 609600"/>
                  <a:gd name="connsiteY75" fmla="*/ 373380 h 396240"/>
                  <a:gd name="connsiteX76" fmla="*/ 107633 w 609600"/>
                  <a:gd name="connsiteY76" fmla="*/ 373380 h 396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609600" h="396240">
                    <a:moveTo>
                      <a:pt x="581025" y="28575"/>
                    </a:moveTo>
                    <a:lnTo>
                      <a:pt x="581025" y="219075"/>
                    </a:lnTo>
                    <a:lnTo>
                      <a:pt x="562928" y="219075"/>
                    </a:lnTo>
                    <a:lnTo>
                      <a:pt x="562928" y="200025"/>
                    </a:lnTo>
                    <a:lnTo>
                      <a:pt x="562928" y="155258"/>
                    </a:lnTo>
                    <a:lnTo>
                      <a:pt x="562928" y="137160"/>
                    </a:lnTo>
                    <a:lnTo>
                      <a:pt x="546735" y="129540"/>
                    </a:lnTo>
                    <a:lnTo>
                      <a:pt x="520065" y="117157"/>
                    </a:lnTo>
                    <a:lnTo>
                      <a:pt x="514350" y="115253"/>
                    </a:lnTo>
                    <a:lnTo>
                      <a:pt x="507683" y="115253"/>
                    </a:lnTo>
                    <a:lnTo>
                      <a:pt x="119063" y="115253"/>
                    </a:lnTo>
                    <a:lnTo>
                      <a:pt x="112395" y="115253"/>
                    </a:lnTo>
                    <a:lnTo>
                      <a:pt x="106680" y="118110"/>
                    </a:lnTo>
                    <a:lnTo>
                      <a:pt x="76200" y="131445"/>
                    </a:lnTo>
                    <a:lnTo>
                      <a:pt x="59055" y="139065"/>
                    </a:lnTo>
                    <a:lnTo>
                      <a:pt x="59055" y="157162"/>
                    </a:lnTo>
                    <a:lnTo>
                      <a:pt x="59055" y="200025"/>
                    </a:lnTo>
                    <a:lnTo>
                      <a:pt x="59055" y="219075"/>
                    </a:lnTo>
                    <a:lnTo>
                      <a:pt x="28575" y="219075"/>
                    </a:lnTo>
                    <a:lnTo>
                      <a:pt x="28575" y="100965"/>
                    </a:lnTo>
                    <a:lnTo>
                      <a:pt x="37148" y="105728"/>
                    </a:lnTo>
                    <a:lnTo>
                      <a:pt x="59055" y="118110"/>
                    </a:lnTo>
                    <a:lnTo>
                      <a:pt x="73343" y="126683"/>
                    </a:lnTo>
                    <a:lnTo>
                      <a:pt x="87630" y="118110"/>
                    </a:lnTo>
                    <a:lnTo>
                      <a:pt x="109538" y="105728"/>
                    </a:lnTo>
                    <a:lnTo>
                      <a:pt x="123825" y="97155"/>
                    </a:lnTo>
                    <a:lnTo>
                      <a:pt x="123825" y="80963"/>
                    </a:lnTo>
                    <a:lnTo>
                      <a:pt x="123825" y="56197"/>
                    </a:lnTo>
                    <a:lnTo>
                      <a:pt x="123825" y="40005"/>
                    </a:lnTo>
                    <a:lnTo>
                      <a:pt x="109538" y="31432"/>
                    </a:lnTo>
                    <a:lnTo>
                      <a:pt x="105728" y="29528"/>
                    </a:lnTo>
                    <a:lnTo>
                      <a:pt x="581025" y="29528"/>
                    </a:lnTo>
                    <a:moveTo>
                      <a:pt x="40958" y="28575"/>
                    </a:moveTo>
                    <a:lnTo>
                      <a:pt x="37148" y="30480"/>
                    </a:lnTo>
                    <a:lnTo>
                      <a:pt x="28575" y="36195"/>
                    </a:lnTo>
                    <a:lnTo>
                      <a:pt x="28575" y="28575"/>
                    </a:lnTo>
                    <a:lnTo>
                      <a:pt x="40958" y="28575"/>
                    </a:lnTo>
                    <a:moveTo>
                      <a:pt x="609600" y="0"/>
                    </a:moveTo>
                    <a:lnTo>
                      <a:pt x="0" y="0"/>
                    </a:lnTo>
                    <a:lnTo>
                      <a:pt x="0" y="247650"/>
                    </a:lnTo>
                    <a:lnTo>
                      <a:pt x="104775" y="247650"/>
                    </a:lnTo>
                    <a:lnTo>
                      <a:pt x="82868" y="396240"/>
                    </a:lnTo>
                    <a:lnTo>
                      <a:pt x="538163" y="396240"/>
                    </a:lnTo>
                    <a:lnTo>
                      <a:pt x="538163" y="395287"/>
                    </a:lnTo>
                    <a:lnTo>
                      <a:pt x="543878" y="396240"/>
                    </a:lnTo>
                    <a:lnTo>
                      <a:pt x="540068" y="373380"/>
                    </a:lnTo>
                    <a:lnTo>
                      <a:pt x="521018" y="247650"/>
                    </a:lnTo>
                    <a:lnTo>
                      <a:pt x="609600" y="247650"/>
                    </a:lnTo>
                    <a:lnTo>
                      <a:pt x="609600" y="0"/>
                    </a:lnTo>
                    <a:lnTo>
                      <a:pt x="609600" y="0"/>
                    </a:lnTo>
                    <a:close/>
                    <a:moveTo>
                      <a:pt x="73343" y="94298"/>
                    </a:moveTo>
                    <a:lnTo>
                      <a:pt x="51435" y="81915"/>
                    </a:lnTo>
                    <a:lnTo>
                      <a:pt x="51435" y="56197"/>
                    </a:lnTo>
                    <a:lnTo>
                      <a:pt x="73343" y="43815"/>
                    </a:lnTo>
                    <a:lnTo>
                      <a:pt x="95250" y="56197"/>
                    </a:lnTo>
                    <a:lnTo>
                      <a:pt x="95250" y="81915"/>
                    </a:lnTo>
                    <a:lnTo>
                      <a:pt x="73343" y="94298"/>
                    </a:lnTo>
                    <a:lnTo>
                      <a:pt x="73343" y="94298"/>
                    </a:lnTo>
                    <a:close/>
                    <a:moveTo>
                      <a:pt x="87630" y="200978"/>
                    </a:moveTo>
                    <a:lnTo>
                      <a:pt x="87630" y="158115"/>
                    </a:lnTo>
                    <a:lnTo>
                      <a:pt x="118110" y="143828"/>
                    </a:lnTo>
                    <a:lnTo>
                      <a:pt x="507683" y="143828"/>
                    </a:lnTo>
                    <a:lnTo>
                      <a:pt x="534353" y="156210"/>
                    </a:lnTo>
                    <a:lnTo>
                      <a:pt x="534353" y="200978"/>
                    </a:lnTo>
                    <a:lnTo>
                      <a:pt x="512445" y="200978"/>
                    </a:lnTo>
                    <a:lnTo>
                      <a:pt x="507683" y="164783"/>
                    </a:lnTo>
                    <a:lnTo>
                      <a:pt x="118110" y="164783"/>
                    </a:lnTo>
                    <a:lnTo>
                      <a:pt x="112395" y="200978"/>
                    </a:lnTo>
                    <a:lnTo>
                      <a:pt x="87630" y="200978"/>
                    </a:lnTo>
                    <a:lnTo>
                      <a:pt x="87630" y="200978"/>
                    </a:lnTo>
                    <a:close/>
                    <a:moveTo>
                      <a:pt x="107633" y="373380"/>
                    </a:moveTo>
                    <a:lnTo>
                      <a:pt x="111443" y="345758"/>
                    </a:lnTo>
                    <a:lnTo>
                      <a:pt x="135255" y="187642"/>
                    </a:lnTo>
                    <a:lnTo>
                      <a:pt x="490538" y="187642"/>
                    </a:lnTo>
                    <a:lnTo>
                      <a:pt x="518160" y="373380"/>
                    </a:lnTo>
                    <a:lnTo>
                      <a:pt x="107633" y="373380"/>
                    </a:lnTo>
                    <a:lnTo>
                      <a:pt x="107633" y="373380"/>
                    </a:lnTo>
                    <a:close/>
                  </a:path>
                </a:pathLst>
              </a:custGeom>
              <a:solidFill>
                <a:srgbClr val="3D46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4B757E8-BFBD-656E-F12B-3602838EED5E}"/>
                </a:ext>
              </a:extLst>
            </p:cNvPr>
            <p:cNvSpPr/>
            <p:nvPr/>
          </p:nvSpPr>
          <p:spPr>
            <a:xfrm>
              <a:off x="1833670" y="6408848"/>
              <a:ext cx="256222" cy="18097"/>
            </a:xfrm>
            <a:custGeom>
              <a:avLst/>
              <a:gdLst>
                <a:gd name="connsiteX0" fmla="*/ 0 w 256222"/>
                <a:gd name="connsiteY0" fmla="*/ 0 h 18097"/>
                <a:gd name="connsiteX1" fmla="*/ 256223 w 256222"/>
                <a:gd name="connsiteY1" fmla="*/ 0 h 18097"/>
                <a:gd name="connsiteX2" fmla="*/ 256223 w 256222"/>
                <a:gd name="connsiteY2" fmla="*/ 18098 h 18097"/>
                <a:gd name="connsiteX3" fmla="*/ 0 w 256222"/>
                <a:gd name="connsiteY3" fmla="*/ 18098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222" h="18097">
                  <a:moveTo>
                    <a:pt x="0" y="0"/>
                  </a:moveTo>
                  <a:lnTo>
                    <a:pt x="256223" y="0"/>
                  </a:lnTo>
                  <a:lnTo>
                    <a:pt x="256223" y="18098"/>
                  </a:lnTo>
                  <a:lnTo>
                    <a:pt x="0" y="18098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07AB507-1EAB-824A-A8A2-0C3A73791FCA}"/>
                </a:ext>
              </a:extLst>
            </p:cNvPr>
            <p:cNvSpPr/>
            <p:nvPr/>
          </p:nvSpPr>
          <p:spPr>
            <a:xfrm>
              <a:off x="1812715" y="6511718"/>
              <a:ext cx="294322" cy="18097"/>
            </a:xfrm>
            <a:custGeom>
              <a:avLst/>
              <a:gdLst>
                <a:gd name="connsiteX0" fmla="*/ 0 w 294322"/>
                <a:gd name="connsiteY0" fmla="*/ 0 h 18097"/>
                <a:gd name="connsiteX1" fmla="*/ 294323 w 294322"/>
                <a:gd name="connsiteY1" fmla="*/ 0 h 18097"/>
                <a:gd name="connsiteX2" fmla="*/ 294323 w 294322"/>
                <a:gd name="connsiteY2" fmla="*/ 18098 h 18097"/>
                <a:gd name="connsiteX3" fmla="*/ 0 w 294322"/>
                <a:gd name="connsiteY3" fmla="*/ 18098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322" h="18097">
                  <a:moveTo>
                    <a:pt x="0" y="0"/>
                  </a:moveTo>
                  <a:lnTo>
                    <a:pt x="294323" y="0"/>
                  </a:lnTo>
                  <a:lnTo>
                    <a:pt x="294323" y="18098"/>
                  </a:lnTo>
                  <a:lnTo>
                    <a:pt x="0" y="18098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44" name="object 3">
            <a:extLst>
              <a:ext uri="{FF2B5EF4-FFF2-40B4-BE49-F238E27FC236}">
                <a16:creationId xmlns:a16="http://schemas.microsoft.com/office/drawing/2014/main" id="{84750A5A-1F2F-9BD8-6950-7DB0F7D2435D}"/>
              </a:ext>
            </a:extLst>
          </p:cNvPr>
          <p:cNvSpPr txBox="1"/>
          <p:nvPr/>
        </p:nvSpPr>
        <p:spPr>
          <a:xfrm>
            <a:off x="1614000" y="2743449"/>
            <a:ext cx="702857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Camera</a:t>
            </a:r>
          </a:p>
        </p:txBody>
      </p:sp>
      <p:sp>
        <p:nvSpPr>
          <p:cNvPr id="45" name="object 17">
            <a:extLst>
              <a:ext uri="{FF2B5EF4-FFF2-40B4-BE49-F238E27FC236}">
                <a16:creationId xmlns:a16="http://schemas.microsoft.com/office/drawing/2014/main" id="{6BCB9853-1E3B-0B3C-5F4A-C0E3E3FE70EC}"/>
              </a:ext>
            </a:extLst>
          </p:cNvPr>
          <p:cNvSpPr txBox="1"/>
          <p:nvPr/>
        </p:nvSpPr>
        <p:spPr>
          <a:xfrm>
            <a:off x="6185025" y="1607423"/>
            <a:ext cx="2535216" cy="276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Desktop</a:t>
            </a:r>
            <a:r>
              <a:rPr lang="en-US" dirty="0"/>
              <a:t>, On-Premise Applications, Variations</a:t>
            </a:r>
            <a:endParaRPr dirty="0"/>
          </a:p>
        </p:txBody>
      </p:sp>
      <p:sp>
        <p:nvSpPr>
          <p:cNvPr id="46" name="object 21">
            <a:extLst>
              <a:ext uri="{FF2B5EF4-FFF2-40B4-BE49-F238E27FC236}">
                <a16:creationId xmlns:a16="http://schemas.microsoft.com/office/drawing/2014/main" id="{B61DEF50-F69B-88B3-27D6-BC373A7830C0}"/>
              </a:ext>
            </a:extLst>
          </p:cNvPr>
          <p:cNvSpPr txBox="1"/>
          <p:nvPr/>
        </p:nvSpPr>
        <p:spPr>
          <a:xfrm>
            <a:off x="9147527" y="1607423"/>
            <a:ext cx="73881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Gaming Console</a:t>
            </a:r>
          </a:p>
        </p:txBody>
      </p:sp>
      <p:sp>
        <p:nvSpPr>
          <p:cNvPr id="47" name="object 13">
            <a:extLst>
              <a:ext uri="{FF2B5EF4-FFF2-40B4-BE49-F238E27FC236}">
                <a16:creationId xmlns:a16="http://schemas.microsoft.com/office/drawing/2014/main" id="{CAC4C494-A245-C5CA-8BF7-96E5A1DBE90A}"/>
              </a:ext>
            </a:extLst>
          </p:cNvPr>
          <p:cNvSpPr txBox="1"/>
          <p:nvPr/>
        </p:nvSpPr>
        <p:spPr>
          <a:xfrm>
            <a:off x="9984218" y="1676673"/>
            <a:ext cx="113538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USB</a:t>
            </a:r>
          </a:p>
        </p:txBody>
      </p:sp>
      <p:sp>
        <p:nvSpPr>
          <p:cNvPr id="48" name="Text Placeholder 81">
            <a:extLst>
              <a:ext uri="{FF2B5EF4-FFF2-40B4-BE49-F238E27FC236}">
                <a16:creationId xmlns:a16="http://schemas.microsoft.com/office/drawing/2014/main" id="{259DC8F2-7FC6-DEF0-71CC-81D12A210899}"/>
              </a:ext>
            </a:extLst>
          </p:cNvPr>
          <p:cNvSpPr txBox="1">
            <a:spLocks/>
          </p:cNvSpPr>
          <p:nvPr/>
        </p:nvSpPr>
        <p:spPr>
          <a:xfrm>
            <a:off x="4051918" y="1607423"/>
            <a:ext cx="57176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ablet, iPad</a:t>
            </a:r>
          </a:p>
        </p:txBody>
      </p:sp>
      <p:sp>
        <p:nvSpPr>
          <p:cNvPr id="49" name="Text Placeholder 81">
            <a:extLst>
              <a:ext uri="{FF2B5EF4-FFF2-40B4-BE49-F238E27FC236}">
                <a16:creationId xmlns:a16="http://schemas.microsoft.com/office/drawing/2014/main" id="{E641D0F8-ECE4-2F1E-ADDB-0CB1CC1B0E31}"/>
              </a:ext>
            </a:extLst>
          </p:cNvPr>
          <p:cNvSpPr txBox="1">
            <a:spLocks/>
          </p:cNvSpPr>
          <p:nvPr/>
        </p:nvSpPr>
        <p:spPr>
          <a:xfrm>
            <a:off x="4848801" y="1607423"/>
            <a:ext cx="104997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ablet, iPad, User Placement</a:t>
            </a: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73C65DE1-D74E-DA29-115E-6735C22A89EA}"/>
              </a:ext>
            </a:extLst>
          </p:cNvPr>
          <p:cNvPicPr>
            <a:picLocks noChangeAspect="1"/>
          </p:cNvPicPr>
          <p:nvPr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rcRect t="10879" b="10381"/>
          <a:stretch/>
        </p:blipFill>
        <p:spPr>
          <a:xfrm>
            <a:off x="1660628" y="2895833"/>
            <a:ext cx="609600" cy="479995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6B31323E-268D-F292-5CA6-02C83C682B08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9226586" y="1897530"/>
            <a:ext cx="609600" cy="6096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9DA1A8E3-AA8C-079F-9831-78466FC90C81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0268229" y="1897530"/>
            <a:ext cx="609600" cy="6096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065AF50E-F0B2-3328-53EA-33A54F98721B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4032999" y="1897530"/>
            <a:ext cx="609600" cy="6096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26FBE952-56B1-70A3-9617-E252C616951A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5067463" y="1933515"/>
            <a:ext cx="612648" cy="537630"/>
          </a:xfrm>
          <a:prstGeom prst="rect">
            <a:avLst/>
          </a:prstGeom>
        </p:spPr>
      </p:pic>
      <p:sp>
        <p:nvSpPr>
          <p:cNvPr id="58" name="Text Placeholder 81">
            <a:extLst>
              <a:ext uri="{FF2B5EF4-FFF2-40B4-BE49-F238E27FC236}">
                <a16:creationId xmlns:a16="http://schemas.microsoft.com/office/drawing/2014/main" id="{57B6BF76-CF96-9F87-45E9-FC2AC420D8FE}"/>
              </a:ext>
            </a:extLst>
          </p:cNvPr>
          <p:cNvSpPr txBox="1">
            <a:spLocks/>
          </p:cNvSpPr>
          <p:nvPr/>
        </p:nvSpPr>
        <p:spPr>
          <a:xfrm>
            <a:off x="2106028" y="3978282"/>
            <a:ext cx="776344" cy="1522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>
                <a:ea typeface="+mn-lt"/>
                <a:cs typeface="+mn-lt"/>
              </a:rPr>
              <a:t>Airplane</a:t>
            </a:r>
          </a:p>
        </p:txBody>
      </p:sp>
      <p:pic>
        <p:nvPicPr>
          <p:cNvPr id="59" name="Graphic 58">
            <a:extLst>
              <a:ext uri="{FF2B5EF4-FFF2-40B4-BE49-F238E27FC236}">
                <a16:creationId xmlns:a16="http://schemas.microsoft.com/office/drawing/2014/main" id="{99960A4F-47AC-B19E-4FC1-835951373F9F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2105879" y="4193020"/>
            <a:ext cx="612648" cy="612648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59078B43-1B91-59CB-B77A-D9551B395426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149265" y="5426058"/>
            <a:ext cx="609600" cy="60960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3861F030-6444-8C53-6EC3-39D8BF079155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6356003" y="1897530"/>
            <a:ext cx="609600" cy="609600"/>
          </a:xfrm>
          <a:prstGeom prst="rect">
            <a:avLst/>
          </a:prstGeom>
        </p:spPr>
      </p:pic>
      <p:sp>
        <p:nvSpPr>
          <p:cNvPr id="25" name="object 26">
            <a:extLst>
              <a:ext uri="{FF2B5EF4-FFF2-40B4-BE49-F238E27FC236}">
                <a16:creationId xmlns:a16="http://schemas.microsoft.com/office/drawing/2014/main" id="{ED1C2D92-8DCB-A655-196F-9CAB8167CA3C}"/>
              </a:ext>
            </a:extLst>
          </p:cNvPr>
          <p:cNvSpPr txBox="1"/>
          <p:nvPr/>
        </p:nvSpPr>
        <p:spPr>
          <a:xfrm>
            <a:off x="7939456" y="3985175"/>
            <a:ext cx="767651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Boat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2BCCA17-B12D-9AF9-3AD0-09E3B22E68B4}"/>
              </a:ext>
            </a:extLst>
          </p:cNvPr>
          <p:cNvSpPr/>
          <p:nvPr/>
        </p:nvSpPr>
        <p:spPr>
          <a:xfrm>
            <a:off x="8881457" y="5598413"/>
            <a:ext cx="349584" cy="264890"/>
          </a:xfrm>
          <a:custGeom>
            <a:avLst/>
            <a:gdLst>
              <a:gd name="connsiteX0" fmla="*/ 76979 w 349584"/>
              <a:gd name="connsiteY0" fmla="*/ 209169 h 264890"/>
              <a:gd name="connsiteX1" fmla="*/ 132509 w 349584"/>
              <a:gd name="connsiteY1" fmla="*/ 227266 h 264890"/>
              <a:gd name="connsiteX2" fmla="*/ 206614 w 349584"/>
              <a:gd name="connsiteY2" fmla="*/ 186118 h 264890"/>
              <a:gd name="connsiteX3" fmla="*/ 278337 w 349584"/>
              <a:gd name="connsiteY3" fmla="*/ 223647 h 264890"/>
              <a:gd name="connsiteX4" fmla="*/ 347298 w 349584"/>
              <a:gd name="connsiteY4" fmla="*/ 264890 h 264890"/>
              <a:gd name="connsiteX5" fmla="*/ 349584 w 349584"/>
              <a:gd name="connsiteY5" fmla="*/ 237934 h 264890"/>
              <a:gd name="connsiteX6" fmla="*/ 207471 w 349584"/>
              <a:gd name="connsiteY6" fmla="*/ 0 h 264890"/>
              <a:gd name="connsiteX7" fmla="*/ 123651 w 349584"/>
              <a:gd name="connsiteY7" fmla="*/ 192881 h 264890"/>
              <a:gd name="connsiteX8" fmla="*/ 27925 w 349584"/>
              <a:gd name="connsiteY8" fmla="*/ 154305 h 264890"/>
              <a:gd name="connsiteX9" fmla="*/ 3827 w 349584"/>
              <a:gd name="connsiteY9" fmla="*/ 243364 h 264890"/>
              <a:gd name="connsiteX10" fmla="*/ 76883 w 349584"/>
              <a:gd name="connsiteY10" fmla="*/ 209264 h 264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9584" h="264890">
                <a:moveTo>
                  <a:pt x="76979" y="209169"/>
                </a:moveTo>
                <a:cubicBezTo>
                  <a:pt x="97743" y="209169"/>
                  <a:pt x="116888" y="216027"/>
                  <a:pt x="132509" y="227266"/>
                </a:cubicBezTo>
                <a:cubicBezTo>
                  <a:pt x="147940" y="202597"/>
                  <a:pt x="175372" y="186118"/>
                  <a:pt x="206614" y="186118"/>
                </a:cubicBezTo>
                <a:cubicBezTo>
                  <a:pt x="237856" y="186118"/>
                  <a:pt x="262526" y="200978"/>
                  <a:pt x="278337" y="223647"/>
                </a:cubicBezTo>
                <a:cubicBezTo>
                  <a:pt x="305674" y="229648"/>
                  <a:pt x="329677" y="244411"/>
                  <a:pt x="347298" y="264890"/>
                </a:cubicBezTo>
                <a:cubicBezTo>
                  <a:pt x="348822" y="255746"/>
                  <a:pt x="349584" y="246698"/>
                  <a:pt x="349584" y="237934"/>
                </a:cubicBezTo>
                <a:cubicBezTo>
                  <a:pt x="349584" y="133540"/>
                  <a:pt x="175562" y="131921"/>
                  <a:pt x="207471" y="0"/>
                </a:cubicBezTo>
                <a:cubicBezTo>
                  <a:pt x="21924" y="106394"/>
                  <a:pt x="202423" y="142684"/>
                  <a:pt x="123651" y="192881"/>
                </a:cubicBezTo>
                <a:cubicBezTo>
                  <a:pt x="76217" y="223076"/>
                  <a:pt x="36402" y="191167"/>
                  <a:pt x="27925" y="154305"/>
                </a:cubicBezTo>
                <a:cubicBezTo>
                  <a:pt x="-1412" y="181547"/>
                  <a:pt x="-4079" y="208693"/>
                  <a:pt x="3827" y="243364"/>
                </a:cubicBezTo>
                <a:cubicBezTo>
                  <a:pt x="21353" y="222504"/>
                  <a:pt x="47546" y="209264"/>
                  <a:pt x="76883" y="209264"/>
                </a:cubicBezTo>
                <a:close/>
              </a:path>
            </a:pathLst>
          </a:custGeom>
          <a:noFill/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EC9E1A5B-5444-CF2E-5A90-6B6597AA9A84}"/>
              </a:ext>
            </a:extLst>
          </p:cNvPr>
          <p:cNvSpPr/>
          <p:nvPr/>
        </p:nvSpPr>
        <p:spPr>
          <a:xfrm>
            <a:off x="8760601" y="5425963"/>
            <a:ext cx="609603" cy="609790"/>
          </a:xfrm>
          <a:custGeom>
            <a:avLst/>
            <a:gdLst>
              <a:gd name="connsiteX0" fmla="*/ 535210 w 609603"/>
              <a:gd name="connsiteY0" fmla="*/ 220313 h 609790"/>
              <a:gd name="connsiteX1" fmla="*/ 455676 w 609603"/>
              <a:gd name="connsiteY1" fmla="*/ 312420 h 609790"/>
              <a:gd name="connsiteX2" fmla="*/ 236601 w 609603"/>
              <a:gd name="connsiteY2" fmla="*/ 0 h 609790"/>
              <a:gd name="connsiteX3" fmla="*/ 0 w 609603"/>
              <a:gd name="connsiteY3" fmla="*/ 396050 h 609790"/>
              <a:gd name="connsiteX4" fmla="*/ 173545 w 609603"/>
              <a:gd name="connsiteY4" fmla="*/ 600170 h 609790"/>
              <a:gd name="connsiteX5" fmla="*/ 157925 w 609603"/>
              <a:gd name="connsiteY5" fmla="*/ 416814 h 609790"/>
              <a:gd name="connsiteX6" fmla="*/ 250508 w 609603"/>
              <a:gd name="connsiteY6" fmla="*/ 459296 h 609790"/>
              <a:gd name="connsiteX7" fmla="*/ 317373 w 609603"/>
              <a:gd name="connsiteY7" fmla="*/ 278797 h 609790"/>
              <a:gd name="connsiteX8" fmla="*/ 443579 w 609603"/>
              <a:gd name="connsiteY8" fmla="*/ 491585 h 609790"/>
              <a:gd name="connsiteX9" fmla="*/ 382048 w 609603"/>
              <a:gd name="connsiteY9" fmla="*/ 609790 h 609790"/>
              <a:gd name="connsiteX10" fmla="*/ 535115 w 609603"/>
              <a:gd name="connsiteY10" fmla="*/ 220218 h 60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09603" h="609790">
                <a:moveTo>
                  <a:pt x="535210" y="220313"/>
                </a:moveTo>
                <a:cubicBezTo>
                  <a:pt x="550545" y="295466"/>
                  <a:pt x="498062" y="334423"/>
                  <a:pt x="455676" y="312420"/>
                </a:cubicBezTo>
                <a:cubicBezTo>
                  <a:pt x="343376" y="254127"/>
                  <a:pt x="575596" y="169736"/>
                  <a:pt x="236601" y="0"/>
                </a:cubicBezTo>
                <a:cubicBezTo>
                  <a:pt x="348234" y="141256"/>
                  <a:pt x="0" y="247650"/>
                  <a:pt x="0" y="396050"/>
                </a:cubicBezTo>
                <a:cubicBezTo>
                  <a:pt x="0" y="495586"/>
                  <a:pt x="91154" y="568166"/>
                  <a:pt x="173545" y="600170"/>
                </a:cubicBezTo>
                <a:cubicBezTo>
                  <a:pt x="104680" y="542354"/>
                  <a:pt x="108109" y="463487"/>
                  <a:pt x="157925" y="416814"/>
                </a:cubicBezTo>
                <a:cubicBezTo>
                  <a:pt x="165354" y="449771"/>
                  <a:pt x="208407" y="486347"/>
                  <a:pt x="250508" y="459296"/>
                </a:cubicBezTo>
                <a:cubicBezTo>
                  <a:pt x="320516" y="414433"/>
                  <a:pt x="152591" y="373951"/>
                  <a:pt x="317373" y="278797"/>
                </a:cubicBezTo>
                <a:cubicBezTo>
                  <a:pt x="288989" y="396716"/>
                  <a:pt x="443579" y="398240"/>
                  <a:pt x="443579" y="491585"/>
                </a:cubicBezTo>
                <a:cubicBezTo>
                  <a:pt x="443579" y="532543"/>
                  <a:pt x="425577" y="580168"/>
                  <a:pt x="382048" y="609790"/>
                </a:cubicBezTo>
                <a:cubicBezTo>
                  <a:pt x="586645" y="556165"/>
                  <a:pt x="689705" y="355473"/>
                  <a:pt x="535115" y="220218"/>
                </a:cubicBezTo>
                <a:close/>
              </a:path>
            </a:pathLst>
          </a:custGeom>
          <a:solidFill>
            <a:srgbClr val="40AA1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3" name="Text Placeholder 81">
            <a:extLst>
              <a:ext uri="{FF2B5EF4-FFF2-40B4-BE49-F238E27FC236}">
                <a16:creationId xmlns:a16="http://schemas.microsoft.com/office/drawing/2014/main" id="{E63760DF-E371-5A80-4BF2-486494761578}"/>
              </a:ext>
            </a:extLst>
          </p:cNvPr>
          <p:cNvSpPr txBox="1">
            <a:spLocks/>
          </p:cNvSpPr>
          <p:nvPr/>
        </p:nvSpPr>
        <p:spPr>
          <a:xfrm>
            <a:off x="10358583" y="5162354"/>
            <a:ext cx="977017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Flower</a:t>
            </a:r>
          </a:p>
        </p:txBody>
      </p:sp>
      <p:sp>
        <p:nvSpPr>
          <p:cNvPr id="75" name="object 47">
            <a:extLst>
              <a:ext uri="{FF2B5EF4-FFF2-40B4-BE49-F238E27FC236}">
                <a16:creationId xmlns:a16="http://schemas.microsoft.com/office/drawing/2014/main" id="{2FF28B24-65A4-0990-A6E1-51F3D2189503}"/>
              </a:ext>
            </a:extLst>
          </p:cNvPr>
          <p:cNvSpPr txBox="1"/>
          <p:nvPr/>
        </p:nvSpPr>
        <p:spPr>
          <a:xfrm>
            <a:off x="10866532" y="1676673"/>
            <a:ext cx="139001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</a:t>
            </a:r>
            <a:r>
              <a:rPr dirty="0"/>
              <a:t>inoculars</a:t>
            </a:r>
            <a:r>
              <a:rPr lang="en-US" dirty="0"/>
              <a:t> </a:t>
            </a:r>
            <a:endParaRPr dirty="0"/>
          </a:p>
        </p:txBody>
      </p:sp>
      <p:sp>
        <p:nvSpPr>
          <p:cNvPr id="80" name="object 67">
            <a:extLst>
              <a:ext uri="{FF2B5EF4-FFF2-40B4-BE49-F238E27FC236}">
                <a16:creationId xmlns:a16="http://schemas.microsoft.com/office/drawing/2014/main" id="{916BC64B-7BCD-6FEB-7B9E-B1B70BFD28E8}"/>
              </a:ext>
            </a:extLst>
          </p:cNvPr>
          <p:cNvSpPr txBox="1"/>
          <p:nvPr/>
        </p:nvSpPr>
        <p:spPr>
          <a:xfrm>
            <a:off x="305792" y="2743449"/>
            <a:ext cx="134683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Video camera</a:t>
            </a:r>
          </a:p>
        </p:txBody>
      </p:sp>
      <p:pic>
        <p:nvPicPr>
          <p:cNvPr id="82" name="Graphic 81">
            <a:extLst>
              <a:ext uri="{FF2B5EF4-FFF2-40B4-BE49-F238E27FC236}">
                <a16:creationId xmlns:a16="http://schemas.microsoft.com/office/drawing/2014/main" id="{8BB5A5F1-B3DC-43AF-4F60-CA71ADD8416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4481430" y="5364146"/>
            <a:ext cx="695325" cy="733425"/>
          </a:xfrm>
          <a:prstGeom prst="rect">
            <a:avLst/>
          </a:prstGeom>
        </p:spPr>
      </p:pic>
      <p:sp>
        <p:nvSpPr>
          <p:cNvPr id="84" name="Text Placeholder 81">
            <a:extLst>
              <a:ext uri="{FF2B5EF4-FFF2-40B4-BE49-F238E27FC236}">
                <a16:creationId xmlns:a16="http://schemas.microsoft.com/office/drawing/2014/main" id="{A9C61887-159B-79BB-0CC9-412B70282FFF}"/>
              </a:ext>
            </a:extLst>
          </p:cNvPr>
          <p:cNvSpPr txBox="1">
            <a:spLocks/>
          </p:cNvSpPr>
          <p:nvPr/>
        </p:nvSpPr>
        <p:spPr>
          <a:xfrm>
            <a:off x="4065650" y="5093104"/>
            <a:ext cx="139656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eaf Reduce Energy Consumption</a:t>
            </a:r>
          </a:p>
        </p:txBody>
      </p:sp>
      <p:pic>
        <p:nvPicPr>
          <p:cNvPr id="65" name="Graphic 64">
            <a:extLst>
              <a:ext uri="{FF2B5EF4-FFF2-40B4-BE49-F238E27FC236}">
                <a16:creationId xmlns:a16="http://schemas.microsoft.com/office/drawing/2014/main" id="{BA639F2F-36D3-1320-78D3-8FC072C523AE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7152265" y="1897530"/>
            <a:ext cx="609600" cy="6096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0CC85C02-CD8D-5E7C-FA0E-2825D160D843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674409" y="2831030"/>
            <a:ext cx="609600" cy="60960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5FA109DA-6963-8E6D-DA80-9BE157DA203D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8061016" y="1897530"/>
            <a:ext cx="609600" cy="609600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E9EC0595-3087-5BBD-D0F1-1E1B276ECD84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015918" y="4194544"/>
            <a:ext cx="609600" cy="60960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FA121B5B-79DF-1CAA-BEEC-7C2791AFA730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1280680" y="189753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628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Graphic 54">
            <a:extLst>
              <a:ext uri="{FF2B5EF4-FFF2-40B4-BE49-F238E27FC236}">
                <a16:creationId xmlns:a16="http://schemas.microsoft.com/office/drawing/2014/main" id="{E16B5760-A26F-842C-3872-7160F9FB22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49112" y="3973271"/>
            <a:ext cx="609600" cy="609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086D4DC-3B3B-4C01-A598-B5CD4BF274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PTC ICONS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A82222C5-2E86-4C93-B54E-D7082612C036}"/>
              </a:ext>
            </a:extLst>
          </p:cNvPr>
          <p:cNvSpPr txBox="1"/>
          <p:nvPr/>
        </p:nvSpPr>
        <p:spPr>
          <a:xfrm>
            <a:off x="6221926" y="3745861"/>
            <a:ext cx="662041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More, Etc.</a:t>
            </a:r>
          </a:p>
        </p:txBody>
      </p:sp>
      <p:pic>
        <p:nvPicPr>
          <p:cNvPr id="210" name="Graphic 209">
            <a:extLst>
              <a:ext uri="{FF2B5EF4-FFF2-40B4-BE49-F238E27FC236}">
                <a16:creationId xmlns:a16="http://schemas.microsoft.com/office/drawing/2014/main" id="{7B320E98-DA8B-49B5-8956-B203EF4CAF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3664" y="4189783"/>
            <a:ext cx="612648" cy="134017"/>
          </a:xfrm>
          <a:prstGeom prst="rect">
            <a:avLst/>
          </a:prstGeom>
        </p:spPr>
      </p:pic>
      <p:sp>
        <p:nvSpPr>
          <p:cNvPr id="215" name="TextBox 214">
            <a:extLst>
              <a:ext uri="{FF2B5EF4-FFF2-40B4-BE49-F238E27FC236}">
                <a16:creationId xmlns:a16="http://schemas.microsoft.com/office/drawing/2014/main" id="{F3555A4C-BE6F-4F0D-A053-6D795CB2ABC5}"/>
              </a:ext>
            </a:extLst>
          </p:cNvPr>
          <p:cNvSpPr txBox="1"/>
          <p:nvPr/>
        </p:nvSpPr>
        <p:spPr>
          <a:xfrm>
            <a:off x="3103970" y="2640886"/>
            <a:ext cx="1921747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00" dirty="0"/>
              <a:t>Help, Questions, Request</a:t>
            </a: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96818305-B29D-4F12-B857-39022CC499A4}"/>
              </a:ext>
            </a:extLst>
          </p:cNvPr>
          <p:cNvGrpSpPr>
            <a:grpSpLocks noChangeAspect="1"/>
          </p:cNvGrpSpPr>
          <p:nvPr/>
        </p:nvGrpSpPr>
        <p:grpSpPr>
          <a:xfrm>
            <a:off x="4414187" y="2893849"/>
            <a:ext cx="612648" cy="612648"/>
            <a:chOff x="9116643" y="5791182"/>
            <a:chExt cx="607695" cy="607695"/>
          </a:xfrm>
        </p:grpSpPr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B4D765A7-7134-4991-B3F1-AE4CDC97AF3C}"/>
                </a:ext>
              </a:extLst>
            </p:cNvPr>
            <p:cNvSpPr/>
            <p:nvPr/>
          </p:nvSpPr>
          <p:spPr>
            <a:xfrm>
              <a:off x="9116643" y="5791182"/>
              <a:ext cx="607695" cy="607695"/>
            </a:xfrm>
            <a:custGeom>
              <a:avLst/>
              <a:gdLst>
                <a:gd name="connsiteX0" fmla="*/ 303848 w 607695"/>
                <a:gd name="connsiteY0" fmla="*/ 28575 h 607695"/>
                <a:gd name="connsiteX1" fmla="*/ 579120 w 607695"/>
                <a:gd name="connsiteY1" fmla="*/ 303848 h 607695"/>
                <a:gd name="connsiteX2" fmla="*/ 303848 w 607695"/>
                <a:gd name="connsiteY2" fmla="*/ 579120 h 607695"/>
                <a:gd name="connsiteX3" fmla="*/ 28575 w 607695"/>
                <a:gd name="connsiteY3" fmla="*/ 303848 h 607695"/>
                <a:gd name="connsiteX4" fmla="*/ 303848 w 607695"/>
                <a:gd name="connsiteY4" fmla="*/ 28575 h 607695"/>
                <a:gd name="connsiteX5" fmla="*/ 303848 w 607695"/>
                <a:gd name="connsiteY5" fmla="*/ 0 h 607695"/>
                <a:gd name="connsiteX6" fmla="*/ 0 w 607695"/>
                <a:gd name="connsiteY6" fmla="*/ 303848 h 607695"/>
                <a:gd name="connsiteX7" fmla="*/ 303848 w 607695"/>
                <a:gd name="connsiteY7" fmla="*/ 607695 h 607695"/>
                <a:gd name="connsiteX8" fmla="*/ 607695 w 607695"/>
                <a:gd name="connsiteY8" fmla="*/ 303848 h 607695"/>
                <a:gd name="connsiteX9" fmla="*/ 303848 w 607695"/>
                <a:gd name="connsiteY9" fmla="*/ 0 h 607695"/>
                <a:gd name="connsiteX10" fmla="*/ 303848 w 607695"/>
                <a:gd name="connsiteY10" fmla="*/ 0 h 607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7695" h="607695">
                  <a:moveTo>
                    <a:pt x="303848" y="28575"/>
                  </a:moveTo>
                  <a:cubicBezTo>
                    <a:pt x="455295" y="28575"/>
                    <a:pt x="579120" y="152400"/>
                    <a:pt x="579120" y="303848"/>
                  </a:cubicBezTo>
                  <a:cubicBezTo>
                    <a:pt x="579120" y="455295"/>
                    <a:pt x="455295" y="579120"/>
                    <a:pt x="303848" y="579120"/>
                  </a:cubicBezTo>
                  <a:cubicBezTo>
                    <a:pt x="152400" y="579120"/>
                    <a:pt x="28575" y="455295"/>
                    <a:pt x="28575" y="303848"/>
                  </a:cubicBezTo>
                  <a:cubicBezTo>
                    <a:pt x="28575" y="152400"/>
                    <a:pt x="152400" y="28575"/>
                    <a:pt x="303848" y="28575"/>
                  </a:cubicBezTo>
                  <a:moveTo>
                    <a:pt x="303848" y="0"/>
                  </a:moveTo>
                  <a:cubicBezTo>
                    <a:pt x="136208" y="0"/>
                    <a:pt x="0" y="136208"/>
                    <a:pt x="0" y="303848"/>
                  </a:cubicBezTo>
                  <a:cubicBezTo>
                    <a:pt x="0" y="471488"/>
                    <a:pt x="136208" y="607695"/>
                    <a:pt x="303848" y="607695"/>
                  </a:cubicBezTo>
                  <a:cubicBezTo>
                    <a:pt x="471488" y="607695"/>
                    <a:pt x="607695" y="471488"/>
                    <a:pt x="607695" y="303848"/>
                  </a:cubicBezTo>
                  <a:cubicBezTo>
                    <a:pt x="607695" y="136208"/>
                    <a:pt x="471488" y="0"/>
                    <a:pt x="303848" y="0"/>
                  </a:cubicBezTo>
                  <a:lnTo>
                    <a:pt x="303848" y="0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4E98F605-ECFA-44F0-BDE9-208733D8BDCE}"/>
                </a:ext>
              </a:extLst>
            </p:cNvPr>
            <p:cNvGrpSpPr/>
            <p:nvPr/>
          </p:nvGrpSpPr>
          <p:grpSpPr>
            <a:xfrm>
              <a:off x="9289206" y="5890711"/>
              <a:ext cx="262568" cy="408636"/>
              <a:chOff x="10195343" y="5869689"/>
              <a:chExt cx="262568" cy="408636"/>
            </a:xfrm>
          </p:grpSpPr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7A0CF803-DC93-4482-AD3A-22B0C09FAD23}"/>
                  </a:ext>
                </a:extLst>
              </p:cNvPr>
              <p:cNvSpPr/>
              <p:nvPr/>
            </p:nvSpPr>
            <p:spPr>
              <a:xfrm>
                <a:off x="10291180" y="6212683"/>
                <a:ext cx="72206" cy="65642"/>
              </a:xfrm>
              <a:custGeom>
                <a:avLst/>
                <a:gdLst>
                  <a:gd name="connsiteX0" fmla="*/ 72206 w 72206"/>
                  <a:gd name="connsiteY0" fmla="*/ 65642 h 65642"/>
                  <a:gd name="connsiteX1" fmla="*/ 0 w 72206"/>
                  <a:gd name="connsiteY1" fmla="*/ 65642 h 65642"/>
                  <a:gd name="connsiteX2" fmla="*/ 0 w 72206"/>
                  <a:gd name="connsiteY2" fmla="*/ 0 h 65642"/>
                  <a:gd name="connsiteX3" fmla="*/ 72206 w 72206"/>
                  <a:gd name="connsiteY3" fmla="*/ 0 h 65642"/>
                  <a:gd name="connsiteX4" fmla="*/ 72206 w 72206"/>
                  <a:gd name="connsiteY4" fmla="*/ 65642 h 65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206" h="65642">
                    <a:moveTo>
                      <a:pt x="72206" y="65642"/>
                    </a:moveTo>
                    <a:lnTo>
                      <a:pt x="0" y="65642"/>
                    </a:lnTo>
                    <a:lnTo>
                      <a:pt x="0" y="0"/>
                    </a:lnTo>
                    <a:lnTo>
                      <a:pt x="72206" y="0"/>
                    </a:lnTo>
                    <a:lnTo>
                      <a:pt x="72206" y="65642"/>
                    </a:lnTo>
                    <a:close/>
                  </a:path>
                </a:pathLst>
              </a:custGeom>
              <a:solidFill>
                <a:schemeClr val="accent1"/>
              </a:solidFill>
              <a:ln w="65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C5B3994C-DEA4-4BBD-9403-92C99E5D8968}"/>
                  </a:ext>
                </a:extLst>
              </p:cNvPr>
              <p:cNvSpPr/>
              <p:nvPr/>
            </p:nvSpPr>
            <p:spPr>
              <a:xfrm>
                <a:off x="10195343" y="5869689"/>
                <a:ext cx="262568" cy="308517"/>
              </a:xfrm>
              <a:custGeom>
                <a:avLst/>
                <a:gdLst>
                  <a:gd name="connsiteX0" fmla="*/ 202177 w 262568"/>
                  <a:gd name="connsiteY0" fmla="*/ 229747 h 308517"/>
                  <a:gd name="connsiteX1" fmla="*/ 173951 w 262568"/>
                  <a:gd name="connsiteY1" fmla="*/ 264537 h 308517"/>
                  <a:gd name="connsiteX2" fmla="*/ 168044 w 262568"/>
                  <a:gd name="connsiteY2" fmla="*/ 308518 h 308517"/>
                  <a:gd name="connsiteX3" fmla="*/ 98463 w 262568"/>
                  <a:gd name="connsiteY3" fmla="*/ 308518 h 308517"/>
                  <a:gd name="connsiteX4" fmla="*/ 98463 w 262568"/>
                  <a:gd name="connsiteY4" fmla="*/ 304579 h 308517"/>
                  <a:gd name="connsiteX5" fmla="*/ 137192 w 262568"/>
                  <a:gd name="connsiteY5" fmla="*/ 213993 h 308517"/>
                  <a:gd name="connsiteX6" fmla="*/ 177890 w 262568"/>
                  <a:gd name="connsiteY6" fmla="*/ 173295 h 308517"/>
                  <a:gd name="connsiteX7" fmla="*/ 192331 w 262568"/>
                  <a:gd name="connsiteY7" fmla="*/ 152290 h 308517"/>
                  <a:gd name="connsiteX8" fmla="*/ 196926 w 262568"/>
                  <a:gd name="connsiteY8" fmla="*/ 128002 h 308517"/>
                  <a:gd name="connsiteX9" fmla="*/ 192331 w 262568"/>
                  <a:gd name="connsiteY9" fmla="*/ 103714 h 308517"/>
                  <a:gd name="connsiteX10" fmla="*/ 178546 w 262568"/>
                  <a:gd name="connsiteY10" fmla="*/ 82709 h 308517"/>
                  <a:gd name="connsiteX11" fmla="*/ 157541 w 262568"/>
                  <a:gd name="connsiteY11" fmla="*/ 68924 h 308517"/>
                  <a:gd name="connsiteX12" fmla="*/ 131284 w 262568"/>
                  <a:gd name="connsiteY12" fmla="*/ 64329 h 308517"/>
                  <a:gd name="connsiteX13" fmla="*/ 84678 w 262568"/>
                  <a:gd name="connsiteY13" fmla="*/ 83365 h 308517"/>
                  <a:gd name="connsiteX14" fmla="*/ 65642 w 262568"/>
                  <a:gd name="connsiteY14" fmla="*/ 128002 h 308517"/>
                  <a:gd name="connsiteX15" fmla="*/ 0 w 262568"/>
                  <a:gd name="connsiteY15" fmla="*/ 128002 h 308517"/>
                  <a:gd name="connsiteX16" fmla="*/ 9846 w 262568"/>
                  <a:gd name="connsiteY16" fmla="*/ 78770 h 308517"/>
                  <a:gd name="connsiteX17" fmla="*/ 38072 w 262568"/>
                  <a:gd name="connsiteY17" fmla="*/ 37416 h 308517"/>
                  <a:gd name="connsiteX18" fmla="*/ 80740 w 262568"/>
                  <a:gd name="connsiteY18" fmla="*/ 9846 h 308517"/>
                  <a:gd name="connsiteX19" fmla="*/ 131284 w 262568"/>
                  <a:gd name="connsiteY19" fmla="*/ 0 h 308517"/>
                  <a:gd name="connsiteX20" fmla="*/ 181828 w 262568"/>
                  <a:gd name="connsiteY20" fmla="*/ 9846 h 308517"/>
                  <a:gd name="connsiteX21" fmla="*/ 224496 w 262568"/>
                  <a:gd name="connsiteY21" fmla="*/ 37416 h 308517"/>
                  <a:gd name="connsiteX22" fmla="*/ 252722 w 262568"/>
                  <a:gd name="connsiteY22" fmla="*/ 78770 h 308517"/>
                  <a:gd name="connsiteX23" fmla="*/ 262568 w 262568"/>
                  <a:gd name="connsiteY23" fmla="*/ 127346 h 308517"/>
                  <a:gd name="connsiteX24" fmla="*/ 232373 w 262568"/>
                  <a:gd name="connsiteY24" fmla="*/ 199552 h 308517"/>
                  <a:gd name="connsiteX25" fmla="*/ 202177 w 262568"/>
                  <a:gd name="connsiteY25" fmla="*/ 229747 h 308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2568" h="308517">
                    <a:moveTo>
                      <a:pt x="202177" y="229747"/>
                    </a:moveTo>
                    <a:cubicBezTo>
                      <a:pt x="189705" y="238937"/>
                      <a:pt x="179859" y="250753"/>
                      <a:pt x="173951" y="264537"/>
                    </a:cubicBezTo>
                    <a:cubicBezTo>
                      <a:pt x="168044" y="278322"/>
                      <a:pt x="166074" y="293420"/>
                      <a:pt x="168044" y="308518"/>
                    </a:cubicBezTo>
                    <a:lnTo>
                      <a:pt x="98463" y="308518"/>
                    </a:lnTo>
                    <a:lnTo>
                      <a:pt x="98463" y="304579"/>
                    </a:lnTo>
                    <a:cubicBezTo>
                      <a:pt x="98463" y="270445"/>
                      <a:pt x="112248" y="238281"/>
                      <a:pt x="137192" y="213993"/>
                    </a:cubicBezTo>
                    <a:lnTo>
                      <a:pt x="177890" y="173295"/>
                    </a:lnTo>
                    <a:cubicBezTo>
                      <a:pt x="183798" y="167387"/>
                      <a:pt x="189049" y="160167"/>
                      <a:pt x="192331" y="152290"/>
                    </a:cubicBezTo>
                    <a:cubicBezTo>
                      <a:pt x="195613" y="144412"/>
                      <a:pt x="197583" y="136535"/>
                      <a:pt x="196926" y="128002"/>
                    </a:cubicBezTo>
                    <a:cubicBezTo>
                      <a:pt x="196926" y="119469"/>
                      <a:pt x="195613" y="111591"/>
                      <a:pt x="192331" y="103714"/>
                    </a:cubicBezTo>
                    <a:cubicBezTo>
                      <a:pt x="189049" y="95837"/>
                      <a:pt x="184454" y="88617"/>
                      <a:pt x="178546" y="82709"/>
                    </a:cubicBezTo>
                    <a:cubicBezTo>
                      <a:pt x="172639" y="76801"/>
                      <a:pt x="165418" y="72206"/>
                      <a:pt x="157541" y="68924"/>
                    </a:cubicBezTo>
                    <a:cubicBezTo>
                      <a:pt x="148351" y="65642"/>
                      <a:pt x="139818" y="64329"/>
                      <a:pt x="131284" y="64329"/>
                    </a:cubicBezTo>
                    <a:cubicBezTo>
                      <a:pt x="113561" y="64329"/>
                      <a:pt x="97150" y="71550"/>
                      <a:pt x="84678" y="83365"/>
                    </a:cubicBezTo>
                    <a:cubicBezTo>
                      <a:pt x="72863" y="95181"/>
                      <a:pt x="65642" y="111591"/>
                      <a:pt x="65642" y="128002"/>
                    </a:cubicBezTo>
                    <a:lnTo>
                      <a:pt x="0" y="128002"/>
                    </a:lnTo>
                    <a:cubicBezTo>
                      <a:pt x="0" y="110935"/>
                      <a:pt x="3282" y="94525"/>
                      <a:pt x="9846" y="78770"/>
                    </a:cubicBezTo>
                    <a:cubicBezTo>
                      <a:pt x="16411" y="63016"/>
                      <a:pt x="26257" y="49232"/>
                      <a:pt x="38072" y="37416"/>
                    </a:cubicBezTo>
                    <a:cubicBezTo>
                      <a:pt x="50544" y="25600"/>
                      <a:pt x="64986" y="15754"/>
                      <a:pt x="80740" y="9846"/>
                    </a:cubicBezTo>
                    <a:cubicBezTo>
                      <a:pt x="96494" y="3282"/>
                      <a:pt x="113561" y="0"/>
                      <a:pt x="131284" y="0"/>
                    </a:cubicBezTo>
                    <a:cubicBezTo>
                      <a:pt x="148351" y="0"/>
                      <a:pt x="165418" y="3282"/>
                      <a:pt x="181828" y="9846"/>
                    </a:cubicBezTo>
                    <a:cubicBezTo>
                      <a:pt x="197583" y="16411"/>
                      <a:pt x="212024" y="25600"/>
                      <a:pt x="224496" y="37416"/>
                    </a:cubicBezTo>
                    <a:cubicBezTo>
                      <a:pt x="236968" y="49232"/>
                      <a:pt x="246158" y="63673"/>
                      <a:pt x="252722" y="78770"/>
                    </a:cubicBezTo>
                    <a:cubicBezTo>
                      <a:pt x="259286" y="94525"/>
                      <a:pt x="262568" y="110935"/>
                      <a:pt x="262568" y="127346"/>
                    </a:cubicBezTo>
                    <a:cubicBezTo>
                      <a:pt x="262568" y="154259"/>
                      <a:pt x="251409" y="179859"/>
                      <a:pt x="232373" y="199552"/>
                    </a:cubicBezTo>
                    <a:lnTo>
                      <a:pt x="202177" y="229747"/>
                    </a:lnTo>
                    <a:close/>
                  </a:path>
                </a:pathLst>
              </a:custGeom>
              <a:solidFill>
                <a:schemeClr val="accent1"/>
              </a:solidFill>
              <a:ln w="65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44" name="Text Placeholder 81">
            <a:extLst>
              <a:ext uri="{FF2B5EF4-FFF2-40B4-BE49-F238E27FC236}">
                <a16:creationId xmlns:a16="http://schemas.microsoft.com/office/drawing/2014/main" id="{6C663352-280D-437F-860E-F0AC1D0E31EB}"/>
              </a:ext>
            </a:extLst>
          </p:cNvPr>
          <p:cNvSpPr txBox="1">
            <a:spLocks/>
          </p:cNvSpPr>
          <p:nvPr/>
        </p:nvSpPr>
        <p:spPr>
          <a:xfrm>
            <a:off x="6900783" y="2640886"/>
            <a:ext cx="73152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Info</a:t>
            </a:r>
          </a:p>
        </p:txBody>
      </p:sp>
      <p:pic>
        <p:nvPicPr>
          <p:cNvPr id="245" name="Graphic 244">
            <a:extLst>
              <a:ext uri="{FF2B5EF4-FFF2-40B4-BE49-F238E27FC236}">
                <a16:creationId xmlns:a16="http://schemas.microsoft.com/office/drawing/2014/main" id="{F982F1A0-0783-4D31-B42E-7EBD37DD53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81786" y="2893849"/>
            <a:ext cx="612648" cy="612648"/>
          </a:xfrm>
          <a:prstGeom prst="rect">
            <a:avLst/>
          </a:prstGeom>
        </p:spPr>
      </p:pic>
      <p:pic>
        <p:nvPicPr>
          <p:cNvPr id="249" name="Graphic 248">
            <a:extLst>
              <a:ext uri="{FF2B5EF4-FFF2-40B4-BE49-F238E27FC236}">
                <a16:creationId xmlns:a16="http://schemas.microsoft.com/office/drawing/2014/main" id="{9EFFEC27-2FBC-49C2-B09A-5A8E3D71FD6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51077" y="2895373"/>
            <a:ext cx="609600" cy="609600"/>
          </a:xfrm>
          <a:prstGeom prst="rect">
            <a:avLst/>
          </a:prstGeom>
        </p:spPr>
      </p:pic>
      <p:sp>
        <p:nvSpPr>
          <p:cNvPr id="90" name="Text Placeholder 81">
            <a:extLst>
              <a:ext uri="{FF2B5EF4-FFF2-40B4-BE49-F238E27FC236}">
                <a16:creationId xmlns:a16="http://schemas.microsoft.com/office/drawing/2014/main" id="{DCF35A2F-A3D9-4A7C-B0E9-E252474F34D6}"/>
              </a:ext>
            </a:extLst>
          </p:cNvPr>
          <p:cNvSpPr txBox="1">
            <a:spLocks/>
          </p:cNvSpPr>
          <p:nvPr/>
        </p:nvSpPr>
        <p:spPr>
          <a:xfrm>
            <a:off x="4500562" y="4772034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ownload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3A1712E1-8125-4470-947E-8E005390E693}"/>
              </a:ext>
            </a:extLst>
          </p:cNvPr>
          <p:cNvSpPr txBox="1"/>
          <p:nvPr/>
        </p:nvSpPr>
        <p:spPr>
          <a:xfrm>
            <a:off x="6730835" y="4772034"/>
            <a:ext cx="7446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xport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B5027BA9-5CFC-4B06-A390-786E1E04D044}"/>
              </a:ext>
            </a:extLst>
          </p:cNvPr>
          <p:cNvSpPr txBox="1"/>
          <p:nvPr/>
        </p:nvSpPr>
        <p:spPr>
          <a:xfrm>
            <a:off x="8332993" y="4772034"/>
            <a:ext cx="464871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ogout</a:t>
            </a:r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EB89C275-5DE4-41C1-B755-39F5F231682C}"/>
              </a:ext>
            </a:extLst>
          </p:cNvPr>
          <p:cNvSpPr txBox="1">
            <a:spLocks/>
          </p:cNvSpPr>
          <p:nvPr/>
        </p:nvSpPr>
        <p:spPr>
          <a:xfrm>
            <a:off x="5549811" y="4772034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Upload</a:t>
            </a:r>
          </a:p>
        </p:txBody>
      </p:sp>
      <p:pic>
        <p:nvPicPr>
          <p:cNvPr id="198" name="Graphic 197">
            <a:extLst>
              <a:ext uri="{FF2B5EF4-FFF2-40B4-BE49-F238E27FC236}">
                <a16:creationId xmlns:a16="http://schemas.microsoft.com/office/drawing/2014/main" id="{C6F5F788-985B-4317-9F10-748EC877306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85099" y="5000487"/>
            <a:ext cx="612648" cy="612648"/>
          </a:xfrm>
          <a:prstGeom prst="rect">
            <a:avLst/>
          </a:prstGeom>
        </p:spPr>
      </p:pic>
      <p:pic>
        <p:nvPicPr>
          <p:cNvPr id="199" name="Graphic 198">
            <a:extLst>
              <a:ext uri="{FF2B5EF4-FFF2-40B4-BE49-F238E27FC236}">
                <a16:creationId xmlns:a16="http://schemas.microsoft.com/office/drawing/2014/main" id="{0D5267A8-3CCE-4B1A-B38F-06280127709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6200000">
            <a:off x="6857103" y="5000488"/>
            <a:ext cx="612648" cy="612648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FBFFE680-D7FF-4DFB-8D5D-1379FF17EF0D}"/>
              </a:ext>
            </a:extLst>
          </p:cNvPr>
          <p:cNvGrpSpPr>
            <a:grpSpLocks noChangeAspect="1"/>
          </p:cNvGrpSpPr>
          <p:nvPr/>
        </p:nvGrpSpPr>
        <p:grpSpPr>
          <a:xfrm>
            <a:off x="4682157" y="5000487"/>
            <a:ext cx="650302" cy="612648"/>
            <a:chOff x="6371603" y="3324506"/>
            <a:chExt cx="608647" cy="573405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9B1A39B-3742-46DE-AEC8-D55DCA022722}"/>
                </a:ext>
              </a:extLst>
            </p:cNvPr>
            <p:cNvSpPr/>
            <p:nvPr/>
          </p:nvSpPr>
          <p:spPr>
            <a:xfrm>
              <a:off x="6371603" y="3821711"/>
              <a:ext cx="608647" cy="76200"/>
            </a:xfrm>
            <a:custGeom>
              <a:avLst/>
              <a:gdLst>
                <a:gd name="connsiteX0" fmla="*/ 0 w 608647"/>
                <a:gd name="connsiteY0" fmla="*/ 0 h 76200"/>
                <a:gd name="connsiteX1" fmla="*/ 608648 w 608647"/>
                <a:gd name="connsiteY1" fmla="*/ 0 h 76200"/>
                <a:gd name="connsiteX2" fmla="*/ 608648 w 608647"/>
                <a:gd name="connsiteY2" fmla="*/ 76200 h 76200"/>
                <a:gd name="connsiteX3" fmla="*/ 0 w 608647"/>
                <a:gd name="connsiteY3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8647" h="76200">
                  <a:moveTo>
                    <a:pt x="0" y="0"/>
                  </a:moveTo>
                  <a:lnTo>
                    <a:pt x="608648" y="0"/>
                  </a:lnTo>
                  <a:lnTo>
                    <a:pt x="608648" y="76200"/>
                  </a:lnTo>
                  <a:lnTo>
                    <a:pt x="0" y="76200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BFEF096-A2C4-47BB-91EB-536464656CAB}"/>
                </a:ext>
              </a:extLst>
            </p:cNvPr>
            <p:cNvSpPr/>
            <p:nvPr/>
          </p:nvSpPr>
          <p:spPr>
            <a:xfrm rot="5400000">
              <a:off x="6465424" y="3372131"/>
              <a:ext cx="421004" cy="325754"/>
            </a:xfrm>
            <a:custGeom>
              <a:avLst/>
              <a:gdLst>
                <a:gd name="connsiteX0" fmla="*/ 421005 w 421004"/>
                <a:gd name="connsiteY0" fmla="*/ 162878 h 325754"/>
                <a:gd name="connsiteX1" fmla="*/ 199073 w 421004"/>
                <a:gd name="connsiteY1" fmla="*/ 0 h 325754"/>
                <a:gd name="connsiteX2" fmla="*/ 199073 w 421004"/>
                <a:gd name="connsiteY2" fmla="*/ 89535 h 325754"/>
                <a:gd name="connsiteX3" fmla="*/ 0 w 421004"/>
                <a:gd name="connsiteY3" fmla="*/ 89535 h 325754"/>
                <a:gd name="connsiteX4" fmla="*/ 0 w 421004"/>
                <a:gd name="connsiteY4" fmla="*/ 240983 h 325754"/>
                <a:gd name="connsiteX5" fmla="*/ 199073 w 421004"/>
                <a:gd name="connsiteY5" fmla="*/ 240983 h 325754"/>
                <a:gd name="connsiteX6" fmla="*/ 199073 w 421004"/>
                <a:gd name="connsiteY6" fmla="*/ 325755 h 32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004" h="325754">
                  <a:moveTo>
                    <a:pt x="421005" y="162878"/>
                  </a:moveTo>
                  <a:lnTo>
                    <a:pt x="199073" y="0"/>
                  </a:lnTo>
                  <a:lnTo>
                    <a:pt x="199073" y="89535"/>
                  </a:lnTo>
                  <a:lnTo>
                    <a:pt x="0" y="89535"/>
                  </a:lnTo>
                  <a:lnTo>
                    <a:pt x="0" y="240983"/>
                  </a:lnTo>
                  <a:lnTo>
                    <a:pt x="199073" y="240983"/>
                  </a:lnTo>
                  <a:lnTo>
                    <a:pt x="199073" y="325755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29" name="Text Placeholder 81">
            <a:extLst>
              <a:ext uri="{FF2B5EF4-FFF2-40B4-BE49-F238E27FC236}">
                <a16:creationId xmlns:a16="http://schemas.microsoft.com/office/drawing/2014/main" id="{E8C23634-DD0A-4701-A753-0350BFF6411A}"/>
              </a:ext>
            </a:extLst>
          </p:cNvPr>
          <p:cNvSpPr txBox="1">
            <a:spLocks/>
          </p:cNvSpPr>
          <p:nvPr/>
        </p:nvSpPr>
        <p:spPr>
          <a:xfrm>
            <a:off x="1607802" y="2640886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World,   Globe</a:t>
            </a:r>
          </a:p>
        </p:txBody>
      </p:sp>
      <p:sp>
        <p:nvSpPr>
          <p:cNvPr id="130" name="Text Placeholder 81">
            <a:extLst>
              <a:ext uri="{FF2B5EF4-FFF2-40B4-BE49-F238E27FC236}">
                <a16:creationId xmlns:a16="http://schemas.microsoft.com/office/drawing/2014/main" id="{5D2779D8-C759-400A-BA3D-09E01C8721B6}"/>
              </a:ext>
            </a:extLst>
          </p:cNvPr>
          <p:cNvSpPr txBox="1">
            <a:spLocks/>
          </p:cNvSpPr>
          <p:nvPr/>
        </p:nvSpPr>
        <p:spPr>
          <a:xfrm>
            <a:off x="9538778" y="2640886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ye, View</a:t>
            </a:r>
          </a:p>
        </p:txBody>
      </p:sp>
      <p:pic>
        <p:nvPicPr>
          <p:cNvPr id="136" name="Graphic 135">
            <a:extLst>
              <a:ext uri="{FF2B5EF4-FFF2-40B4-BE49-F238E27FC236}">
                <a16:creationId xmlns:a16="http://schemas.microsoft.com/office/drawing/2014/main" id="{202F95DA-D1E8-49EA-9FE5-112D3E5973F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673620" y="3017293"/>
            <a:ext cx="780288" cy="365760"/>
          </a:xfrm>
          <a:prstGeom prst="rect">
            <a:avLst/>
          </a:prstGeom>
        </p:spPr>
      </p:pic>
      <p:pic>
        <p:nvPicPr>
          <p:cNvPr id="138" name="Graphic 137">
            <a:extLst>
              <a:ext uri="{FF2B5EF4-FFF2-40B4-BE49-F238E27FC236}">
                <a16:creationId xmlns:a16="http://schemas.microsoft.com/office/drawing/2014/main" id="{FD3172D5-4CC0-4180-B6E1-7BD0F9B7CF2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826464" y="2893849"/>
            <a:ext cx="612648" cy="612648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8A00AF4C-BAC0-4D84-A250-F5896B4A0977}"/>
              </a:ext>
            </a:extLst>
          </p:cNvPr>
          <p:cNvSpPr txBox="1"/>
          <p:nvPr/>
        </p:nvSpPr>
        <p:spPr>
          <a:xfrm>
            <a:off x="10988616" y="2640886"/>
            <a:ext cx="530593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Invisible</a:t>
            </a:r>
          </a:p>
        </p:txBody>
      </p:sp>
      <p:pic>
        <p:nvPicPr>
          <p:cNvPr id="148" name="Graphic 147">
            <a:extLst>
              <a:ext uri="{FF2B5EF4-FFF2-40B4-BE49-F238E27FC236}">
                <a16:creationId xmlns:a16="http://schemas.microsoft.com/office/drawing/2014/main" id="{589BE133-47FD-4714-9D71-3899309A09F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933872" y="2880133"/>
            <a:ext cx="640080" cy="640080"/>
          </a:xfrm>
          <a:prstGeom prst="rect">
            <a:avLst/>
          </a:prstGeom>
        </p:spPr>
      </p:pic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FE8A1501-FEC2-4266-9345-10B6620D0E9E}"/>
              </a:ext>
            </a:extLst>
          </p:cNvPr>
          <p:cNvSpPr txBox="1">
            <a:spLocks/>
          </p:cNvSpPr>
          <p:nvPr/>
        </p:nvSpPr>
        <p:spPr>
          <a:xfrm>
            <a:off x="7966444" y="2632411"/>
            <a:ext cx="1442213" cy="1554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rror, Alert, Warning </a:t>
            </a:r>
          </a:p>
          <a:p>
            <a:endParaRPr lang="en-US" dirty="0"/>
          </a:p>
        </p:txBody>
      </p:sp>
      <p:sp>
        <p:nvSpPr>
          <p:cNvPr id="162" name="Text Placeholder 81">
            <a:extLst>
              <a:ext uri="{FF2B5EF4-FFF2-40B4-BE49-F238E27FC236}">
                <a16:creationId xmlns:a16="http://schemas.microsoft.com/office/drawing/2014/main" id="{4918928B-165B-4F42-8849-97F06037608B}"/>
              </a:ext>
            </a:extLst>
          </p:cNvPr>
          <p:cNvSpPr txBox="1">
            <a:spLocks/>
          </p:cNvSpPr>
          <p:nvPr/>
        </p:nvSpPr>
        <p:spPr>
          <a:xfrm>
            <a:off x="312561" y="4772034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Image </a:t>
            </a:r>
          </a:p>
        </p:txBody>
      </p:sp>
      <p:pic>
        <p:nvPicPr>
          <p:cNvPr id="254" name="Graphic 253">
            <a:extLst>
              <a:ext uri="{FF2B5EF4-FFF2-40B4-BE49-F238E27FC236}">
                <a16:creationId xmlns:a16="http://schemas.microsoft.com/office/drawing/2014/main" id="{54637F0F-FA59-4C7B-870B-4DE1004E12C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17507" y="4986771"/>
            <a:ext cx="640080" cy="640080"/>
          </a:xfrm>
          <a:prstGeom prst="rect">
            <a:avLst/>
          </a:prstGeom>
        </p:spPr>
      </p:pic>
      <p:sp>
        <p:nvSpPr>
          <p:cNvPr id="126" name="Text Placeholder 81">
            <a:extLst>
              <a:ext uri="{FF2B5EF4-FFF2-40B4-BE49-F238E27FC236}">
                <a16:creationId xmlns:a16="http://schemas.microsoft.com/office/drawing/2014/main" id="{2EDAB517-6F77-4AC5-97FE-026B28FD9BD8}"/>
              </a:ext>
            </a:extLst>
          </p:cNvPr>
          <p:cNvSpPr txBox="1">
            <a:spLocks/>
          </p:cNvSpPr>
          <p:nvPr/>
        </p:nvSpPr>
        <p:spPr>
          <a:xfrm>
            <a:off x="4523625" y="3745861"/>
            <a:ext cx="118872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Hand, Pointing</a:t>
            </a:r>
          </a:p>
        </p:txBody>
      </p:sp>
      <p:pic>
        <p:nvPicPr>
          <p:cNvPr id="140" name="Graphic 139">
            <a:extLst>
              <a:ext uri="{FF2B5EF4-FFF2-40B4-BE49-F238E27FC236}">
                <a16:creationId xmlns:a16="http://schemas.microsoft.com/office/drawing/2014/main" id="{0B910D34-A93D-4DEC-904A-2086C5A45CF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 rot="5400000">
            <a:off x="4452576" y="3973271"/>
            <a:ext cx="612648" cy="612649"/>
          </a:xfrm>
          <a:prstGeom prst="rect">
            <a:avLst/>
          </a:prstGeom>
        </p:spPr>
      </p:pic>
      <p:pic>
        <p:nvPicPr>
          <p:cNvPr id="141" name="Graphic 140">
            <a:extLst>
              <a:ext uri="{FF2B5EF4-FFF2-40B4-BE49-F238E27FC236}">
                <a16:creationId xmlns:a16="http://schemas.microsoft.com/office/drawing/2014/main" id="{F869F4A5-6064-4298-99E8-C2CEEF3A846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 rot="16200000" flipH="1">
            <a:off x="5257210" y="3950467"/>
            <a:ext cx="612648" cy="612649"/>
          </a:xfrm>
          <a:prstGeom prst="rect">
            <a:avLst/>
          </a:prstGeom>
        </p:spPr>
      </p:pic>
      <p:sp>
        <p:nvSpPr>
          <p:cNvPr id="163" name="Text Placeholder 81">
            <a:extLst>
              <a:ext uri="{FF2B5EF4-FFF2-40B4-BE49-F238E27FC236}">
                <a16:creationId xmlns:a16="http://schemas.microsoft.com/office/drawing/2014/main" id="{A23D1CE3-7477-4D87-8C2B-26353AC6BB46}"/>
              </a:ext>
            </a:extLst>
          </p:cNvPr>
          <p:cNvSpPr txBox="1">
            <a:spLocks/>
          </p:cNvSpPr>
          <p:nvPr/>
        </p:nvSpPr>
        <p:spPr>
          <a:xfrm>
            <a:off x="1716249" y="374586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humbs Up, Like</a:t>
            </a:r>
          </a:p>
        </p:txBody>
      </p:sp>
      <p:pic>
        <p:nvPicPr>
          <p:cNvPr id="257" name="Graphic 256">
            <a:extLst>
              <a:ext uri="{FF2B5EF4-FFF2-40B4-BE49-F238E27FC236}">
                <a16:creationId xmlns:a16="http://schemas.microsoft.com/office/drawing/2014/main" id="{3A833FA7-6624-49BC-9906-38DC541D6D85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826464" y="3897212"/>
            <a:ext cx="612648" cy="612648"/>
          </a:xfrm>
          <a:prstGeom prst="rect">
            <a:avLst/>
          </a:prstGeom>
        </p:spPr>
      </p:pic>
      <p:sp>
        <p:nvSpPr>
          <p:cNvPr id="258" name="TextBox 257">
            <a:extLst>
              <a:ext uri="{FF2B5EF4-FFF2-40B4-BE49-F238E27FC236}">
                <a16:creationId xmlns:a16="http://schemas.microsoft.com/office/drawing/2014/main" id="{F80CD6ED-18E9-4C5A-BE90-AD67C2B1B436}"/>
              </a:ext>
            </a:extLst>
          </p:cNvPr>
          <p:cNvSpPr txBox="1"/>
          <p:nvPr/>
        </p:nvSpPr>
        <p:spPr>
          <a:xfrm>
            <a:off x="1450289" y="4772034"/>
            <a:ext cx="136499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ownload Image</a:t>
            </a:r>
          </a:p>
        </p:txBody>
      </p:sp>
      <p:pic>
        <p:nvPicPr>
          <p:cNvPr id="259" name="Graphic 258">
            <a:extLst>
              <a:ext uri="{FF2B5EF4-FFF2-40B4-BE49-F238E27FC236}">
                <a16:creationId xmlns:a16="http://schemas.microsoft.com/office/drawing/2014/main" id="{269FDA67-036C-430E-A9B1-748C24B3601C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826464" y="5000487"/>
            <a:ext cx="612648" cy="612648"/>
          </a:xfrm>
          <a:prstGeom prst="rect">
            <a:avLst/>
          </a:prstGeom>
        </p:spPr>
      </p:pic>
      <p:sp>
        <p:nvSpPr>
          <p:cNvPr id="260" name="TextBox 259">
            <a:extLst>
              <a:ext uri="{FF2B5EF4-FFF2-40B4-BE49-F238E27FC236}">
                <a16:creationId xmlns:a16="http://schemas.microsoft.com/office/drawing/2014/main" id="{B7C2C644-BBB2-4C93-BDBD-61078455BBFA}"/>
              </a:ext>
            </a:extLst>
          </p:cNvPr>
          <p:cNvSpPr txBox="1"/>
          <p:nvPr/>
        </p:nvSpPr>
        <p:spPr>
          <a:xfrm>
            <a:off x="2974059" y="4772034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Upload Image</a:t>
            </a:r>
          </a:p>
        </p:txBody>
      </p:sp>
      <p:pic>
        <p:nvPicPr>
          <p:cNvPr id="261" name="Graphic 260">
            <a:extLst>
              <a:ext uri="{FF2B5EF4-FFF2-40B4-BE49-F238E27FC236}">
                <a16:creationId xmlns:a16="http://schemas.microsoft.com/office/drawing/2014/main" id="{A6F5E9E8-572B-4901-B728-77FDE5E10EE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192721" y="5000487"/>
            <a:ext cx="612648" cy="612648"/>
          </a:xfrm>
          <a:prstGeom prst="rect">
            <a:avLst/>
          </a:prstGeom>
        </p:spPr>
      </p:pic>
      <p:sp>
        <p:nvSpPr>
          <p:cNvPr id="262" name="TextBox 261">
            <a:extLst>
              <a:ext uri="{FF2B5EF4-FFF2-40B4-BE49-F238E27FC236}">
                <a16:creationId xmlns:a16="http://schemas.microsoft.com/office/drawing/2014/main" id="{ED9734AA-3754-44F2-A961-D055DD2655CA}"/>
              </a:ext>
            </a:extLst>
          </p:cNvPr>
          <p:cNvSpPr txBox="1"/>
          <p:nvPr/>
        </p:nvSpPr>
        <p:spPr>
          <a:xfrm>
            <a:off x="9579359" y="3745861"/>
            <a:ext cx="109728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Notification Bell</a:t>
            </a:r>
          </a:p>
        </p:txBody>
      </p:sp>
      <p:pic>
        <p:nvPicPr>
          <p:cNvPr id="263" name="Graphic 262">
            <a:extLst>
              <a:ext uri="{FF2B5EF4-FFF2-40B4-BE49-F238E27FC236}">
                <a16:creationId xmlns:a16="http://schemas.microsoft.com/office/drawing/2014/main" id="{D4C198D7-79DF-4456-BDE6-D10548658E3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893356" y="3917459"/>
            <a:ext cx="609600" cy="609600"/>
          </a:xfrm>
          <a:prstGeom prst="rect">
            <a:avLst/>
          </a:prstGeom>
        </p:spPr>
      </p:pic>
      <p:pic>
        <p:nvPicPr>
          <p:cNvPr id="267" name="Graphic 266">
            <a:extLst>
              <a:ext uri="{FF2B5EF4-FFF2-40B4-BE49-F238E27FC236}">
                <a16:creationId xmlns:a16="http://schemas.microsoft.com/office/drawing/2014/main" id="{BDB54DFB-05DC-4761-B0DE-3AB00374917B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8094392" y="2893849"/>
            <a:ext cx="612648" cy="612648"/>
          </a:xfrm>
          <a:prstGeom prst="rect">
            <a:avLst/>
          </a:prstGeom>
        </p:spPr>
      </p:pic>
      <p:pic>
        <p:nvPicPr>
          <p:cNvPr id="150" name="Graphic 149">
            <a:extLst>
              <a:ext uri="{FF2B5EF4-FFF2-40B4-BE49-F238E27FC236}">
                <a16:creationId xmlns:a16="http://schemas.microsoft.com/office/drawing/2014/main" id="{4ED6BEBD-5F29-4C78-A651-B1B71EABF488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5367967" y="2893849"/>
            <a:ext cx="612648" cy="612648"/>
          </a:xfrm>
          <a:prstGeom prst="rect">
            <a:avLst/>
          </a:prstGeom>
        </p:spPr>
      </p:pic>
      <p:sp>
        <p:nvSpPr>
          <p:cNvPr id="161" name="Text Placeholder 81">
            <a:extLst>
              <a:ext uri="{FF2B5EF4-FFF2-40B4-BE49-F238E27FC236}">
                <a16:creationId xmlns:a16="http://schemas.microsoft.com/office/drawing/2014/main" id="{1F28F2B3-E822-4F48-8A3C-9EA66C20AA1B}"/>
              </a:ext>
            </a:extLst>
          </p:cNvPr>
          <p:cNvSpPr txBox="1">
            <a:spLocks/>
          </p:cNvSpPr>
          <p:nvPr/>
        </p:nvSpPr>
        <p:spPr>
          <a:xfrm>
            <a:off x="5329329" y="2640886"/>
            <a:ext cx="1406861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emove, Close</a:t>
            </a:r>
          </a:p>
        </p:txBody>
      </p:sp>
      <p:sp>
        <p:nvSpPr>
          <p:cNvPr id="47" name="Text Placeholder 81">
            <a:extLst>
              <a:ext uri="{FF2B5EF4-FFF2-40B4-BE49-F238E27FC236}">
                <a16:creationId xmlns:a16="http://schemas.microsoft.com/office/drawing/2014/main" id="{3D020271-DF13-4E90-B015-01610C678013}"/>
              </a:ext>
            </a:extLst>
          </p:cNvPr>
          <p:cNvSpPr txBox="1">
            <a:spLocks/>
          </p:cNvSpPr>
          <p:nvPr/>
        </p:nvSpPr>
        <p:spPr>
          <a:xfrm>
            <a:off x="6623381" y="5860776"/>
            <a:ext cx="1463040" cy="1523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rrows, Pointer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E66BA060-B452-40A8-B9CF-5ADC73801253}"/>
              </a:ext>
            </a:extLst>
          </p:cNvPr>
          <p:cNvSpPr txBox="1">
            <a:spLocks/>
          </p:cNvSpPr>
          <p:nvPr/>
        </p:nvSpPr>
        <p:spPr>
          <a:xfrm>
            <a:off x="8891334" y="5860776"/>
            <a:ext cx="1280160" cy="1371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hevrons</a:t>
            </a:r>
          </a:p>
        </p:txBody>
      </p:sp>
      <p:pic>
        <p:nvPicPr>
          <p:cNvPr id="167" name="Graphic 166">
            <a:extLst>
              <a:ext uri="{FF2B5EF4-FFF2-40B4-BE49-F238E27FC236}">
                <a16:creationId xmlns:a16="http://schemas.microsoft.com/office/drawing/2014/main" id="{3999594C-72F8-4ACA-B352-4668FA8E9588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 flipV="1">
            <a:off x="8914046" y="6191607"/>
            <a:ext cx="612648" cy="382906"/>
          </a:xfrm>
          <a:prstGeom prst="rect">
            <a:avLst/>
          </a:prstGeom>
        </p:spPr>
      </p:pic>
      <p:pic>
        <p:nvPicPr>
          <p:cNvPr id="171" name="Graphic 170">
            <a:extLst>
              <a:ext uri="{FF2B5EF4-FFF2-40B4-BE49-F238E27FC236}">
                <a16:creationId xmlns:a16="http://schemas.microsoft.com/office/drawing/2014/main" id="{117021BC-C21F-41CD-9076-9BF0398A1173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9682780" y="6191607"/>
            <a:ext cx="612648" cy="382906"/>
          </a:xfrm>
          <a:prstGeom prst="rect">
            <a:avLst/>
          </a:prstGeom>
        </p:spPr>
      </p:pic>
      <p:sp>
        <p:nvSpPr>
          <p:cNvPr id="172" name="TextBox 171">
            <a:extLst>
              <a:ext uri="{FF2B5EF4-FFF2-40B4-BE49-F238E27FC236}">
                <a16:creationId xmlns:a16="http://schemas.microsoft.com/office/drawing/2014/main" id="{21938F7F-A9C9-4937-94C3-D6A7DE0A5AD7}"/>
              </a:ext>
            </a:extLst>
          </p:cNvPr>
          <p:cNvSpPr txBox="1"/>
          <p:nvPr/>
        </p:nvSpPr>
        <p:spPr>
          <a:xfrm>
            <a:off x="11025312" y="5860776"/>
            <a:ext cx="457200" cy="1523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rag</a:t>
            </a:r>
          </a:p>
        </p:txBody>
      </p:sp>
      <p:pic>
        <p:nvPicPr>
          <p:cNvPr id="175" name="Graphic 174">
            <a:extLst>
              <a:ext uri="{FF2B5EF4-FFF2-40B4-BE49-F238E27FC236}">
                <a16:creationId xmlns:a16="http://schemas.microsoft.com/office/drawing/2014/main" id="{B1157605-BA0E-45CA-8ADB-5805BE82DFD2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0949112" y="6078260"/>
            <a:ext cx="609600" cy="6096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6ED572CE-3055-575B-4F3A-C2ACFDCACCDC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 flipH="1">
            <a:off x="7130769" y="6078260"/>
            <a:ext cx="609600" cy="609600"/>
          </a:xfrm>
          <a:prstGeom prst="rect">
            <a:avLst/>
          </a:prstGeom>
        </p:spPr>
      </p:pic>
      <p:sp>
        <p:nvSpPr>
          <p:cNvPr id="17" name="Text Placeholder 81">
            <a:extLst>
              <a:ext uri="{FF2B5EF4-FFF2-40B4-BE49-F238E27FC236}">
                <a16:creationId xmlns:a16="http://schemas.microsoft.com/office/drawing/2014/main" id="{AE1C7DA7-5F09-EA66-EE09-066D551ED361}"/>
              </a:ext>
            </a:extLst>
          </p:cNvPr>
          <p:cNvSpPr txBox="1">
            <a:spLocks/>
          </p:cNvSpPr>
          <p:nvPr/>
        </p:nvSpPr>
        <p:spPr>
          <a:xfrm>
            <a:off x="502478" y="5860776"/>
            <a:ext cx="5212080" cy="1523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rrows, Pointer</a:t>
            </a:r>
          </a:p>
        </p:txBody>
      </p:sp>
      <p:sp>
        <p:nvSpPr>
          <p:cNvPr id="18" name="Text Placeholder 81">
            <a:extLst>
              <a:ext uri="{FF2B5EF4-FFF2-40B4-BE49-F238E27FC236}">
                <a16:creationId xmlns:a16="http://schemas.microsoft.com/office/drawing/2014/main" id="{15791D4E-A8FB-FED1-801A-0D7FA39817B8}"/>
              </a:ext>
            </a:extLst>
          </p:cNvPr>
          <p:cNvSpPr txBox="1">
            <a:spLocks/>
          </p:cNvSpPr>
          <p:nvPr/>
        </p:nvSpPr>
        <p:spPr>
          <a:xfrm>
            <a:off x="7268856" y="374586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dd, Plus Sign 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D8F80714-C2F4-ADE4-1687-6040089BEE51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687550" y="4148217"/>
            <a:ext cx="612648" cy="134017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86AF6CAE-A1F7-4518-C721-BE975F1A2027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7481744" y="3948632"/>
            <a:ext cx="612648" cy="612648"/>
          </a:xfrm>
          <a:prstGeom prst="rect">
            <a:avLst/>
          </a:prstGeom>
        </p:spPr>
      </p:pic>
      <p:sp>
        <p:nvSpPr>
          <p:cNvPr id="22" name="Text Placeholder 81">
            <a:extLst>
              <a:ext uri="{FF2B5EF4-FFF2-40B4-BE49-F238E27FC236}">
                <a16:creationId xmlns:a16="http://schemas.microsoft.com/office/drawing/2014/main" id="{E210939B-5921-2432-1F31-C8FA2C7192CA}"/>
              </a:ext>
            </a:extLst>
          </p:cNvPr>
          <p:cNvSpPr txBox="1">
            <a:spLocks/>
          </p:cNvSpPr>
          <p:nvPr/>
        </p:nvSpPr>
        <p:spPr>
          <a:xfrm>
            <a:off x="8485506" y="3745861"/>
            <a:ext cx="740137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Minu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BA24E5B-A62B-B98C-E1F2-E158BE1D8C40}"/>
              </a:ext>
            </a:extLst>
          </p:cNvPr>
          <p:cNvSpPr txBox="1"/>
          <p:nvPr/>
        </p:nvSpPr>
        <p:spPr>
          <a:xfrm>
            <a:off x="9655393" y="4702784"/>
            <a:ext cx="849829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Menu, </a:t>
            </a:r>
            <a:br>
              <a:rPr lang="en-US" dirty="0"/>
            </a:br>
            <a:r>
              <a:rPr lang="en-US" dirty="0"/>
              <a:t>Hamburger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6882E9DA-5B9A-0537-B5FE-7E557AC28DF6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9773983" y="5000487"/>
            <a:ext cx="612648" cy="612648"/>
          </a:xfrm>
          <a:prstGeom prst="rect">
            <a:avLst/>
          </a:prstGeom>
        </p:spPr>
      </p:pic>
      <p:sp>
        <p:nvSpPr>
          <p:cNvPr id="27" name="Text Placeholder 81">
            <a:extLst>
              <a:ext uri="{FF2B5EF4-FFF2-40B4-BE49-F238E27FC236}">
                <a16:creationId xmlns:a16="http://schemas.microsoft.com/office/drawing/2014/main" id="{507E8CA7-843E-0683-C9AA-A97DFF14711D}"/>
              </a:ext>
            </a:extLst>
          </p:cNvPr>
          <p:cNvSpPr txBox="1">
            <a:spLocks/>
          </p:cNvSpPr>
          <p:nvPr/>
        </p:nvSpPr>
        <p:spPr>
          <a:xfrm>
            <a:off x="68978" y="2640886"/>
            <a:ext cx="1302153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Flag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07C8323C-E310-03B6-46B3-9565924F3AFB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532747" y="2895373"/>
            <a:ext cx="609600" cy="609600"/>
          </a:xfrm>
          <a:prstGeom prst="rect">
            <a:avLst/>
          </a:prstGeom>
        </p:spPr>
      </p:pic>
      <p:sp>
        <p:nvSpPr>
          <p:cNvPr id="32" name="Text Placeholder 81">
            <a:extLst>
              <a:ext uri="{FF2B5EF4-FFF2-40B4-BE49-F238E27FC236}">
                <a16:creationId xmlns:a16="http://schemas.microsoft.com/office/drawing/2014/main" id="{916FB371-925B-B9E2-B115-DF34E1C2FCCF}"/>
              </a:ext>
            </a:extLst>
          </p:cNvPr>
          <p:cNvSpPr txBox="1">
            <a:spLocks/>
          </p:cNvSpPr>
          <p:nvPr/>
        </p:nvSpPr>
        <p:spPr>
          <a:xfrm>
            <a:off x="1607802" y="1541043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ock 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22375DAA-473B-C96A-56D0-9A77BAA0C00D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827988" y="1774435"/>
            <a:ext cx="609600" cy="6096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E98DC9B2-683F-C0BA-3EBC-3354FB87C8C0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532747" y="1774435"/>
            <a:ext cx="609600" cy="609600"/>
          </a:xfrm>
          <a:prstGeom prst="rect">
            <a:avLst/>
          </a:prstGeom>
        </p:spPr>
      </p:pic>
      <p:sp>
        <p:nvSpPr>
          <p:cNvPr id="35" name="Text Placeholder 81">
            <a:extLst>
              <a:ext uri="{FF2B5EF4-FFF2-40B4-BE49-F238E27FC236}">
                <a16:creationId xmlns:a16="http://schemas.microsoft.com/office/drawing/2014/main" id="{D7F97BC6-8ACB-CB6F-050F-BACAD45A6409}"/>
              </a:ext>
            </a:extLst>
          </p:cNvPr>
          <p:cNvSpPr txBox="1">
            <a:spLocks/>
          </p:cNvSpPr>
          <p:nvPr/>
        </p:nvSpPr>
        <p:spPr>
          <a:xfrm>
            <a:off x="339144" y="1541043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Unlock 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B19D0924-6EDC-0363-72F6-D59F306F0BA7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3194245" y="1774435"/>
            <a:ext cx="609600" cy="609600"/>
          </a:xfrm>
          <a:prstGeom prst="rect">
            <a:avLst/>
          </a:prstGeom>
        </p:spPr>
      </p:pic>
      <p:sp>
        <p:nvSpPr>
          <p:cNvPr id="37" name="Text Placeholder 81">
            <a:extLst>
              <a:ext uri="{FF2B5EF4-FFF2-40B4-BE49-F238E27FC236}">
                <a16:creationId xmlns:a16="http://schemas.microsoft.com/office/drawing/2014/main" id="{A4871316-36C1-3480-4550-2B5EDE2BCD04}"/>
              </a:ext>
            </a:extLst>
          </p:cNvPr>
          <p:cNvSpPr txBox="1">
            <a:spLocks/>
          </p:cNvSpPr>
          <p:nvPr/>
        </p:nvSpPr>
        <p:spPr>
          <a:xfrm>
            <a:off x="2974059" y="1541043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ync</a:t>
            </a:r>
          </a:p>
        </p:txBody>
      </p:sp>
      <p:sp>
        <p:nvSpPr>
          <p:cNvPr id="38" name="Text Placeholder 81">
            <a:extLst>
              <a:ext uri="{FF2B5EF4-FFF2-40B4-BE49-F238E27FC236}">
                <a16:creationId xmlns:a16="http://schemas.microsoft.com/office/drawing/2014/main" id="{066D83EE-C729-6A99-C7B7-07CCE4E08AC9}"/>
              </a:ext>
            </a:extLst>
          </p:cNvPr>
          <p:cNvSpPr txBox="1">
            <a:spLocks/>
          </p:cNvSpPr>
          <p:nvPr/>
        </p:nvSpPr>
        <p:spPr>
          <a:xfrm>
            <a:off x="6931183" y="1541043"/>
            <a:ext cx="73152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efresh</a:t>
            </a:r>
          </a:p>
        </p:txBody>
      </p:sp>
      <p:sp>
        <p:nvSpPr>
          <p:cNvPr id="39" name="Text Placeholder 81">
            <a:extLst>
              <a:ext uri="{FF2B5EF4-FFF2-40B4-BE49-F238E27FC236}">
                <a16:creationId xmlns:a16="http://schemas.microsoft.com/office/drawing/2014/main" id="{15934514-A0AA-6016-FF6B-8C7B7973FE8B}"/>
              </a:ext>
            </a:extLst>
          </p:cNvPr>
          <p:cNvSpPr txBox="1">
            <a:spLocks/>
          </p:cNvSpPr>
          <p:nvPr/>
        </p:nvSpPr>
        <p:spPr>
          <a:xfrm>
            <a:off x="4519940" y="1541043"/>
            <a:ext cx="1666959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ecent, Update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AE70DD1-AB96-6BC1-A23D-B2461746548E}"/>
              </a:ext>
            </a:extLst>
          </p:cNvPr>
          <p:cNvGrpSpPr/>
          <p:nvPr/>
        </p:nvGrpSpPr>
        <p:grpSpPr>
          <a:xfrm>
            <a:off x="5554962" y="1774435"/>
            <a:ext cx="609600" cy="609600"/>
            <a:chOff x="5791200" y="3124200"/>
            <a:chExt cx="609600" cy="609600"/>
          </a:xfrm>
        </p:grpSpPr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C67CF86E-9CE9-710D-9C06-BFABF5080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6"/>
                </a:ext>
              </a:extLst>
            </a:blip>
            <a:stretch>
              <a:fillRect/>
            </a:stretch>
          </p:blipFill>
          <p:spPr>
            <a:xfrm>
              <a:off x="5791200" y="3124200"/>
              <a:ext cx="609600" cy="609600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103C0E69-F677-0FB4-1291-61099322A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8"/>
                </a:ext>
              </a:extLst>
            </a:blip>
            <a:stretch>
              <a:fillRect/>
            </a:stretch>
          </p:blipFill>
          <p:spPr>
            <a:xfrm>
              <a:off x="6002054" y="3335054"/>
              <a:ext cx="187893" cy="187893"/>
            </a:xfrm>
            <a:prstGeom prst="rect">
              <a:avLst/>
            </a:prstGeom>
          </p:spPr>
        </p:pic>
      </p:grpSp>
      <p:pic>
        <p:nvPicPr>
          <p:cNvPr id="44" name="Graphic 43">
            <a:extLst>
              <a:ext uri="{FF2B5EF4-FFF2-40B4-BE49-F238E27FC236}">
                <a16:creationId xmlns:a16="http://schemas.microsoft.com/office/drawing/2014/main" id="{C2395446-4F16-5C2A-7A88-BF1202F94F34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7022373" y="1774435"/>
            <a:ext cx="609600" cy="6096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424636EE-045A-49C0-27B5-01BB85F9397D}"/>
              </a:ext>
            </a:extLst>
          </p:cNvPr>
          <p:cNvSpPr txBox="1"/>
          <p:nvPr/>
        </p:nvSpPr>
        <p:spPr>
          <a:xfrm>
            <a:off x="8319883" y="1541043"/>
            <a:ext cx="460061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History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8E7D0A7B-E374-7FEC-FE6B-C982A5D3754F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8323528" y="1774435"/>
            <a:ext cx="609600" cy="6096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A1C75089-146A-2FFE-AE5E-9283942C0722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 flipH="1">
            <a:off x="4586319" y="1774435"/>
            <a:ext cx="609600" cy="60960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EE67F25E-3570-A51D-9C77-5352CBF3E0C7}"/>
              </a:ext>
            </a:extLst>
          </p:cNvPr>
          <p:cNvSpPr txBox="1"/>
          <p:nvPr/>
        </p:nvSpPr>
        <p:spPr>
          <a:xfrm>
            <a:off x="9875412" y="1541043"/>
            <a:ext cx="37670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Unlink</a:t>
            </a:r>
          </a:p>
        </p:txBody>
      </p:sp>
      <p:pic>
        <p:nvPicPr>
          <p:cNvPr id="51" name="Graphic 50">
            <a:extLst>
              <a:ext uri="{FF2B5EF4-FFF2-40B4-BE49-F238E27FC236}">
                <a16:creationId xmlns:a16="http://schemas.microsoft.com/office/drawing/2014/main" id="{452696CA-CE5E-DF06-E5F5-2FE1E1D0A995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9757440" y="1772911"/>
            <a:ext cx="612648" cy="612648"/>
          </a:xfrm>
          <a:prstGeom prst="rect">
            <a:avLst/>
          </a:prstGeom>
        </p:spPr>
      </p:pic>
      <p:sp>
        <p:nvSpPr>
          <p:cNvPr id="52" name="Text Placeholder 81">
            <a:extLst>
              <a:ext uri="{FF2B5EF4-FFF2-40B4-BE49-F238E27FC236}">
                <a16:creationId xmlns:a16="http://schemas.microsoft.com/office/drawing/2014/main" id="{0831F5BA-6C45-9A25-1C34-C7B20970252D}"/>
              </a:ext>
            </a:extLst>
          </p:cNvPr>
          <p:cNvSpPr txBox="1">
            <a:spLocks/>
          </p:cNvSpPr>
          <p:nvPr/>
        </p:nvSpPr>
        <p:spPr>
          <a:xfrm>
            <a:off x="10933872" y="1541043"/>
            <a:ext cx="64008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ink 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73398D6A-7CC6-5099-D69E-10A46195019F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0947588" y="1772911"/>
            <a:ext cx="612648" cy="61264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1B288FA-B7EC-E4FA-A0D7-033D397CF057}"/>
              </a:ext>
            </a:extLst>
          </p:cNvPr>
          <p:cNvSpPr/>
          <p:nvPr/>
        </p:nvSpPr>
        <p:spPr>
          <a:xfrm>
            <a:off x="502478" y="1190356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Symbols</a:t>
            </a:r>
          </a:p>
        </p:txBody>
      </p:sp>
      <p:pic>
        <p:nvPicPr>
          <p:cNvPr id="182" name="Graphic 181">
            <a:extLst>
              <a:ext uri="{FF2B5EF4-FFF2-40B4-BE49-F238E27FC236}">
                <a16:creationId xmlns:a16="http://schemas.microsoft.com/office/drawing/2014/main" id="{CCAD2DD5-A91E-44C4-89A3-D5282417C610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 flipV="1">
            <a:off x="446440" y="6108740"/>
            <a:ext cx="612648" cy="548640"/>
          </a:xfrm>
          <a:prstGeom prst="rect">
            <a:avLst/>
          </a:prstGeom>
        </p:spPr>
      </p:pic>
      <p:pic>
        <p:nvPicPr>
          <p:cNvPr id="183" name="Graphic 182">
            <a:extLst>
              <a:ext uri="{FF2B5EF4-FFF2-40B4-BE49-F238E27FC236}">
                <a16:creationId xmlns:a16="http://schemas.microsoft.com/office/drawing/2014/main" id="{D748A895-9FE8-431B-A85D-146050873099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414285" y="6108740"/>
            <a:ext cx="612648" cy="548640"/>
          </a:xfrm>
          <a:prstGeom prst="rect">
            <a:avLst/>
          </a:prstGeom>
        </p:spPr>
      </p:pic>
      <p:pic>
        <p:nvPicPr>
          <p:cNvPr id="185" name="Graphic 184">
            <a:extLst>
              <a:ext uri="{FF2B5EF4-FFF2-40B4-BE49-F238E27FC236}">
                <a16:creationId xmlns:a16="http://schemas.microsoft.com/office/drawing/2014/main" id="{ADE65E78-88F4-46B5-AF21-AC96B45D7FE8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 flipH="1">
            <a:off x="2382130" y="6108740"/>
            <a:ext cx="612648" cy="548640"/>
          </a:xfrm>
          <a:prstGeom prst="rect">
            <a:avLst/>
          </a:prstGeom>
        </p:spPr>
      </p:pic>
      <p:pic>
        <p:nvPicPr>
          <p:cNvPr id="186" name="Graphic 185">
            <a:extLst>
              <a:ext uri="{FF2B5EF4-FFF2-40B4-BE49-F238E27FC236}">
                <a16:creationId xmlns:a16="http://schemas.microsoft.com/office/drawing/2014/main" id="{21DF2732-62B8-40D9-9A54-B851B0198557}"/>
              </a:ext>
            </a:extLst>
          </p:cNvPr>
          <p:cNvPicPr>
            <a:picLocks noChangeAspect="1"/>
          </p:cNvPicPr>
          <p:nvPr/>
        </p:nvPicPr>
        <p:blipFill rotWithShape="1"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rcRect l="23569" t="22936" r="13309" b="13541"/>
          <a:stretch/>
        </p:blipFill>
        <p:spPr>
          <a:xfrm>
            <a:off x="3349975" y="6137401"/>
            <a:ext cx="484003" cy="49131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55A8719-4288-946B-D84A-89EC2ED38BB9}"/>
              </a:ext>
            </a:extLst>
          </p:cNvPr>
          <p:cNvPicPr>
            <a:picLocks noChangeAspect="1"/>
          </p:cNvPicPr>
          <p:nvPr/>
        </p:nvPicPr>
        <p:blipFill rotWithShape="1"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rcRect l="23569" t="22936" r="13309" b="13541"/>
          <a:stretch/>
        </p:blipFill>
        <p:spPr>
          <a:xfrm rot="5400000">
            <a:off x="4253497" y="6076736"/>
            <a:ext cx="484003" cy="61264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81BE7C8-DC1D-8778-46F3-9C1F01EF47EE}"/>
              </a:ext>
            </a:extLst>
          </p:cNvPr>
          <p:cNvPicPr>
            <a:picLocks noChangeAspect="1"/>
          </p:cNvPicPr>
          <p:nvPr/>
        </p:nvPicPr>
        <p:blipFill rotWithShape="1"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rcRect l="23569" t="22936" r="13309" b="13541"/>
          <a:stretch/>
        </p:blipFill>
        <p:spPr>
          <a:xfrm rot="16200000" flipV="1">
            <a:off x="5221344" y="6076736"/>
            <a:ext cx="484003" cy="612648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28226E3-5623-7C22-F031-500B6B9A4CF8}"/>
              </a:ext>
            </a:extLst>
          </p:cNvPr>
          <p:cNvGrpSpPr>
            <a:grpSpLocks noChangeAspect="1"/>
          </p:cNvGrpSpPr>
          <p:nvPr/>
        </p:nvGrpSpPr>
        <p:grpSpPr>
          <a:xfrm>
            <a:off x="435009" y="4073911"/>
            <a:ext cx="805076" cy="365760"/>
            <a:chOff x="5548696" y="3598173"/>
            <a:chExt cx="611042" cy="277607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B260253-8658-39E5-5665-E94E99553DFF}"/>
                </a:ext>
              </a:extLst>
            </p:cNvPr>
            <p:cNvSpPr/>
            <p:nvPr/>
          </p:nvSpPr>
          <p:spPr>
            <a:xfrm>
              <a:off x="5548696" y="3598173"/>
              <a:ext cx="149295" cy="263063"/>
            </a:xfrm>
            <a:custGeom>
              <a:avLst/>
              <a:gdLst>
                <a:gd name="connsiteX0" fmla="*/ 0 w 149295"/>
                <a:gd name="connsiteY0" fmla="*/ 0 h 263063"/>
                <a:gd name="connsiteX1" fmla="*/ 149295 w 149295"/>
                <a:gd name="connsiteY1" fmla="*/ 0 h 263063"/>
                <a:gd name="connsiteX2" fmla="*/ 149295 w 149295"/>
                <a:gd name="connsiteY2" fmla="*/ 263063 h 263063"/>
                <a:gd name="connsiteX3" fmla="*/ 0 w 149295"/>
                <a:gd name="connsiteY3" fmla="*/ 263063 h 263063"/>
                <a:gd name="connsiteX4" fmla="*/ 0 w 149295"/>
                <a:gd name="connsiteY4" fmla="*/ 0 h 263063"/>
                <a:gd name="connsiteX5" fmla="*/ 28575 w 149295"/>
                <a:gd name="connsiteY5" fmla="*/ 28286 h 263063"/>
                <a:gd name="connsiteX6" fmla="*/ 28575 w 149295"/>
                <a:gd name="connsiteY6" fmla="*/ 233834 h 263063"/>
                <a:gd name="connsiteX7" fmla="*/ 28575 w 149295"/>
                <a:gd name="connsiteY7" fmla="*/ 234777 h 263063"/>
                <a:gd name="connsiteX8" fmla="*/ 121920 w 149295"/>
                <a:gd name="connsiteY8" fmla="*/ 234777 h 263063"/>
                <a:gd name="connsiteX9" fmla="*/ 121920 w 149295"/>
                <a:gd name="connsiteY9" fmla="*/ 28286 h 263063"/>
                <a:gd name="connsiteX10" fmla="*/ 28575 w 149295"/>
                <a:gd name="connsiteY10" fmla="*/ 28286 h 26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9295" h="263063">
                  <a:moveTo>
                    <a:pt x="0" y="0"/>
                  </a:moveTo>
                  <a:lnTo>
                    <a:pt x="149295" y="0"/>
                  </a:lnTo>
                  <a:lnTo>
                    <a:pt x="149295" y="263063"/>
                  </a:lnTo>
                  <a:lnTo>
                    <a:pt x="0" y="263063"/>
                  </a:lnTo>
                  <a:lnTo>
                    <a:pt x="0" y="0"/>
                  </a:lnTo>
                  <a:close/>
                  <a:moveTo>
                    <a:pt x="28575" y="28286"/>
                  </a:moveTo>
                  <a:lnTo>
                    <a:pt x="28575" y="233834"/>
                  </a:lnTo>
                  <a:lnTo>
                    <a:pt x="28575" y="234777"/>
                  </a:lnTo>
                  <a:lnTo>
                    <a:pt x="121920" y="234777"/>
                  </a:lnTo>
                  <a:lnTo>
                    <a:pt x="121920" y="28286"/>
                  </a:lnTo>
                  <a:lnTo>
                    <a:pt x="28575" y="2828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4B1DC85-556E-FC59-CF71-BC689C0C8045}"/>
                </a:ext>
              </a:extLst>
            </p:cNvPr>
            <p:cNvSpPr/>
            <p:nvPr/>
          </p:nvSpPr>
          <p:spPr>
            <a:xfrm>
              <a:off x="5602524" y="3765463"/>
              <a:ext cx="41910" cy="41486"/>
            </a:xfrm>
            <a:custGeom>
              <a:avLst/>
              <a:gdLst>
                <a:gd name="connsiteX0" fmla="*/ 20955 w 41910"/>
                <a:gd name="connsiteY0" fmla="*/ 0 h 41486"/>
                <a:gd name="connsiteX1" fmla="*/ 0 w 41910"/>
                <a:gd name="connsiteY1" fmla="*/ 20743 h 41486"/>
                <a:gd name="connsiteX2" fmla="*/ 20955 w 41910"/>
                <a:gd name="connsiteY2" fmla="*/ 41487 h 41486"/>
                <a:gd name="connsiteX3" fmla="*/ 41910 w 41910"/>
                <a:gd name="connsiteY3" fmla="*/ 20743 h 41486"/>
                <a:gd name="connsiteX4" fmla="*/ 20955 w 41910"/>
                <a:gd name="connsiteY4" fmla="*/ 0 h 41486"/>
                <a:gd name="connsiteX5" fmla="*/ 20955 w 41910"/>
                <a:gd name="connsiteY5" fmla="*/ 0 h 4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0" h="41486">
                  <a:moveTo>
                    <a:pt x="20955" y="0"/>
                  </a:moveTo>
                  <a:cubicBezTo>
                    <a:pt x="9525" y="0"/>
                    <a:pt x="0" y="9429"/>
                    <a:pt x="0" y="20743"/>
                  </a:cubicBezTo>
                  <a:cubicBezTo>
                    <a:pt x="0" y="32058"/>
                    <a:pt x="9525" y="41487"/>
                    <a:pt x="20955" y="41487"/>
                  </a:cubicBezTo>
                  <a:cubicBezTo>
                    <a:pt x="32385" y="41487"/>
                    <a:pt x="41910" y="32058"/>
                    <a:pt x="41910" y="20743"/>
                  </a:cubicBezTo>
                  <a:cubicBezTo>
                    <a:pt x="41910" y="8486"/>
                    <a:pt x="33338" y="0"/>
                    <a:pt x="20955" y="0"/>
                  </a:cubicBezTo>
                  <a:lnTo>
                    <a:pt x="20955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09A1650-23D0-2EAD-9C70-A758367209EA}"/>
                </a:ext>
              </a:extLst>
            </p:cNvPr>
            <p:cNvSpPr/>
            <p:nvPr/>
          </p:nvSpPr>
          <p:spPr>
            <a:xfrm>
              <a:off x="5698392" y="3598574"/>
              <a:ext cx="461346" cy="277206"/>
            </a:xfrm>
            <a:custGeom>
              <a:avLst/>
              <a:gdLst>
                <a:gd name="connsiteX0" fmla="*/ 0 w 461346"/>
                <a:gd name="connsiteY0" fmla="*/ 0 h 277206"/>
                <a:gd name="connsiteX1" fmla="*/ 336 w 461346"/>
                <a:gd name="connsiteY1" fmla="*/ 0 h 277206"/>
                <a:gd name="connsiteX2" fmla="*/ 336 w 461346"/>
                <a:gd name="connsiteY2" fmla="*/ 29229 h 277206"/>
                <a:gd name="connsiteX3" fmla="*/ 64153 w 461346"/>
                <a:gd name="connsiteY3" fmla="*/ 33944 h 277206"/>
                <a:gd name="connsiteX4" fmla="*/ 114636 w 461346"/>
                <a:gd name="connsiteY4" fmla="*/ 46201 h 277206"/>
                <a:gd name="connsiteX5" fmla="*/ 146068 w 461346"/>
                <a:gd name="connsiteY5" fmla="*/ 53744 h 277206"/>
                <a:gd name="connsiteX6" fmla="*/ 214648 w 461346"/>
                <a:gd name="connsiteY6" fmla="*/ 54687 h 277206"/>
                <a:gd name="connsiteX7" fmla="*/ 227983 w 461346"/>
                <a:gd name="connsiteY7" fmla="*/ 54687 h 277206"/>
                <a:gd name="connsiteX8" fmla="*/ 288943 w 461346"/>
                <a:gd name="connsiteY8" fmla="*/ 97117 h 277206"/>
                <a:gd name="connsiteX9" fmla="*/ 289896 w 461346"/>
                <a:gd name="connsiteY9" fmla="*/ 112203 h 277206"/>
                <a:gd name="connsiteX10" fmla="*/ 378478 w 461346"/>
                <a:gd name="connsiteY10" fmla="*/ 64116 h 277206"/>
                <a:gd name="connsiteX11" fmla="*/ 402291 w 461346"/>
                <a:gd name="connsiteY11" fmla="*/ 59401 h 277206"/>
                <a:gd name="connsiteX12" fmla="*/ 461346 w 461346"/>
                <a:gd name="connsiteY12" fmla="*/ 116917 h 277206"/>
                <a:gd name="connsiteX13" fmla="*/ 442296 w 461346"/>
                <a:gd name="connsiteY13" fmla="*/ 158404 h 277206"/>
                <a:gd name="connsiteX14" fmla="*/ 257511 w 461346"/>
                <a:gd name="connsiteY14" fmla="*/ 258349 h 277206"/>
                <a:gd name="connsiteX15" fmla="*/ 190836 w 461346"/>
                <a:gd name="connsiteY15" fmla="*/ 277206 h 277206"/>
                <a:gd name="connsiteX16" fmla="*/ 116541 w 461346"/>
                <a:gd name="connsiteY16" fmla="*/ 264949 h 277206"/>
                <a:gd name="connsiteX17" fmla="*/ 115588 w 461346"/>
                <a:gd name="connsiteY17" fmla="*/ 264949 h 277206"/>
                <a:gd name="connsiteX18" fmla="*/ 1288 w 461346"/>
                <a:gd name="connsiteY18" fmla="*/ 224405 h 277206"/>
                <a:gd name="connsiteX19" fmla="*/ 1288 w 461346"/>
                <a:gd name="connsiteY19" fmla="*/ 263063 h 277206"/>
                <a:gd name="connsiteX20" fmla="*/ 0 w 461346"/>
                <a:gd name="connsiteY20" fmla="*/ 263063 h 277206"/>
                <a:gd name="connsiteX21" fmla="*/ 0 w 461346"/>
                <a:gd name="connsiteY21" fmla="*/ 0 h 277206"/>
                <a:gd name="connsiteX22" fmla="*/ 336 w 461346"/>
                <a:gd name="connsiteY22" fmla="*/ 57516 h 277206"/>
                <a:gd name="connsiteX23" fmla="*/ 336 w 461346"/>
                <a:gd name="connsiteY23" fmla="*/ 195176 h 277206"/>
                <a:gd name="connsiteX24" fmla="*/ 126066 w 461346"/>
                <a:gd name="connsiteY24" fmla="*/ 237605 h 277206"/>
                <a:gd name="connsiteX25" fmla="*/ 189883 w 461346"/>
                <a:gd name="connsiteY25" fmla="*/ 247977 h 277206"/>
                <a:gd name="connsiteX26" fmla="*/ 240366 w 461346"/>
                <a:gd name="connsiteY26" fmla="*/ 234777 h 277206"/>
                <a:gd name="connsiteX27" fmla="*/ 242271 w 461346"/>
                <a:gd name="connsiteY27" fmla="*/ 233834 h 277206"/>
                <a:gd name="connsiteX28" fmla="*/ 423246 w 461346"/>
                <a:gd name="connsiteY28" fmla="*/ 136717 h 277206"/>
                <a:gd name="connsiteX29" fmla="*/ 431818 w 461346"/>
                <a:gd name="connsiteY29" fmla="*/ 117860 h 277206"/>
                <a:gd name="connsiteX30" fmla="*/ 402291 w 461346"/>
                <a:gd name="connsiteY30" fmla="*/ 88631 h 277206"/>
                <a:gd name="connsiteX31" fmla="*/ 389908 w 461346"/>
                <a:gd name="connsiteY31" fmla="*/ 90516 h 277206"/>
                <a:gd name="connsiteX32" fmla="*/ 257511 w 461346"/>
                <a:gd name="connsiteY32" fmla="*/ 162175 h 277206"/>
                <a:gd name="connsiteX33" fmla="*/ 108921 w 461346"/>
                <a:gd name="connsiteY33" fmla="*/ 165004 h 277206"/>
                <a:gd name="connsiteX34" fmla="*/ 107968 w 461346"/>
                <a:gd name="connsiteY34" fmla="*/ 136717 h 277206"/>
                <a:gd name="connsiteX35" fmla="*/ 248938 w 461346"/>
                <a:gd name="connsiteY35" fmla="*/ 133889 h 277206"/>
                <a:gd name="connsiteX36" fmla="*/ 260368 w 461346"/>
                <a:gd name="connsiteY36" fmla="*/ 103717 h 277206"/>
                <a:gd name="connsiteX37" fmla="*/ 227031 w 461346"/>
                <a:gd name="connsiteY37" fmla="*/ 82973 h 277206"/>
                <a:gd name="connsiteX38" fmla="*/ 213696 w 461346"/>
                <a:gd name="connsiteY38" fmla="*/ 82973 h 277206"/>
                <a:gd name="connsiteX39" fmla="*/ 147021 w 461346"/>
                <a:gd name="connsiteY39" fmla="*/ 82030 h 277206"/>
                <a:gd name="connsiteX40" fmla="*/ 107016 w 461346"/>
                <a:gd name="connsiteY40" fmla="*/ 73545 h 277206"/>
                <a:gd name="connsiteX41" fmla="*/ 59391 w 461346"/>
                <a:gd name="connsiteY41" fmla="*/ 62230 h 277206"/>
                <a:gd name="connsiteX42" fmla="*/ 336 w 461346"/>
                <a:gd name="connsiteY42" fmla="*/ 57516 h 27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61346" h="277206">
                  <a:moveTo>
                    <a:pt x="0" y="0"/>
                  </a:moveTo>
                  <a:lnTo>
                    <a:pt x="336" y="0"/>
                  </a:lnTo>
                  <a:lnTo>
                    <a:pt x="336" y="29229"/>
                  </a:lnTo>
                  <a:cubicBezTo>
                    <a:pt x="13671" y="29229"/>
                    <a:pt x="39388" y="29229"/>
                    <a:pt x="64153" y="33944"/>
                  </a:cubicBezTo>
                  <a:cubicBezTo>
                    <a:pt x="82251" y="37715"/>
                    <a:pt x="99396" y="42430"/>
                    <a:pt x="114636" y="46201"/>
                  </a:cubicBezTo>
                  <a:cubicBezTo>
                    <a:pt x="127018" y="49973"/>
                    <a:pt x="140353" y="53744"/>
                    <a:pt x="146068" y="53744"/>
                  </a:cubicBezTo>
                  <a:cubicBezTo>
                    <a:pt x="167023" y="53744"/>
                    <a:pt x="196551" y="53744"/>
                    <a:pt x="214648" y="54687"/>
                  </a:cubicBezTo>
                  <a:cubicBezTo>
                    <a:pt x="221316" y="54687"/>
                    <a:pt x="226078" y="54687"/>
                    <a:pt x="227983" y="54687"/>
                  </a:cubicBezTo>
                  <a:cubicBezTo>
                    <a:pt x="265131" y="54687"/>
                    <a:pt x="284181" y="76373"/>
                    <a:pt x="288943" y="97117"/>
                  </a:cubicBezTo>
                  <a:cubicBezTo>
                    <a:pt x="289896" y="101831"/>
                    <a:pt x="289896" y="107488"/>
                    <a:pt x="289896" y="112203"/>
                  </a:cubicBezTo>
                  <a:lnTo>
                    <a:pt x="378478" y="64116"/>
                  </a:lnTo>
                  <a:cubicBezTo>
                    <a:pt x="386098" y="61287"/>
                    <a:pt x="393718" y="59401"/>
                    <a:pt x="402291" y="59401"/>
                  </a:cubicBezTo>
                  <a:cubicBezTo>
                    <a:pt x="436581" y="59401"/>
                    <a:pt x="460393" y="82973"/>
                    <a:pt x="461346" y="116917"/>
                  </a:cubicBezTo>
                  <a:cubicBezTo>
                    <a:pt x="461346" y="132946"/>
                    <a:pt x="453726" y="148975"/>
                    <a:pt x="442296" y="158404"/>
                  </a:cubicBezTo>
                  <a:cubicBezTo>
                    <a:pt x="432771" y="165947"/>
                    <a:pt x="310851" y="230062"/>
                    <a:pt x="257511" y="258349"/>
                  </a:cubicBezTo>
                  <a:cubicBezTo>
                    <a:pt x="251796" y="262120"/>
                    <a:pt x="227983" y="277206"/>
                    <a:pt x="190836" y="277206"/>
                  </a:cubicBezTo>
                  <a:cubicBezTo>
                    <a:pt x="150831" y="277206"/>
                    <a:pt x="117493" y="265892"/>
                    <a:pt x="116541" y="264949"/>
                  </a:cubicBezTo>
                  <a:lnTo>
                    <a:pt x="115588" y="264949"/>
                  </a:lnTo>
                  <a:cubicBezTo>
                    <a:pt x="94633" y="254577"/>
                    <a:pt x="35578" y="231005"/>
                    <a:pt x="1288" y="224405"/>
                  </a:cubicBezTo>
                  <a:lnTo>
                    <a:pt x="1288" y="263063"/>
                  </a:lnTo>
                  <a:lnTo>
                    <a:pt x="0" y="263063"/>
                  </a:lnTo>
                  <a:lnTo>
                    <a:pt x="0" y="0"/>
                  </a:lnTo>
                  <a:close/>
                  <a:moveTo>
                    <a:pt x="336" y="57516"/>
                  </a:moveTo>
                  <a:lnTo>
                    <a:pt x="336" y="195176"/>
                  </a:lnTo>
                  <a:cubicBezTo>
                    <a:pt x="43198" y="200833"/>
                    <a:pt x="117493" y="233834"/>
                    <a:pt x="126066" y="237605"/>
                  </a:cubicBezTo>
                  <a:cubicBezTo>
                    <a:pt x="129876" y="239491"/>
                    <a:pt x="158451" y="247977"/>
                    <a:pt x="189883" y="247977"/>
                  </a:cubicBezTo>
                  <a:cubicBezTo>
                    <a:pt x="222268" y="247977"/>
                    <a:pt x="240366" y="234777"/>
                    <a:pt x="240366" y="234777"/>
                  </a:cubicBezTo>
                  <a:lnTo>
                    <a:pt x="242271" y="233834"/>
                  </a:lnTo>
                  <a:cubicBezTo>
                    <a:pt x="307993" y="199890"/>
                    <a:pt x="413721" y="143318"/>
                    <a:pt x="423246" y="136717"/>
                  </a:cubicBezTo>
                  <a:cubicBezTo>
                    <a:pt x="428008" y="132003"/>
                    <a:pt x="431818" y="124460"/>
                    <a:pt x="431818" y="117860"/>
                  </a:cubicBezTo>
                  <a:cubicBezTo>
                    <a:pt x="431818" y="99002"/>
                    <a:pt x="420388" y="88631"/>
                    <a:pt x="402291" y="88631"/>
                  </a:cubicBezTo>
                  <a:cubicBezTo>
                    <a:pt x="397528" y="88631"/>
                    <a:pt x="393718" y="88631"/>
                    <a:pt x="389908" y="90516"/>
                  </a:cubicBezTo>
                  <a:lnTo>
                    <a:pt x="257511" y="162175"/>
                  </a:lnTo>
                  <a:lnTo>
                    <a:pt x="108921" y="165004"/>
                  </a:lnTo>
                  <a:lnTo>
                    <a:pt x="107968" y="136717"/>
                  </a:lnTo>
                  <a:lnTo>
                    <a:pt x="248938" y="133889"/>
                  </a:lnTo>
                  <a:cubicBezTo>
                    <a:pt x="258463" y="128232"/>
                    <a:pt x="263226" y="115031"/>
                    <a:pt x="260368" y="103717"/>
                  </a:cubicBezTo>
                  <a:cubicBezTo>
                    <a:pt x="256558" y="90516"/>
                    <a:pt x="245128" y="82973"/>
                    <a:pt x="227031" y="82973"/>
                  </a:cubicBezTo>
                  <a:cubicBezTo>
                    <a:pt x="226078" y="82973"/>
                    <a:pt x="220363" y="82973"/>
                    <a:pt x="213696" y="82973"/>
                  </a:cubicBezTo>
                  <a:cubicBezTo>
                    <a:pt x="196551" y="82973"/>
                    <a:pt x="167023" y="82030"/>
                    <a:pt x="147021" y="82030"/>
                  </a:cubicBezTo>
                  <a:cubicBezTo>
                    <a:pt x="137496" y="82030"/>
                    <a:pt x="124161" y="78259"/>
                    <a:pt x="107016" y="73545"/>
                  </a:cubicBezTo>
                  <a:cubicBezTo>
                    <a:pt x="92728" y="69773"/>
                    <a:pt x="76536" y="65059"/>
                    <a:pt x="59391" y="62230"/>
                  </a:cubicBezTo>
                  <a:cubicBezTo>
                    <a:pt x="36531" y="57516"/>
                    <a:pt x="12718" y="57516"/>
                    <a:pt x="336" y="57516"/>
                  </a:cubicBez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54" name="Text Placeholder 81">
            <a:extLst>
              <a:ext uri="{FF2B5EF4-FFF2-40B4-BE49-F238E27FC236}">
                <a16:creationId xmlns:a16="http://schemas.microsoft.com/office/drawing/2014/main" id="{35011194-B0F1-D472-934D-343ADA1A5168}"/>
              </a:ext>
            </a:extLst>
          </p:cNvPr>
          <p:cNvSpPr txBox="1">
            <a:spLocks/>
          </p:cNvSpPr>
          <p:nvPr/>
        </p:nvSpPr>
        <p:spPr>
          <a:xfrm>
            <a:off x="312561" y="374586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Hand, Show</a:t>
            </a:r>
          </a:p>
        </p:txBody>
      </p:sp>
      <p:sp>
        <p:nvSpPr>
          <p:cNvPr id="75" name="Text Placeholder 81">
            <a:extLst>
              <a:ext uri="{FF2B5EF4-FFF2-40B4-BE49-F238E27FC236}">
                <a16:creationId xmlns:a16="http://schemas.microsoft.com/office/drawing/2014/main" id="{185764CE-79CF-F43F-11F4-6912B1659273}"/>
              </a:ext>
            </a:extLst>
          </p:cNvPr>
          <p:cNvSpPr txBox="1">
            <a:spLocks/>
          </p:cNvSpPr>
          <p:nvPr/>
        </p:nvSpPr>
        <p:spPr>
          <a:xfrm>
            <a:off x="3119937" y="374586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humbs Down</a:t>
            </a:r>
          </a:p>
        </p:txBody>
      </p:sp>
      <p:pic>
        <p:nvPicPr>
          <p:cNvPr id="76" name="Graphic 75">
            <a:extLst>
              <a:ext uri="{FF2B5EF4-FFF2-40B4-BE49-F238E27FC236}">
                <a16:creationId xmlns:a16="http://schemas.microsoft.com/office/drawing/2014/main" id="{EE8FEC69-F487-0874-B63C-48BB6ACFA2A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flipV="1">
            <a:off x="3192721" y="3950467"/>
            <a:ext cx="612648" cy="612648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1D7D28FD-0F8B-B1EB-55C1-1AD445E4BD34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3790041" y="2895373"/>
            <a:ext cx="609600" cy="6096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7CD30E48-811E-AEF7-1A7F-06066EC83FCD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8732014" y="2895373"/>
            <a:ext cx="609600" cy="6096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9E835B8-3EB2-F804-8ACA-9807C6067470}"/>
              </a:ext>
            </a:extLst>
          </p:cNvPr>
          <p:cNvSpPr txBox="1"/>
          <p:nvPr/>
        </p:nvSpPr>
        <p:spPr>
          <a:xfrm>
            <a:off x="10724508" y="3745861"/>
            <a:ext cx="105880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uzzle</a:t>
            </a:r>
          </a:p>
        </p:txBody>
      </p:sp>
      <p:sp>
        <p:nvSpPr>
          <p:cNvPr id="11" name="object 27">
            <a:extLst>
              <a:ext uri="{FF2B5EF4-FFF2-40B4-BE49-F238E27FC236}">
                <a16:creationId xmlns:a16="http://schemas.microsoft.com/office/drawing/2014/main" id="{172783A3-9E8E-B4D7-5733-FE810E9DD7EA}"/>
              </a:ext>
            </a:extLst>
          </p:cNvPr>
          <p:cNvSpPr txBox="1"/>
          <p:nvPr/>
        </p:nvSpPr>
        <p:spPr>
          <a:xfrm>
            <a:off x="10588750" y="4772034"/>
            <a:ext cx="13303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Closed </a:t>
            </a:r>
            <a:r>
              <a:rPr lang="en-US" dirty="0"/>
              <a:t>Caption</a:t>
            </a:r>
            <a:endParaRPr dirty="0"/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81012F3C-8994-D664-736D-3FF61D944730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10949112" y="5002011"/>
            <a:ext cx="609600" cy="6096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8AF6AA5C-5290-9749-FC35-C2301B12E638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6062608" y="2895373"/>
            <a:ext cx="609600" cy="60960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4DDE02F9-5A09-3844-08A4-B70089B73238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5834625" y="5002011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20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Graphic 83">
            <a:extLst>
              <a:ext uri="{FF2B5EF4-FFF2-40B4-BE49-F238E27FC236}">
                <a16:creationId xmlns:a16="http://schemas.microsoft.com/office/drawing/2014/main" id="{ECBBB596-BE4A-6B08-BD9C-005144A8D9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8837" y="4600818"/>
            <a:ext cx="609600" cy="6096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3A59F805-17CA-CF70-FBBA-B8016FB38A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94626" y="2019919"/>
            <a:ext cx="676275" cy="609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4B24BCB-E0B8-DCB6-C1E8-EB9588EF7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icon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98A8309-B8EA-8458-5669-9FE828CDCF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61829" y="2019919"/>
            <a:ext cx="609600" cy="609600"/>
          </a:xfrm>
          <a:prstGeom prst="rect">
            <a:avLst/>
          </a:prstGeom>
        </p:spPr>
      </p:pic>
      <p:sp>
        <p:nvSpPr>
          <p:cNvPr id="5" name="Text Placeholder 81">
            <a:extLst>
              <a:ext uri="{FF2B5EF4-FFF2-40B4-BE49-F238E27FC236}">
                <a16:creationId xmlns:a16="http://schemas.microsoft.com/office/drawing/2014/main" id="{A3F0856A-5654-CA61-B6DD-57D85DC2F1B7}"/>
              </a:ext>
            </a:extLst>
          </p:cNvPr>
          <p:cNvSpPr txBox="1">
            <a:spLocks/>
          </p:cNvSpPr>
          <p:nvPr/>
        </p:nvSpPr>
        <p:spPr>
          <a:xfrm>
            <a:off x="5959666" y="2974295"/>
            <a:ext cx="54864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mail</a:t>
            </a:r>
          </a:p>
        </p:txBody>
      </p:sp>
      <p:sp>
        <p:nvSpPr>
          <p:cNvPr id="6" name="Text Placeholder 81">
            <a:extLst>
              <a:ext uri="{FF2B5EF4-FFF2-40B4-BE49-F238E27FC236}">
                <a16:creationId xmlns:a16="http://schemas.microsoft.com/office/drawing/2014/main" id="{8D158D14-5D73-7F9E-AAA0-458FE9982DE4}"/>
              </a:ext>
            </a:extLst>
          </p:cNvPr>
          <p:cNvSpPr txBox="1">
            <a:spLocks/>
          </p:cNvSpPr>
          <p:nvPr/>
        </p:nvSpPr>
        <p:spPr>
          <a:xfrm>
            <a:off x="4736844" y="1602105"/>
            <a:ext cx="106893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Folder, Content Management</a:t>
            </a:r>
          </a:p>
        </p:txBody>
      </p:sp>
      <p:sp>
        <p:nvSpPr>
          <p:cNvPr id="8" name="Text Placeholder 81">
            <a:extLst>
              <a:ext uri="{FF2B5EF4-FFF2-40B4-BE49-F238E27FC236}">
                <a16:creationId xmlns:a16="http://schemas.microsoft.com/office/drawing/2014/main" id="{7B04555F-7AD1-7D30-3A56-788C2B21EA90}"/>
              </a:ext>
            </a:extLst>
          </p:cNvPr>
          <p:cNvSpPr txBox="1">
            <a:spLocks/>
          </p:cNvSpPr>
          <p:nvPr/>
        </p:nvSpPr>
        <p:spPr>
          <a:xfrm>
            <a:off x="1398718" y="1602105"/>
            <a:ext cx="72462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aper,</a:t>
            </a:r>
            <a:br>
              <a:rPr lang="en-US" dirty="0"/>
            </a:br>
            <a:r>
              <a:rPr lang="en-US" dirty="0"/>
              <a:t>Document</a:t>
            </a:r>
          </a:p>
        </p:txBody>
      </p:sp>
      <p:sp>
        <p:nvSpPr>
          <p:cNvPr id="9" name="Text Placeholder 81">
            <a:extLst>
              <a:ext uri="{FF2B5EF4-FFF2-40B4-BE49-F238E27FC236}">
                <a16:creationId xmlns:a16="http://schemas.microsoft.com/office/drawing/2014/main" id="{02C04E7E-A757-7562-304F-71D1867B0729}"/>
              </a:ext>
            </a:extLst>
          </p:cNvPr>
          <p:cNvSpPr txBox="1">
            <a:spLocks/>
          </p:cNvSpPr>
          <p:nvPr/>
        </p:nvSpPr>
        <p:spPr>
          <a:xfrm>
            <a:off x="3593946" y="5628083"/>
            <a:ext cx="1991703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00" dirty="0"/>
              <a:t>Talk Bubble, Chat, Comment </a:t>
            </a:r>
          </a:p>
        </p:txBody>
      </p:sp>
      <p:sp>
        <p:nvSpPr>
          <p:cNvPr id="10" name="Text Placeholder 81">
            <a:extLst>
              <a:ext uri="{FF2B5EF4-FFF2-40B4-BE49-F238E27FC236}">
                <a16:creationId xmlns:a16="http://schemas.microsoft.com/office/drawing/2014/main" id="{93691DFC-FAEA-304F-1466-247C34275E85}"/>
              </a:ext>
            </a:extLst>
          </p:cNvPr>
          <p:cNvSpPr txBox="1">
            <a:spLocks/>
          </p:cNvSpPr>
          <p:nvPr/>
        </p:nvSpPr>
        <p:spPr>
          <a:xfrm>
            <a:off x="255617" y="5628083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rophy</a:t>
            </a:r>
          </a:p>
        </p:txBody>
      </p:sp>
      <p:sp>
        <p:nvSpPr>
          <p:cNvPr id="11" name="Text Placeholder 81">
            <a:extLst>
              <a:ext uri="{FF2B5EF4-FFF2-40B4-BE49-F238E27FC236}">
                <a16:creationId xmlns:a16="http://schemas.microsoft.com/office/drawing/2014/main" id="{1DDF8F4E-065F-395A-70BC-0A6D7085B071}"/>
              </a:ext>
            </a:extLst>
          </p:cNvPr>
          <p:cNvSpPr txBox="1">
            <a:spLocks/>
          </p:cNvSpPr>
          <p:nvPr/>
        </p:nvSpPr>
        <p:spPr>
          <a:xfrm>
            <a:off x="5859488" y="1671355"/>
            <a:ext cx="74676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lipboard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E124757-5692-E622-41CF-BEAF9C07B1B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35240" y="5900280"/>
            <a:ext cx="609600" cy="6096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8D17AD83-66E5-B6AB-37BD-6272DFC4065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795165" y="5924093"/>
            <a:ext cx="609600" cy="56197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3ADFC0E-8F04-F8DE-9095-B4EA938E2A23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11756" r="10137"/>
          <a:stretch/>
        </p:blipFill>
        <p:spPr>
          <a:xfrm>
            <a:off x="1433253" y="2019919"/>
            <a:ext cx="476138" cy="6096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36F051C0-C43D-A41D-FC19-E696A7E3FF1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043572" y="2123694"/>
            <a:ext cx="612648" cy="402051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2E8BA99D-23B6-4DDF-CEE2-6192AADB929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39397" y="2019919"/>
            <a:ext cx="609600" cy="6096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4271139-DF11-815D-8707-E7907E8B501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88900" y="4600818"/>
            <a:ext cx="609600" cy="6096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07FDD468-F006-C042-2391-54A8D221C1F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472974" y="5898756"/>
            <a:ext cx="612648" cy="612648"/>
          </a:xfrm>
          <a:prstGeom prst="rect">
            <a:avLst/>
          </a:prstGeom>
        </p:spPr>
      </p:pic>
      <p:sp>
        <p:nvSpPr>
          <p:cNvPr id="19" name="Text Placeholder 81">
            <a:extLst>
              <a:ext uri="{FF2B5EF4-FFF2-40B4-BE49-F238E27FC236}">
                <a16:creationId xmlns:a16="http://schemas.microsoft.com/office/drawing/2014/main" id="{2C61409D-E8C5-3043-8E6B-3F10CD03E019}"/>
              </a:ext>
            </a:extLst>
          </p:cNvPr>
          <p:cNvSpPr txBox="1">
            <a:spLocks/>
          </p:cNvSpPr>
          <p:nvPr/>
        </p:nvSpPr>
        <p:spPr>
          <a:xfrm>
            <a:off x="7905909" y="1660495"/>
            <a:ext cx="4023360" cy="1554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heck, Checkmark, Requirements Mngmnt, Grant Acces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3392747-80B1-0E0B-D294-EB6D30227A34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181168" y="2019919"/>
            <a:ext cx="609600" cy="6096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E1B43B17-9FC6-ABC5-1845-F96ADC6A3C7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951944" y="3358585"/>
            <a:ext cx="609600" cy="609600"/>
          </a:xfrm>
          <a:prstGeom prst="rect">
            <a:avLst/>
          </a:prstGeom>
        </p:spPr>
      </p:pic>
      <p:sp>
        <p:nvSpPr>
          <p:cNvPr id="22" name="Text Placeholder 81">
            <a:extLst>
              <a:ext uri="{FF2B5EF4-FFF2-40B4-BE49-F238E27FC236}">
                <a16:creationId xmlns:a16="http://schemas.microsoft.com/office/drawing/2014/main" id="{EB2FCF48-2496-1F62-8B2F-D74B3C9F6E0E}"/>
              </a:ext>
            </a:extLst>
          </p:cNvPr>
          <p:cNvSpPr txBox="1">
            <a:spLocks/>
          </p:cNvSpPr>
          <p:nvPr/>
        </p:nvSpPr>
        <p:spPr>
          <a:xfrm>
            <a:off x="7897243" y="2974295"/>
            <a:ext cx="71924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Inbox</a:t>
            </a:r>
          </a:p>
        </p:txBody>
      </p:sp>
      <p:sp>
        <p:nvSpPr>
          <p:cNvPr id="23" name="Text Placeholder 81">
            <a:extLst>
              <a:ext uri="{FF2B5EF4-FFF2-40B4-BE49-F238E27FC236}">
                <a16:creationId xmlns:a16="http://schemas.microsoft.com/office/drawing/2014/main" id="{41FA4ED4-4F58-5ECF-5E3B-E776CE1DCA77}"/>
              </a:ext>
            </a:extLst>
          </p:cNvPr>
          <p:cNvSpPr txBox="1">
            <a:spLocks/>
          </p:cNvSpPr>
          <p:nvPr/>
        </p:nvSpPr>
        <p:spPr>
          <a:xfrm>
            <a:off x="1455605" y="5558833"/>
            <a:ext cx="83093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ist, To Do,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836A638-FE53-7978-FF16-F40BB285E187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045481" y="2018395"/>
            <a:ext cx="469058" cy="61264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D6AE90D5-24AE-710A-942D-87625FD6AB2A}"/>
              </a:ext>
            </a:extLst>
          </p:cNvPr>
          <p:cNvSpPr txBox="1"/>
          <p:nvPr/>
        </p:nvSpPr>
        <p:spPr>
          <a:xfrm>
            <a:off x="9841523" y="5586519"/>
            <a:ext cx="9144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roject Briefcase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338EA925-3EEA-77E9-3FD5-C6FEB7DE596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039867" y="5900280"/>
            <a:ext cx="609600" cy="6096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DCAFA7CF-823F-E67B-AFA4-2D36443E4971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7995684" y="4600818"/>
            <a:ext cx="609600" cy="6096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BFB9004F-C084-7C77-8371-57893B0A7460}"/>
              </a:ext>
            </a:extLst>
          </p:cNvPr>
          <p:cNvSpPr txBox="1"/>
          <p:nvPr/>
        </p:nvSpPr>
        <p:spPr>
          <a:xfrm>
            <a:off x="7851070" y="4288262"/>
            <a:ext cx="951067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eorder, Bin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151F887-6D72-C4A1-8286-82CF58113EFE}"/>
              </a:ext>
            </a:extLst>
          </p:cNvPr>
          <p:cNvSpPr txBox="1"/>
          <p:nvPr/>
        </p:nvSpPr>
        <p:spPr>
          <a:xfrm>
            <a:off x="8562715" y="2974295"/>
            <a:ext cx="13716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ssig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6F7117E-A4D2-294F-AB5E-AD0F4E86D4D1}"/>
              </a:ext>
            </a:extLst>
          </p:cNvPr>
          <p:cNvSpPr txBox="1"/>
          <p:nvPr/>
        </p:nvSpPr>
        <p:spPr>
          <a:xfrm>
            <a:off x="6859967" y="4288262"/>
            <a:ext cx="71814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rchive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F4F6AE3A-F03C-0602-E86D-8F83F1230C7B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6965098" y="4600818"/>
            <a:ext cx="609600" cy="6096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B898B4E1-858A-ADE2-706F-E06A16594166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2557661" y="5900280"/>
            <a:ext cx="609600" cy="60960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01487A37-4B4F-6E39-1C50-FCE6147A4735}"/>
              </a:ext>
            </a:extLst>
          </p:cNvPr>
          <p:cNvSpPr txBox="1"/>
          <p:nvPr/>
        </p:nvSpPr>
        <p:spPr>
          <a:xfrm>
            <a:off x="2562713" y="5628083"/>
            <a:ext cx="684483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isclosure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FC175C48-DF76-BB8D-9CDD-44ED37CD8D2D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933848" y="3358585"/>
            <a:ext cx="609600" cy="6096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0CCAC8BE-2134-0136-9239-354E6DE17E19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8245391" y="2019919"/>
            <a:ext cx="609600" cy="609600"/>
          </a:xfrm>
          <a:prstGeom prst="rect">
            <a:avLst/>
          </a:prstGeom>
        </p:spPr>
      </p:pic>
      <p:sp>
        <p:nvSpPr>
          <p:cNvPr id="39" name="Text Placeholder 81">
            <a:extLst>
              <a:ext uri="{FF2B5EF4-FFF2-40B4-BE49-F238E27FC236}">
                <a16:creationId xmlns:a16="http://schemas.microsoft.com/office/drawing/2014/main" id="{564623C2-3FA4-E7E5-8F2D-9B72AF1D5B14}"/>
              </a:ext>
            </a:extLst>
          </p:cNvPr>
          <p:cNvSpPr txBox="1">
            <a:spLocks/>
          </p:cNvSpPr>
          <p:nvPr/>
        </p:nvSpPr>
        <p:spPr>
          <a:xfrm>
            <a:off x="6782709" y="1602105"/>
            <a:ext cx="97981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ctive, Check, Checkmark, OK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114DCEDD-D298-D3A0-19DE-02C069AA617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1108324" y="3358585"/>
            <a:ext cx="609600" cy="6096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72DC6B75-ABF3-192E-6847-7DA769F1A894}"/>
              </a:ext>
            </a:extLst>
          </p:cNvPr>
          <p:cNvSpPr txBox="1"/>
          <p:nvPr/>
        </p:nvSpPr>
        <p:spPr>
          <a:xfrm>
            <a:off x="11118067" y="2974295"/>
            <a:ext cx="36708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ab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EE4953B-AE6B-4F2F-82EB-292563638F86}"/>
              </a:ext>
            </a:extLst>
          </p:cNvPr>
          <p:cNvSpPr txBox="1"/>
          <p:nvPr/>
        </p:nvSpPr>
        <p:spPr>
          <a:xfrm>
            <a:off x="9030921" y="4288262"/>
            <a:ext cx="500137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Gallery </a:t>
            </a:r>
          </a:p>
        </p:txBody>
      </p:sp>
      <p:grpSp>
        <p:nvGrpSpPr>
          <p:cNvPr id="43" name="Graphic 73">
            <a:extLst>
              <a:ext uri="{FF2B5EF4-FFF2-40B4-BE49-F238E27FC236}">
                <a16:creationId xmlns:a16="http://schemas.microsoft.com/office/drawing/2014/main" id="{43E56F29-C187-5C28-1202-C38535CF729E}"/>
              </a:ext>
            </a:extLst>
          </p:cNvPr>
          <p:cNvGrpSpPr>
            <a:grpSpLocks noChangeAspect="1"/>
          </p:cNvGrpSpPr>
          <p:nvPr/>
        </p:nvGrpSpPr>
        <p:grpSpPr>
          <a:xfrm>
            <a:off x="9026270" y="4631298"/>
            <a:ext cx="548640" cy="548640"/>
            <a:chOff x="548426" y="5677878"/>
            <a:chExt cx="609600" cy="609600"/>
          </a:xfrm>
          <a:solidFill>
            <a:srgbClr val="40AA1D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2B347E7-8CCB-7615-BD45-6A46E9560728}"/>
                </a:ext>
              </a:extLst>
            </p:cNvPr>
            <p:cNvSpPr/>
            <p:nvPr/>
          </p:nvSpPr>
          <p:spPr>
            <a:xfrm>
              <a:off x="920853" y="6050305"/>
              <a:ext cx="237172" cy="237172"/>
            </a:xfrm>
            <a:custGeom>
              <a:avLst/>
              <a:gdLst>
                <a:gd name="connsiteX0" fmla="*/ 0 w 237172"/>
                <a:gd name="connsiteY0" fmla="*/ 237173 h 237172"/>
                <a:gd name="connsiteX1" fmla="*/ 237173 w 237172"/>
                <a:gd name="connsiteY1" fmla="*/ 237173 h 237172"/>
                <a:gd name="connsiteX2" fmla="*/ 237173 w 237172"/>
                <a:gd name="connsiteY2" fmla="*/ 0 h 237172"/>
                <a:gd name="connsiteX3" fmla="*/ 0 w 237172"/>
                <a:gd name="connsiteY3" fmla="*/ 0 h 237172"/>
                <a:gd name="connsiteX4" fmla="*/ 0 w 237172"/>
                <a:gd name="connsiteY4" fmla="*/ 237173 h 237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172" h="237172">
                  <a:moveTo>
                    <a:pt x="0" y="237173"/>
                  </a:moveTo>
                  <a:lnTo>
                    <a:pt x="237173" y="237173"/>
                  </a:lnTo>
                  <a:lnTo>
                    <a:pt x="237173" y="0"/>
                  </a:lnTo>
                  <a:lnTo>
                    <a:pt x="0" y="0"/>
                  </a:lnTo>
                  <a:lnTo>
                    <a:pt x="0" y="237173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392E4B8-CC75-5DFA-B786-04F999C1D2D9}"/>
                </a:ext>
              </a:extLst>
            </p:cNvPr>
            <p:cNvSpPr/>
            <p:nvPr/>
          </p:nvSpPr>
          <p:spPr>
            <a:xfrm>
              <a:off x="548426" y="6050305"/>
              <a:ext cx="237172" cy="237172"/>
            </a:xfrm>
            <a:custGeom>
              <a:avLst/>
              <a:gdLst>
                <a:gd name="connsiteX0" fmla="*/ 0 w 237172"/>
                <a:gd name="connsiteY0" fmla="*/ 237173 h 237172"/>
                <a:gd name="connsiteX1" fmla="*/ 237173 w 237172"/>
                <a:gd name="connsiteY1" fmla="*/ 237173 h 237172"/>
                <a:gd name="connsiteX2" fmla="*/ 237173 w 237172"/>
                <a:gd name="connsiteY2" fmla="*/ 0 h 237172"/>
                <a:gd name="connsiteX3" fmla="*/ 0 w 237172"/>
                <a:gd name="connsiteY3" fmla="*/ 0 h 237172"/>
                <a:gd name="connsiteX4" fmla="*/ 0 w 237172"/>
                <a:gd name="connsiteY4" fmla="*/ 237173 h 237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172" h="237172">
                  <a:moveTo>
                    <a:pt x="0" y="237173"/>
                  </a:moveTo>
                  <a:lnTo>
                    <a:pt x="237173" y="237173"/>
                  </a:lnTo>
                  <a:lnTo>
                    <a:pt x="237173" y="0"/>
                  </a:lnTo>
                  <a:lnTo>
                    <a:pt x="0" y="0"/>
                  </a:lnTo>
                  <a:lnTo>
                    <a:pt x="0" y="237173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37FF6C6-1BAF-303D-850A-E1F82685C157}"/>
                </a:ext>
              </a:extLst>
            </p:cNvPr>
            <p:cNvSpPr/>
            <p:nvPr/>
          </p:nvSpPr>
          <p:spPr>
            <a:xfrm>
              <a:off x="920853" y="5677878"/>
              <a:ext cx="237172" cy="237172"/>
            </a:xfrm>
            <a:custGeom>
              <a:avLst/>
              <a:gdLst>
                <a:gd name="connsiteX0" fmla="*/ 0 w 237172"/>
                <a:gd name="connsiteY0" fmla="*/ 237173 h 237172"/>
                <a:gd name="connsiteX1" fmla="*/ 237173 w 237172"/>
                <a:gd name="connsiteY1" fmla="*/ 237173 h 237172"/>
                <a:gd name="connsiteX2" fmla="*/ 237173 w 237172"/>
                <a:gd name="connsiteY2" fmla="*/ 0 h 237172"/>
                <a:gd name="connsiteX3" fmla="*/ 0 w 237172"/>
                <a:gd name="connsiteY3" fmla="*/ 0 h 237172"/>
                <a:gd name="connsiteX4" fmla="*/ 0 w 237172"/>
                <a:gd name="connsiteY4" fmla="*/ 237173 h 237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172" h="237172">
                  <a:moveTo>
                    <a:pt x="0" y="237173"/>
                  </a:moveTo>
                  <a:lnTo>
                    <a:pt x="237173" y="237173"/>
                  </a:lnTo>
                  <a:lnTo>
                    <a:pt x="237173" y="0"/>
                  </a:lnTo>
                  <a:lnTo>
                    <a:pt x="0" y="0"/>
                  </a:lnTo>
                  <a:lnTo>
                    <a:pt x="0" y="237173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4EF965E-DEB4-A5A5-887D-ED4BA76DF519}"/>
                </a:ext>
              </a:extLst>
            </p:cNvPr>
            <p:cNvSpPr/>
            <p:nvPr/>
          </p:nvSpPr>
          <p:spPr>
            <a:xfrm>
              <a:off x="548426" y="5677878"/>
              <a:ext cx="237172" cy="237172"/>
            </a:xfrm>
            <a:custGeom>
              <a:avLst/>
              <a:gdLst>
                <a:gd name="connsiteX0" fmla="*/ 0 w 237172"/>
                <a:gd name="connsiteY0" fmla="*/ 237173 h 237172"/>
                <a:gd name="connsiteX1" fmla="*/ 237173 w 237172"/>
                <a:gd name="connsiteY1" fmla="*/ 237173 h 237172"/>
                <a:gd name="connsiteX2" fmla="*/ 237173 w 237172"/>
                <a:gd name="connsiteY2" fmla="*/ 0 h 237172"/>
                <a:gd name="connsiteX3" fmla="*/ 0 w 237172"/>
                <a:gd name="connsiteY3" fmla="*/ 0 h 237172"/>
                <a:gd name="connsiteX4" fmla="*/ 0 w 237172"/>
                <a:gd name="connsiteY4" fmla="*/ 237173 h 237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172" h="237172">
                  <a:moveTo>
                    <a:pt x="0" y="237173"/>
                  </a:moveTo>
                  <a:lnTo>
                    <a:pt x="237173" y="237173"/>
                  </a:lnTo>
                  <a:lnTo>
                    <a:pt x="237173" y="0"/>
                  </a:lnTo>
                  <a:lnTo>
                    <a:pt x="0" y="0"/>
                  </a:lnTo>
                  <a:lnTo>
                    <a:pt x="0" y="237173"/>
                  </a:ln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48" name="Text Placeholder 81">
            <a:extLst>
              <a:ext uri="{FF2B5EF4-FFF2-40B4-BE49-F238E27FC236}">
                <a16:creationId xmlns:a16="http://schemas.microsoft.com/office/drawing/2014/main" id="{C80D85B8-C622-16E2-5CA0-FD994F86966D}"/>
              </a:ext>
            </a:extLst>
          </p:cNvPr>
          <p:cNvSpPr txBox="1">
            <a:spLocks/>
          </p:cNvSpPr>
          <p:nvPr/>
        </p:nvSpPr>
        <p:spPr>
          <a:xfrm>
            <a:off x="4014190" y="1602105"/>
            <a:ext cx="70502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opy,</a:t>
            </a:r>
            <a:br>
              <a:rPr lang="en-US" dirty="0"/>
            </a:br>
            <a:r>
              <a:rPr lang="en-US" dirty="0"/>
              <a:t>Duplicate</a:t>
            </a: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02764F07-EEE7-94AA-BC55-37CA2619B7E4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4092267" y="2019919"/>
            <a:ext cx="609600" cy="609600"/>
          </a:xfrm>
          <a:prstGeom prst="rect">
            <a:avLst/>
          </a:prstGeom>
        </p:spPr>
      </p:pic>
      <p:sp>
        <p:nvSpPr>
          <p:cNvPr id="50" name="Text Placeholder 81">
            <a:extLst>
              <a:ext uri="{FF2B5EF4-FFF2-40B4-BE49-F238E27FC236}">
                <a16:creationId xmlns:a16="http://schemas.microsoft.com/office/drawing/2014/main" id="{1DDA9290-80A9-F1D0-919D-BA6D46D10F00}"/>
              </a:ext>
            </a:extLst>
          </p:cNvPr>
          <p:cNvSpPr txBox="1">
            <a:spLocks/>
          </p:cNvSpPr>
          <p:nvPr/>
        </p:nvSpPr>
        <p:spPr>
          <a:xfrm>
            <a:off x="2905815" y="4288262"/>
            <a:ext cx="6096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Quote </a:t>
            </a:r>
          </a:p>
        </p:txBody>
      </p:sp>
      <p:pic>
        <p:nvPicPr>
          <p:cNvPr id="51" name="Graphic 50">
            <a:extLst>
              <a:ext uri="{FF2B5EF4-FFF2-40B4-BE49-F238E27FC236}">
                <a16:creationId xmlns:a16="http://schemas.microsoft.com/office/drawing/2014/main" id="{FCDE236F-96BC-2E70-24C4-105B50C9E890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2901517" y="4624300"/>
            <a:ext cx="612648" cy="562636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E2E71DF3-9D14-6DA8-6A8F-D36B3C7E7212}"/>
              </a:ext>
            </a:extLst>
          </p:cNvPr>
          <p:cNvSpPr txBox="1"/>
          <p:nvPr/>
        </p:nvSpPr>
        <p:spPr>
          <a:xfrm>
            <a:off x="5868161" y="4288262"/>
            <a:ext cx="71814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Unarchiv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D05A2868-F7B5-0F3B-5788-126484415F9A}"/>
              </a:ext>
            </a:extLst>
          </p:cNvPr>
          <p:cNvSpPr/>
          <p:nvPr/>
        </p:nvSpPr>
        <p:spPr>
          <a:xfrm>
            <a:off x="10036652" y="2974295"/>
            <a:ext cx="82296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</a:pPr>
            <a:r>
              <a:rPr lang="en-US" sz="1000" dirty="0">
                <a:ea typeface="+mn-lt"/>
                <a:cs typeface="+mn-lt"/>
              </a:rPr>
              <a:t>Backspace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36577F0C-9209-63FE-237F-CEF54F2C5796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464072" y="5900280"/>
            <a:ext cx="609600" cy="6096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7F2B04FE-C02F-9BA0-BF9C-7B7F95E8C17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0056200" y="3358585"/>
            <a:ext cx="609600" cy="609600"/>
          </a:xfrm>
          <a:prstGeom prst="rect">
            <a:avLst/>
          </a:prstGeom>
        </p:spPr>
      </p:pic>
      <p:sp>
        <p:nvSpPr>
          <p:cNvPr id="57" name="Text Placeholder 81">
            <a:extLst>
              <a:ext uri="{FF2B5EF4-FFF2-40B4-BE49-F238E27FC236}">
                <a16:creationId xmlns:a16="http://schemas.microsoft.com/office/drawing/2014/main" id="{096D46A9-2E07-C606-43B7-6E5FAE306CCA}"/>
              </a:ext>
            </a:extLst>
          </p:cNvPr>
          <p:cNvSpPr txBox="1">
            <a:spLocks/>
          </p:cNvSpPr>
          <p:nvPr/>
        </p:nvSpPr>
        <p:spPr>
          <a:xfrm>
            <a:off x="5730670" y="5628082"/>
            <a:ext cx="891355" cy="1385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ookmark</a:t>
            </a: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357E426D-4D52-410E-1A0A-0742B66A5DE3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5906488" y="5900280"/>
            <a:ext cx="609600" cy="609600"/>
          </a:xfrm>
          <a:prstGeom prst="rect">
            <a:avLst/>
          </a:prstGeom>
        </p:spPr>
      </p:pic>
      <p:sp>
        <p:nvSpPr>
          <p:cNvPr id="59" name="Text Placeholder 81">
            <a:extLst>
              <a:ext uri="{FF2B5EF4-FFF2-40B4-BE49-F238E27FC236}">
                <a16:creationId xmlns:a16="http://schemas.microsoft.com/office/drawing/2014/main" id="{8533321F-98BC-A633-9114-E122C5ACDF05}"/>
              </a:ext>
            </a:extLst>
          </p:cNvPr>
          <p:cNvSpPr txBox="1">
            <a:spLocks/>
          </p:cNvSpPr>
          <p:nvPr/>
        </p:nvSpPr>
        <p:spPr>
          <a:xfrm>
            <a:off x="8011634" y="5628083"/>
            <a:ext cx="54864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Key    </a:t>
            </a:r>
          </a:p>
        </p:txBody>
      </p:sp>
      <p:pic>
        <p:nvPicPr>
          <p:cNvPr id="61" name="Graphic 60">
            <a:extLst>
              <a:ext uri="{FF2B5EF4-FFF2-40B4-BE49-F238E27FC236}">
                <a16:creationId xmlns:a16="http://schemas.microsoft.com/office/drawing/2014/main" id="{7D253EC7-4F1F-836F-B78F-FE671322D849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9862666" y="4600818"/>
            <a:ext cx="609600" cy="609600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FC0B8920-8003-65F8-0D97-205E8A64DD2C}"/>
              </a:ext>
            </a:extLst>
          </p:cNvPr>
          <p:cNvSpPr txBox="1"/>
          <p:nvPr/>
        </p:nvSpPr>
        <p:spPr>
          <a:xfrm>
            <a:off x="9824037" y="4219012"/>
            <a:ext cx="686859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ttach,  </a:t>
            </a:r>
            <a:br>
              <a:rPr lang="en-US" dirty="0"/>
            </a:br>
            <a:r>
              <a:rPr lang="en-US" dirty="0"/>
              <a:t>Paperclip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7CFF43D8-78E1-BA30-7910-034984F54F7D}"/>
              </a:ext>
            </a:extLst>
          </p:cNvPr>
          <p:cNvGrpSpPr/>
          <p:nvPr/>
        </p:nvGrpSpPr>
        <p:grpSpPr>
          <a:xfrm>
            <a:off x="6946563" y="5914146"/>
            <a:ext cx="582679" cy="581869"/>
            <a:chOff x="9957622" y="5866395"/>
            <a:chExt cx="582679" cy="581869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8319A85D-D86E-3208-2FA6-C866D685A138}"/>
                </a:ext>
              </a:extLst>
            </p:cNvPr>
            <p:cNvSpPr>
              <a:spLocks/>
            </p:cNvSpPr>
            <p:nvPr/>
          </p:nvSpPr>
          <p:spPr>
            <a:xfrm>
              <a:off x="10083101" y="6420832"/>
              <a:ext cx="457200" cy="27432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460DC587-32C2-CB72-9EB8-A3EC6CFBC096}"/>
                </a:ext>
              </a:extLst>
            </p:cNvPr>
            <p:cNvSpPr/>
            <p:nvPr/>
          </p:nvSpPr>
          <p:spPr>
            <a:xfrm>
              <a:off x="10139490" y="5866395"/>
              <a:ext cx="379964" cy="379761"/>
            </a:xfrm>
            <a:custGeom>
              <a:avLst/>
              <a:gdLst>
                <a:gd name="connsiteX0" fmla="*/ 185833 w 379964"/>
                <a:gd name="connsiteY0" fmla="*/ 28480 h 379761"/>
                <a:gd name="connsiteX1" fmla="*/ 204121 w 379964"/>
                <a:gd name="connsiteY1" fmla="*/ 36004 h 379761"/>
                <a:gd name="connsiteX2" fmla="*/ 343757 w 379964"/>
                <a:gd name="connsiteY2" fmla="*/ 174689 h 379761"/>
                <a:gd name="connsiteX3" fmla="*/ 351377 w 379964"/>
                <a:gd name="connsiteY3" fmla="*/ 192977 h 379761"/>
                <a:gd name="connsiteX4" fmla="*/ 343853 w 379964"/>
                <a:gd name="connsiteY4" fmla="*/ 211360 h 379761"/>
                <a:gd name="connsiteX5" fmla="*/ 216789 w 379964"/>
                <a:gd name="connsiteY5" fmla="*/ 339281 h 379761"/>
                <a:gd name="connsiteX6" fmla="*/ 40386 w 379964"/>
                <a:gd name="connsiteY6" fmla="*/ 164116 h 379761"/>
                <a:gd name="connsiteX7" fmla="*/ 167450 w 379964"/>
                <a:gd name="connsiteY7" fmla="*/ 36195 h 379761"/>
                <a:gd name="connsiteX8" fmla="*/ 185833 w 379964"/>
                <a:gd name="connsiteY8" fmla="*/ 28575 h 379761"/>
                <a:gd name="connsiteX9" fmla="*/ 185833 w 379964"/>
                <a:gd name="connsiteY9" fmla="*/ 0 h 379761"/>
                <a:gd name="connsiteX10" fmla="*/ 147161 w 379964"/>
                <a:gd name="connsiteY10" fmla="*/ 16097 h 379761"/>
                <a:gd name="connsiteX11" fmla="*/ 0 w 379964"/>
                <a:gd name="connsiteY11" fmla="*/ 164306 h 379761"/>
                <a:gd name="connsiteX12" fmla="*/ 216980 w 379964"/>
                <a:gd name="connsiteY12" fmla="*/ 379762 h 379761"/>
                <a:gd name="connsiteX13" fmla="*/ 364141 w 379964"/>
                <a:gd name="connsiteY13" fmla="*/ 231553 h 379761"/>
                <a:gd name="connsiteX14" fmla="*/ 363855 w 379964"/>
                <a:gd name="connsiteY14" fmla="*/ 154496 h 379761"/>
                <a:gd name="connsiteX15" fmla="*/ 224219 w 379964"/>
                <a:gd name="connsiteY15" fmla="*/ 15811 h 379761"/>
                <a:gd name="connsiteX16" fmla="*/ 185833 w 379964"/>
                <a:gd name="connsiteY16" fmla="*/ 0 h 379761"/>
                <a:gd name="connsiteX17" fmla="*/ 185833 w 379964"/>
                <a:gd name="connsiteY17" fmla="*/ 0 h 379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79964" h="379761">
                  <a:moveTo>
                    <a:pt x="185833" y="28480"/>
                  </a:moveTo>
                  <a:cubicBezTo>
                    <a:pt x="192691" y="28480"/>
                    <a:pt x="199168" y="31147"/>
                    <a:pt x="204121" y="36004"/>
                  </a:cubicBezTo>
                  <a:lnTo>
                    <a:pt x="343757" y="174689"/>
                  </a:lnTo>
                  <a:cubicBezTo>
                    <a:pt x="348710" y="179546"/>
                    <a:pt x="351377" y="186118"/>
                    <a:pt x="351377" y="192977"/>
                  </a:cubicBezTo>
                  <a:cubicBezTo>
                    <a:pt x="351377" y="199835"/>
                    <a:pt x="348710" y="206407"/>
                    <a:pt x="343853" y="211360"/>
                  </a:cubicBezTo>
                  <a:lnTo>
                    <a:pt x="216789" y="339281"/>
                  </a:lnTo>
                  <a:lnTo>
                    <a:pt x="40386" y="164116"/>
                  </a:lnTo>
                  <a:lnTo>
                    <a:pt x="167450" y="36195"/>
                  </a:lnTo>
                  <a:cubicBezTo>
                    <a:pt x="172403" y="31242"/>
                    <a:pt x="178880" y="28575"/>
                    <a:pt x="185833" y="28575"/>
                  </a:cubicBezTo>
                  <a:moveTo>
                    <a:pt x="185833" y="0"/>
                  </a:moveTo>
                  <a:cubicBezTo>
                    <a:pt x="171831" y="0"/>
                    <a:pt x="157829" y="5334"/>
                    <a:pt x="147161" y="16097"/>
                  </a:cubicBezTo>
                  <a:lnTo>
                    <a:pt x="0" y="164306"/>
                  </a:lnTo>
                  <a:lnTo>
                    <a:pt x="216980" y="379762"/>
                  </a:lnTo>
                  <a:lnTo>
                    <a:pt x="364141" y="231553"/>
                  </a:lnTo>
                  <a:cubicBezTo>
                    <a:pt x="385382" y="210217"/>
                    <a:pt x="385191" y="175641"/>
                    <a:pt x="363855" y="154496"/>
                  </a:cubicBezTo>
                  <a:lnTo>
                    <a:pt x="224219" y="15811"/>
                  </a:lnTo>
                  <a:cubicBezTo>
                    <a:pt x="213551" y="5239"/>
                    <a:pt x="199739" y="0"/>
                    <a:pt x="185833" y="0"/>
                  </a:cubicBezTo>
                  <a:lnTo>
                    <a:pt x="185833" y="0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769D5653-D36C-B0C0-97CC-3789CC62BB6C}"/>
                </a:ext>
              </a:extLst>
            </p:cNvPr>
            <p:cNvSpPr/>
            <p:nvPr/>
          </p:nvSpPr>
          <p:spPr>
            <a:xfrm>
              <a:off x="9957622" y="6052323"/>
              <a:ext cx="377321" cy="333565"/>
            </a:xfrm>
            <a:custGeom>
              <a:avLst/>
              <a:gdLst>
                <a:gd name="connsiteX0" fmla="*/ 127957 w 377321"/>
                <a:gd name="connsiteY0" fmla="*/ 333566 h 333565"/>
                <a:gd name="connsiteX1" fmla="*/ 16038 w 377321"/>
                <a:gd name="connsiteY1" fmla="*/ 222313 h 333565"/>
                <a:gd name="connsiteX2" fmla="*/ 15752 w 377321"/>
                <a:gd name="connsiteY2" fmla="*/ 145542 h 333565"/>
                <a:gd name="connsiteX3" fmla="*/ 68902 w 377321"/>
                <a:gd name="connsiteY3" fmla="*/ 92011 h 333565"/>
                <a:gd name="connsiteX4" fmla="*/ 160342 w 377321"/>
                <a:gd name="connsiteY4" fmla="*/ 0 h 333565"/>
                <a:gd name="connsiteX5" fmla="*/ 268832 w 377321"/>
                <a:gd name="connsiteY5" fmla="*/ 107728 h 333565"/>
                <a:gd name="connsiteX6" fmla="*/ 377321 w 377321"/>
                <a:gd name="connsiteY6" fmla="*/ 215456 h 333565"/>
                <a:gd name="connsiteX7" fmla="*/ 258640 w 377321"/>
                <a:gd name="connsiteY7" fmla="*/ 333566 h 33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7321" h="333565">
                  <a:moveTo>
                    <a:pt x="127957" y="333566"/>
                  </a:moveTo>
                  <a:lnTo>
                    <a:pt x="16038" y="222313"/>
                  </a:lnTo>
                  <a:cubicBezTo>
                    <a:pt x="-5203" y="201168"/>
                    <a:pt x="-5393" y="166783"/>
                    <a:pt x="15752" y="145542"/>
                  </a:cubicBezTo>
                  <a:lnTo>
                    <a:pt x="68902" y="92011"/>
                  </a:lnTo>
                  <a:lnTo>
                    <a:pt x="160342" y="0"/>
                  </a:lnTo>
                  <a:lnTo>
                    <a:pt x="268832" y="107728"/>
                  </a:lnTo>
                  <a:lnTo>
                    <a:pt x="377321" y="215456"/>
                  </a:lnTo>
                  <a:lnTo>
                    <a:pt x="258640" y="333566"/>
                  </a:lnTo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17BF5173-58F2-9CC7-FC4A-27C316CB2F34}"/>
              </a:ext>
            </a:extLst>
          </p:cNvPr>
          <p:cNvSpPr txBox="1"/>
          <p:nvPr/>
        </p:nvSpPr>
        <p:spPr>
          <a:xfrm>
            <a:off x="7032241" y="5628083"/>
            <a:ext cx="45461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rase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0296FE0-542D-48D6-18AA-75B6DD7C01E2}"/>
              </a:ext>
            </a:extLst>
          </p:cNvPr>
          <p:cNvSpPr txBox="1"/>
          <p:nvPr/>
        </p:nvSpPr>
        <p:spPr>
          <a:xfrm>
            <a:off x="7012088" y="2974295"/>
            <a:ext cx="54864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end</a:t>
            </a: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72B0BA0D-FC55-B8B8-B91F-0FE6E4E1FE53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6997127" y="3357061"/>
            <a:ext cx="612648" cy="612648"/>
          </a:xfrm>
          <a:prstGeom prst="rect">
            <a:avLst/>
          </a:prstGeom>
        </p:spPr>
      </p:pic>
      <p:sp>
        <p:nvSpPr>
          <p:cNvPr id="67" name="Text Placeholder 81">
            <a:extLst>
              <a:ext uri="{FF2B5EF4-FFF2-40B4-BE49-F238E27FC236}">
                <a16:creationId xmlns:a16="http://schemas.microsoft.com/office/drawing/2014/main" id="{4424D37F-D8E0-FF13-9EC8-AB971A41FBCE}"/>
              </a:ext>
            </a:extLst>
          </p:cNvPr>
          <p:cNvSpPr txBox="1">
            <a:spLocks/>
          </p:cNvSpPr>
          <p:nvPr/>
        </p:nvSpPr>
        <p:spPr>
          <a:xfrm>
            <a:off x="3353874" y="2905045"/>
            <a:ext cx="133060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reate, Draw, Pencil, </a:t>
            </a:r>
            <a:br>
              <a:rPr lang="en-US" dirty="0"/>
            </a:br>
            <a:r>
              <a:rPr lang="en-US" dirty="0"/>
              <a:t>To Do, Pen, Edit</a:t>
            </a:r>
          </a:p>
        </p:txBody>
      </p:sp>
      <p:sp>
        <p:nvSpPr>
          <p:cNvPr id="68" name="Text Placeholder 81">
            <a:extLst>
              <a:ext uri="{FF2B5EF4-FFF2-40B4-BE49-F238E27FC236}">
                <a16:creationId xmlns:a16="http://schemas.microsoft.com/office/drawing/2014/main" id="{705866F8-2DDB-EDB0-AD6E-6EB4A3BC5924}"/>
              </a:ext>
            </a:extLst>
          </p:cNvPr>
          <p:cNvSpPr txBox="1">
            <a:spLocks/>
          </p:cNvSpPr>
          <p:nvPr/>
        </p:nvSpPr>
        <p:spPr>
          <a:xfrm>
            <a:off x="408107" y="4288262"/>
            <a:ext cx="201168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ightbulb, Innovative, Gear</a:t>
            </a:r>
          </a:p>
        </p:txBody>
      </p:sp>
      <p:sp>
        <p:nvSpPr>
          <p:cNvPr id="69" name="Text Placeholder 81">
            <a:extLst>
              <a:ext uri="{FF2B5EF4-FFF2-40B4-BE49-F238E27FC236}">
                <a16:creationId xmlns:a16="http://schemas.microsoft.com/office/drawing/2014/main" id="{3D90153D-F98F-7F27-6814-5D1E4EAA3E5C}"/>
              </a:ext>
            </a:extLst>
          </p:cNvPr>
          <p:cNvSpPr txBox="1">
            <a:spLocks/>
          </p:cNvSpPr>
          <p:nvPr/>
        </p:nvSpPr>
        <p:spPr>
          <a:xfrm>
            <a:off x="1434136" y="2974295"/>
            <a:ext cx="73152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alendar</a:t>
            </a:r>
          </a:p>
        </p:txBody>
      </p:sp>
      <p:sp>
        <p:nvSpPr>
          <p:cNvPr id="73" name="object 41">
            <a:extLst>
              <a:ext uri="{FF2B5EF4-FFF2-40B4-BE49-F238E27FC236}">
                <a16:creationId xmlns:a16="http://schemas.microsoft.com/office/drawing/2014/main" id="{79610E91-34CA-C748-F95A-F196DADBD4D1}"/>
              </a:ext>
            </a:extLst>
          </p:cNvPr>
          <p:cNvSpPr txBox="1"/>
          <p:nvPr/>
        </p:nvSpPr>
        <p:spPr>
          <a:xfrm>
            <a:off x="4786811" y="2905045"/>
            <a:ext cx="914399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I</a:t>
            </a:r>
            <a:r>
              <a:rPr dirty="0"/>
              <a:t>nnovation</a:t>
            </a:r>
            <a:r>
              <a:rPr lang="en-US" dirty="0"/>
              <a:t> </a:t>
            </a:r>
            <a:br>
              <a:rPr lang="en-US" dirty="0"/>
            </a:br>
            <a:r>
              <a:rPr dirty="0"/>
              <a:t>creativit</a:t>
            </a:r>
            <a:r>
              <a:rPr lang="en-US" dirty="0"/>
              <a:t>y</a:t>
            </a:r>
            <a:endParaRPr dirty="0"/>
          </a:p>
        </p:txBody>
      </p:sp>
      <p:sp>
        <p:nvSpPr>
          <p:cNvPr id="75" name="object 3">
            <a:extLst>
              <a:ext uri="{FF2B5EF4-FFF2-40B4-BE49-F238E27FC236}">
                <a16:creationId xmlns:a16="http://schemas.microsoft.com/office/drawing/2014/main" id="{20A9D3C1-0E78-AB99-D514-934C44F668A9}"/>
              </a:ext>
            </a:extLst>
          </p:cNvPr>
          <p:cNvSpPr txBox="1"/>
          <p:nvPr/>
        </p:nvSpPr>
        <p:spPr>
          <a:xfrm>
            <a:off x="258344" y="1602105"/>
            <a:ext cx="114681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Document</a:t>
            </a:r>
            <a:r>
              <a:rPr lang="en-US" dirty="0"/>
              <a:t> </a:t>
            </a:r>
            <a:br>
              <a:rPr lang="en-US" dirty="0"/>
            </a:br>
            <a:r>
              <a:rPr dirty="0"/>
              <a:t>Chec</a:t>
            </a:r>
            <a:r>
              <a:rPr lang="en-US" dirty="0"/>
              <a:t>k</a:t>
            </a:r>
            <a:endParaRPr dirty="0"/>
          </a:p>
        </p:txBody>
      </p:sp>
      <p:sp>
        <p:nvSpPr>
          <p:cNvPr id="77" name="Text Placeholder 81">
            <a:extLst>
              <a:ext uri="{FF2B5EF4-FFF2-40B4-BE49-F238E27FC236}">
                <a16:creationId xmlns:a16="http://schemas.microsoft.com/office/drawing/2014/main" id="{0885710C-AEA7-68C0-0262-4A8D5CE2468C}"/>
              </a:ext>
            </a:extLst>
          </p:cNvPr>
          <p:cNvSpPr txBox="1">
            <a:spLocks/>
          </p:cNvSpPr>
          <p:nvPr/>
        </p:nvSpPr>
        <p:spPr>
          <a:xfrm>
            <a:off x="10685932" y="4288262"/>
            <a:ext cx="67789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eorder </a:t>
            </a:r>
          </a:p>
        </p:txBody>
      </p:sp>
      <p:pic>
        <p:nvPicPr>
          <p:cNvPr id="78" name="Graphic 77">
            <a:extLst>
              <a:ext uri="{FF2B5EF4-FFF2-40B4-BE49-F238E27FC236}">
                <a16:creationId xmlns:a16="http://schemas.microsoft.com/office/drawing/2014/main" id="{A257EB19-9C4B-58F7-F6F0-54A7BE035BE6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0720080" y="4600818"/>
            <a:ext cx="609600" cy="60960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05B310F0-44BC-8F0D-6FA4-2B1EDE2AAE23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4057815" y="4600818"/>
            <a:ext cx="609600" cy="609600"/>
          </a:xfrm>
          <a:prstGeom prst="rect">
            <a:avLst/>
          </a:prstGeom>
        </p:spPr>
      </p:pic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20C7992-E29D-F8AB-978A-FD3A401681BD}"/>
              </a:ext>
            </a:extLst>
          </p:cNvPr>
          <p:cNvSpPr txBox="1">
            <a:spLocks/>
          </p:cNvSpPr>
          <p:nvPr/>
        </p:nvSpPr>
        <p:spPr>
          <a:xfrm>
            <a:off x="4035075" y="4288262"/>
            <a:ext cx="60480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hield</a:t>
            </a:r>
          </a:p>
        </p:txBody>
      </p:sp>
      <p:sp>
        <p:nvSpPr>
          <p:cNvPr id="86" name="object 15">
            <a:extLst>
              <a:ext uri="{FF2B5EF4-FFF2-40B4-BE49-F238E27FC236}">
                <a16:creationId xmlns:a16="http://schemas.microsoft.com/office/drawing/2014/main" id="{4BA3A9FD-16D5-F50D-33F4-FDF17AFBD695}"/>
              </a:ext>
            </a:extLst>
          </p:cNvPr>
          <p:cNvSpPr txBox="1"/>
          <p:nvPr/>
        </p:nvSpPr>
        <p:spPr>
          <a:xfrm>
            <a:off x="448624" y="2974295"/>
            <a:ext cx="54864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Event</a:t>
            </a:r>
          </a:p>
        </p:txBody>
      </p:sp>
      <p:sp>
        <p:nvSpPr>
          <p:cNvPr id="87" name="Text Placeholder 81">
            <a:extLst>
              <a:ext uri="{FF2B5EF4-FFF2-40B4-BE49-F238E27FC236}">
                <a16:creationId xmlns:a16="http://schemas.microsoft.com/office/drawing/2014/main" id="{626B13E9-D4F3-7BAF-3C63-07A43F36C0F3}"/>
              </a:ext>
            </a:extLst>
          </p:cNvPr>
          <p:cNvSpPr txBox="1">
            <a:spLocks/>
          </p:cNvSpPr>
          <p:nvPr/>
        </p:nvSpPr>
        <p:spPr>
          <a:xfrm>
            <a:off x="3187723" y="1602105"/>
            <a:ext cx="72462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apers,</a:t>
            </a:r>
            <a:br>
              <a:rPr lang="en-US" dirty="0"/>
            </a:br>
            <a:r>
              <a:rPr lang="en-US" dirty="0"/>
              <a:t>Documents</a:t>
            </a:r>
          </a:p>
        </p:txBody>
      </p:sp>
      <p:sp>
        <p:nvSpPr>
          <p:cNvPr id="88" name="object 29">
            <a:extLst>
              <a:ext uri="{FF2B5EF4-FFF2-40B4-BE49-F238E27FC236}">
                <a16:creationId xmlns:a16="http://schemas.microsoft.com/office/drawing/2014/main" id="{D6F63992-5FA4-943F-C626-E4DF3F936E90}"/>
              </a:ext>
            </a:extLst>
          </p:cNvPr>
          <p:cNvSpPr txBox="1"/>
          <p:nvPr/>
        </p:nvSpPr>
        <p:spPr>
          <a:xfrm>
            <a:off x="10939062" y="5628083"/>
            <a:ext cx="89135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Architectur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86A86915-0FBF-0E93-3D5E-B3635D0DF8C5}"/>
              </a:ext>
            </a:extLst>
          </p:cNvPr>
          <p:cNvSpPr/>
          <p:nvPr/>
        </p:nvSpPr>
        <p:spPr>
          <a:xfrm>
            <a:off x="502478" y="1190356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288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Office</a:t>
            </a: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F188FA76-53DA-B482-B4DD-315B6184FF6D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527961" y="1958959"/>
            <a:ext cx="575622" cy="73152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3EDE98B3-F668-85FA-E192-7EE192C669D2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3129411" y="1958959"/>
            <a:ext cx="573024" cy="73152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F3A9AB2A-A6F0-7B32-8235-ABD7AEA9AD75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0996811" y="2019919"/>
            <a:ext cx="609600" cy="609600"/>
          </a:xfrm>
          <a:prstGeom prst="rect">
            <a:avLst/>
          </a:prstGeom>
        </p:spPr>
      </p:pic>
      <p:pic>
        <p:nvPicPr>
          <p:cNvPr id="93" name="Graphic 92">
            <a:extLst>
              <a:ext uri="{FF2B5EF4-FFF2-40B4-BE49-F238E27FC236}">
                <a16:creationId xmlns:a16="http://schemas.microsoft.com/office/drawing/2014/main" id="{F654E80B-EE69-18F2-6D34-973322FD79EF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417948" y="3396685"/>
            <a:ext cx="609600" cy="533400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23883B62-CD25-477A-89D6-47F1B48BEC44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470076" y="3358585"/>
            <a:ext cx="609600" cy="609600"/>
          </a:xfrm>
          <a:prstGeom prst="rect">
            <a:avLst/>
          </a:prstGeom>
        </p:spPr>
      </p:pic>
      <p:pic>
        <p:nvPicPr>
          <p:cNvPr id="95" name="Graphic 94">
            <a:extLst>
              <a:ext uri="{FF2B5EF4-FFF2-40B4-BE49-F238E27FC236}">
                <a16:creationId xmlns:a16="http://schemas.microsoft.com/office/drawing/2014/main" id="{6DAC083E-E990-0BFC-B314-79A5C43C9159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3739432" y="3358585"/>
            <a:ext cx="609600" cy="609600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6E6730E4-38C0-1049-3FDE-1510B86034E4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5934512" y="4600818"/>
            <a:ext cx="609600" cy="60960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BAAD1F8C-3A05-2315-5BCF-C2E8CBA861E1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11079939" y="5900280"/>
            <a:ext cx="609600" cy="609600"/>
          </a:xfrm>
          <a:prstGeom prst="rect">
            <a:avLst/>
          </a:prstGeom>
        </p:spPr>
      </p:pic>
      <p:sp>
        <p:nvSpPr>
          <p:cNvPr id="52" name="Text Placeholder 81">
            <a:extLst>
              <a:ext uri="{FF2B5EF4-FFF2-40B4-BE49-F238E27FC236}">
                <a16:creationId xmlns:a16="http://schemas.microsoft.com/office/drawing/2014/main" id="{1463C4BE-6D37-FCC6-EA95-90FB00FA75A8}"/>
              </a:ext>
            </a:extLst>
          </p:cNvPr>
          <p:cNvSpPr txBox="1">
            <a:spLocks/>
          </p:cNvSpPr>
          <p:nvPr/>
        </p:nvSpPr>
        <p:spPr>
          <a:xfrm>
            <a:off x="2546776" y="2974295"/>
            <a:ext cx="54864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lan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FD606939-0BED-1AE2-F9C6-E3B7CA31BC07}"/>
              </a:ext>
            </a:extLst>
          </p:cNvPr>
          <p:cNvGrpSpPr/>
          <p:nvPr/>
        </p:nvGrpSpPr>
        <p:grpSpPr>
          <a:xfrm>
            <a:off x="4936523" y="3276423"/>
            <a:ext cx="610552" cy="773924"/>
            <a:chOff x="4613148" y="3342704"/>
            <a:chExt cx="610552" cy="773924"/>
          </a:xfrm>
        </p:grpSpPr>
        <p:pic>
          <p:nvPicPr>
            <p:cNvPr id="122" name="Graphic 121">
              <a:extLst>
                <a:ext uri="{FF2B5EF4-FFF2-40B4-BE49-F238E27FC236}">
                  <a16:creationId xmlns:a16="http://schemas.microsoft.com/office/drawing/2014/main" id="{31BB213A-A2CF-B187-D97E-74EAAA1714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767549" y="3814876"/>
              <a:ext cx="301752" cy="301752"/>
            </a:xfrm>
            <a:prstGeom prst="rect">
              <a:avLst/>
            </a:prstGeom>
          </p:spPr>
        </p:pic>
        <p:grpSp>
          <p:nvGrpSpPr>
            <p:cNvPr id="109" name="Graphic 95">
              <a:extLst>
                <a:ext uri="{FF2B5EF4-FFF2-40B4-BE49-F238E27FC236}">
                  <a16:creationId xmlns:a16="http://schemas.microsoft.com/office/drawing/2014/main" id="{A283173F-25E2-7615-8CFC-B5AE5A418BD9}"/>
                </a:ext>
              </a:extLst>
            </p:cNvPr>
            <p:cNvGrpSpPr/>
            <p:nvPr/>
          </p:nvGrpSpPr>
          <p:grpSpPr>
            <a:xfrm>
              <a:off x="4754119" y="3343885"/>
              <a:ext cx="468391" cy="464583"/>
              <a:chOff x="5104950" y="3321663"/>
              <a:chExt cx="468391" cy="464583"/>
            </a:xfrm>
            <a:solidFill>
              <a:srgbClr val="3D4647"/>
            </a:solidFill>
          </p:grpSpPr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EDE3FA0A-633A-6B77-45E8-896BB6E23BD2}"/>
                  </a:ext>
                </a:extLst>
              </p:cNvPr>
              <p:cNvSpPr/>
              <p:nvPr/>
            </p:nvSpPr>
            <p:spPr>
              <a:xfrm>
                <a:off x="5104950" y="3383780"/>
                <a:ext cx="405765" cy="402466"/>
              </a:xfrm>
              <a:custGeom>
                <a:avLst/>
                <a:gdLst>
                  <a:gd name="connsiteX0" fmla="*/ 45720 w 405765"/>
                  <a:gd name="connsiteY0" fmla="*/ 255084 h 402466"/>
                  <a:gd name="connsiteX1" fmla="*/ 0 w 405765"/>
                  <a:gd name="connsiteY1" fmla="*/ 402466 h 402466"/>
                  <a:gd name="connsiteX2" fmla="*/ 148590 w 405765"/>
                  <a:gd name="connsiteY2" fmla="*/ 357118 h 402466"/>
                  <a:gd name="connsiteX3" fmla="*/ 400050 w 405765"/>
                  <a:gd name="connsiteY3" fmla="*/ 107702 h 402466"/>
                  <a:gd name="connsiteX4" fmla="*/ 400050 w 405765"/>
                  <a:gd name="connsiteY4" fmla="*/ 107702 h 402466"/>
                  <a:gd name="connsiteX5" fmla="*/ 401003 w 405765"/>
                  <a:gd name="connsiteY5" fmla="*/ 106757 h 402466"/>
                  <a:gd name="connsiteX6" fmla="*/ 401003 w 405765"/>
                  <a:gd name="connsiteY6" fmla="*/ 106757 h 402466"/>
                  <a:gd name="connsiteX7" fmla="*/ 405765 w 405765"/>
                  <a:gd name="connsiteY7" fmla="*/ 102034 h 402466"/>
                  <a:gd name="connsiteX8" fmla="*/ 302895 w 405765"/>
                  <a:gd name="connsiteY8" fmla="*/ 0 h 402466"/>
                  <a:gd name="connsiteX9" fmla="*/ 45720 w 405765"/>
                  <a:gd name="connsiteY9" fmla="*/ 255084 h 402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5765" h="402466">
                    <a:moveTo>
                      <a:pt x="45720" y="255084"/>
                    </a:moveTo>
                    <a:cubicBezTo>
                      <a:pt x="44768" y="256029"/>
                      <a:pt x="0" y="402466"/>
                      <a:pt x="0" y="402466"/>
                    </a:cubicBezTo>
                    <a:cubicBezTo>
                      <a:pt x="0" y="402466"/>
                      <a:pt x="147637" y="357118"/>
                      <a:pt x="148590" y="357118"/>
                    </a:cubicBezTo>
                    <a:lnTo>
                      <a:pt x="400050" y="107702"/>
                    </a:lnTo>
                    <a:lnTo>
                      <a:pt x="400050" y="107702"/>
                    </a:lnTo>
                    <a:lnTo>
                      <a:pt x="401003" y="106757"/>
                    </a:lnTo>
                    <a:lnTo>
                      <a:pt x="401003" y="106757"/>
                    </a:lnTo>
                    <a:lnTo>
                      <a:pt x="405765" y="102034"/>
                    </a:lnTo>
                    <a:lnTo>
                      <a:pt x="302895" y="0"/>
                    </a:lnTo>
                    <a:lnTo>
                      <a:pt x="45720" y="255084"/>
                    </a:lnTo>
                    <a:close/>
                  </a:path>
                </a:pathLst>
              </a:custGeom>
              <a:solidFill>
                <a:srgbClr val="3D46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9570B18E-FFF7-06E1-EE68-4BADDB0DFA31}"/>
                  </a:ext>
                </a:extLst>
              </p:cNvPr>
              <p:cNvSpPr/>
              <p:nvPr/>
            </p:nvSpPr>
            <p:spPr>
              <a:xfrm>
                <a:off x="5434515" y="3321663"/>
                <a:ext cx="138826" cy="137698"/>
              </a:xfrm>
              <a:custGeom>
                <a:avLst/>
                <a:gdLst>
                  <a:gd name="connsiteX0" fmla="*/ 132397 w 138826"/>
                  <a:gd name="connsiteY0" fmla="*/ 76289 h 137698"/>
                  <a:gd name="connsiteX1" fmla="*/ 61913 w 138826"/>
                  <a:gd name="connsiteY1" fmla="*/ 6377 h 137698"/>
                  <a:gd name="connsiteX2" fmla="*/ 29527 w 138826"/>
                  <a:gd name="connsiteY2" fmla="*/ 6377 h 137698"/>
                  <a:gd name="connsiteX3" fmla="*/ 8572 w 138826"/>
                  <a:gd name="connsiteY3" fmla="*/ 27162 h 137698"/>
                  <a:gd name="connsiteX4" fmla="*/ 8572 w 138826"/>
                  <a:gd name="connsiteY4" fmla="*/ 27162 h 137698"/>
                  <a:gd name="connsiteX5" fmla="*/ 0 w 138826"/>
                  <a:gd name="connsiteY5" fmla="*/ 35665 h 137698"/>
                  <a:gd name="connsiteX6" fmla="*/ 102870 w 138826"/>
                  <a:gd name="connsiteY6" fmla="*/ 137698 h 137698"/>
                  <a:gd name="connsiteX7" fmla="*/ 132397 w 138826"/>
                  <a:gd name="connsiteY7" fmla="*/ 108411 h 137698"/>
                  <a:gd name="connsiteX8" fmla="*/ 132397 w 138826"/>
                  <a:gd name="connsiteY8" fmla="*/ 76289 h 137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826" h="137698">
                    <a:moveTo>
                      <a:pt x="132397" y="76289"/>
                    </a:moveTo>
                    <a:lnTo>
                      <a:pt x="61913" y="6377"/>
                    </a:lnTo>
                    <a:cubicBezTo>
                      <a:pt x="53340" y="-2126"/>
                      <a:pt x="38100" y="-2126"/>
                      <a:pt x="29527" y="6377"/>
                    </a:cubicBezTo>
                    <a:lnTo>
                      <a:pt x="8572" y="27162"/>
                    </a:lnTo>
                    <a:lnTo>
                      <a:pt x="8572" y="27162"/>
                    </a:lnTo>
                    <a:lnTo>
                      <a:pt x="0" y="35665"/>
                    </a:lnTo>
                    <a:lnTo>
                      <a:pt x="102870" y="137698"/>
                    </a:lnTo>
                    <a:lnTo>
                      <a:pt x="132397" y="108411"/>
                    </a:lnTo>
                    <a:cubicBezTo>
                      <a:pt x="140970" y="99908"/>
                      <a:pt x="140970" y="84792"/>
                      <a:pt x="132397" y="76289"/>
                    </a:cubicBezTo>
                    <a:close/>
                  </a:path>
                </a:pathLst>
              </a:custGeom>
              <a:solidFill>
                <a:srgbClr val="3D46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796308D-87CA-1814-FBBA-2F21E218AE0F}"/>
                </a:ext>
              </a:extLst>
            </p:cNvPr>
            <p:cNvSpPr/>
            <p:nvPr/>
          </p:nvSpPr>
          <p:spPr>
            <a:xfrm>
              <a:off x="4613148" y="3342704"/>
              <a:ext cx="610552" cy="607478"/>
            </a:xfrm>
            <a:custGeom>
              <a:avLst/>
              <a:gdLst>
                <a:gd name="connsiteX0" fmla="*/ 533399 w 610552"/>
                <a:gd name="connsiteY0" fmla="*/ 348615 h 607478"/>
                <a:gd name="connsiteX1" fmla="*/ 610552 w 610552"/>
                <a:gd name="connsiteY1" fmla="*/ 348615 h 607478"/>
                <a:gd name="connsiteX2" fmla="*/ 610552 w 610552"/>
                <a:gd name="connsiteY2" fmla="*/ 607478 h 607478"/>
                <a:gd name="connsiteX3" fmla="*/ 431482 w 610552"/>
                <a:gd name="connsiteY3" fmla="*/ 607478 h 607478"/>
                <a:gd name="connsiteX4" fmla="*/ 431482 w 610552"/>
                <a:gd name="connsiteY4" fmla="*/ 605589 h 607478"/>
                <a:gd name="connsiteX5" fmla="*/ 435292 w 610552"/>
                <a:gd name="connsiteY5" fmla="*/ 577246 h 607478"/>
                <a:gd name="connsiteX6" fmla="*/ 435292 w 610552"/>
                <a:gd name="connsiteY6" fmla="*/ 575356 h 607478"/>
                <a:gd name="connsiteX7" fmla="*/ 435292 w 610552"/>
                <a:gd name="connsiteY7" fmla="*/ 573467 h 607478"/>
                <a:gd name="connsiteX8" fmla="*/ 427672 w 610552"/>
                <a:gd name="connsiteY8" fmla="*/ 530953 h 607478"/>
                <a:gd name="connsiteX9" fmla="*/ 533399 w 610552"/>
                <a:gd name="connsiteY9" fmla="*/ 530953 h 607478"/>
                <a:gd name="connsiteX10" fmla="*/ 0 w 610552"/>
                <a:gd name="connsiteY10" fmla="*/ 0 h 607478"/>
                <a:gd name="connsiteX11" fmla="*/ 953 w 610552"/>
                <a:gd name="connsiteY11" fmla="*/ 0 h 607478"/>
                <a:gd name="connsiteX12" fmla="*/ 122833 w 610552"/>
                <a:gd name="connsiteY12" fmla="*/ 0 h 607478"/>
                <a:gd name="connsiteX13" fmla="*/ 150495 w 610552"/>
                <a:gd name="connsiteY13" fmla="*/ 0 h 607478"/>
                <a:gd name="connsiteX14" fmla="*/ 268406 w 610552"/>
                <a:gd name="connsiteY14" fmla="*/ 0 h 607478"/>
                <a:gd name="connsiteX15" fmla="*/ 268406 w 610552"/>
                <a:gd name="connsiteY15" fmla="*/ 77534 h 607478"/>
                <a:gd name="connsiteX16" fmla="*/ 122833 w 610552"/>
                <a:gd name="connsiteY16" fmla="*/ 77534 h 607478"/>
                <a:gd name="connsiteX17" fmla="*/ 122833 w 610552"/>
                <a:gd name="connsiteY17" fmla="*/ 76525 h 607478"/>
                <a:gd name="connsiteX18" fmla="*/ 76200 w 610552"/>
                <a:gd name="connsiteY18" fmla="*/ 76525 h 607478"/>
                <a:gd name="connsiteX19" fmla="*/ 76200 w 610552"/>
                <a:gd name="connsiteY19" fmla="*/ 530953 h 607478"/>
                <a:gd name="connsiteX20" fmla="*/ 182880 w 610552"/>
                <a:gd name="connsiteY20" fmla="*/ 530953 h 607478"/>
                <a:gd name="connsiteX21" fmla="*/ 175260 w 610552"/>
                <a:gd name="connsiteY21" fmla="*/ 573467 h 607478"/>
                <a:gd name="connsiteX22" fmla="*/ 175260 w 610552"/>
                <a:gd name="connsiteY22" fmla="*/ 575356 h 607478"/>
                <a:gd name="connsiteX23" fmla="*/ 175260 w 610552"/>
                <a:gd name="connsiteY23" fmla="*/ 577246 h 607478"/>
                <a:gd name="connsiteX24" fmla="*/ 179070 w 610552"/>
                <a:gd name="connsiteY24" fmla="*/ 605589 h 607478"/>
                <a:gd name="connsiteX25" fmla="*/ 953 w 610552"/>
                <a:gd name="connsiteY25" fmla="*/ 605589 h 607478"/>
                <a:gd name="connsiteX26" fmla="*/ 0 w 610552"/>
                <a:gd name="connsiteY26" fmla="*/ 605589 h 607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0552" h="607478">
                  <a:moveTo>
                    <a:pt x="533399" y="348615"/>
                  </a:moveTo>
                  <a:lnTo>
                    <a:pt x="610552" y="348615"/>
                  </a:lnTo>
                  <a:lnTo>
                    <a:pt x="610552" y="607478"/>
                  </a:lnTo>
                  <a:lnTo>
                    <a:pt x="431482" y="607478"/>
                  </a:lnTo>
                  <a:cubicBezTo>
                    <a:pt x="431482" y="606533"/>
                    <a:pt x="431482" y="606533"/>
                    <a:pt x="431482" y="605589"/>
                  </a:cubicBezTo>
                  <a:cubicBezTo>
                    <a:pt x="434339" y="596141"/>
                    <a:pt x="435292" y="586694"/>
                    <a:pt x="435292" y="577246"/>
                  </a:cubicBezTo>
                  <a:lnTo>
                    <a:pt x="435292" y="575356"/>
                  </a:lnTo>
                  <a:lnTo>
                    <a:pt x="435292" y="573467"/>
                  </a:lnTo>
                  <a:cubicBezTo>
                    <a:pt x="435292" y="558351"/>
                    <a:pt x="432435" y="544180"/>
                    <a:pt x="427672" y="530953"/>
                  </a:cubicBezTo>
                  <a:lnTo>
                    <a:pt x="533399" y="530953"/>
                  </a:lnTo>
                  <a:close/>
                  <a:moveTo>
                    <a:pt x="0" y="0"/>
                  </a:moveTo>
                  <a:lnTo>
                    <a:pt x="953" y="0"/>
                  </a:lnTo>
                  <a:lnTo>
                    <a:pt x="122833" y="0"/>
                  </a:lnTo>
                  <a:lnTo>
                    <a:pt x="150495" y="0"/>
                  </a:lnTo>
                  <a:lnTo>
                    <a:pt x="268406" y="0"/>
                  </a:lnTo>
                  <a:lnTo>
                    <a:pt x="268406" y="77534"/>
                  </a:lnTo>
                  <a:lnTo>
                    <a:pt x="122833" y="77534"/>
                  </a:lnTo>
                  <a:lnTo>
                    <a:pt x="122833" y="76525"/>
                  </a:lnTo>
                  <a:lnTo>
                    <a:pt x="76200" y="76525"/>
                  </a:lnTo>
                  <a:lnTo>
                    <a:pt x="76200" y="530953"/>
                  </a:lnTo>
                  <a:lnTo>
                    <a:pt x="182880" y="530953"/>
                  </a:lnTo>
                  <a:cubicBezTo>
                    <a:pt x="178118" y="544180"/>
                    <a:pt x="175260" y="558351"/>
                    <a:pt x="175260" y="573467"/>
                  </a:cubicBezTo>
                  <a:lnTo>
                    <a:pt x="175260" y="575356"/>
                  </a:lnTo>
                  <a:lnTo>
                    <a:pt x="175260" y="577246"/>
                  </a:lnTo>
                  <a:cubicBezTo>
                    <a:pt x="175260" y="586694"/>
                    <a:pt x="176213" y="596141"/>
                    <a:pt x="179070" y="605589"/>
                  </a:cubicBezTo>
                  <a:lnTo>
                    <a:pt x="953" y="605589"/>
                  </a:lnTo>
                  <a:lnTo>
                    <a:pt x="0" y="60558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  <p:pic>
        <p:nvPicPr>
          <p:cNvPr id="101" name="Graphic 100">
            <a:extLst>
              <a:ext uri="{FF2B5EF4-FFF2-40B4-BE49-F238E27FC236}">
                <a16:creationId xmlns:a16="http://schemas.microsoft.com/office/drawing/2014/main" id="{8B5AC048-F3D5-1267-E37D-BCAC39607EE0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9004072" y="3358585"/>
            <a:ext cx="609600" cy="60960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1EB860EF-149B-B824-9EC8-78B2B6923485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2522204" y="3358585"/>
            <a:ext cx="774700" cy="6096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2E1DA60F-1834-536C-58F5-80473828BFFC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1097093" y="4575418"/>
            <a:ext cx="609600" cy="660400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51845B6F-69E3-47BB-6E0B-4C20CA0D0D9B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1910534" y="4600818"/>
            <a:ext cx="419100" cy="6096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ACAFD03F-1404-0A2E-0B83-AADBDE0192DD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7959717" y="5900280"/>
            <a:ext cx="609600" cy="609600"/>
          </a:xfrm>
          <a:prstGeom prst="rect">
            <a:avLst/>
          </a:prstGeom>
        </p:spPr>
      </p:pic>
      <p:sp>
        <p:nvSpPr>
          <p:cNvPr id="27" name="object 17">
            <a:extLst>
              <a:ext uri="{FF2B5EF4-FFF2-40B4-BE49-F238E27FC236}">
                <a16:creationId xmlns:a16="http://schemas.microsoft.com/office/drawing/2014/main" id="{6D87577D-EEE6-3667-506A-A6AEE35F15F0}"/>
              </a:ext>
            </a:extLst>
          </p:cNvPr>
          <p:cNvSpPr txBox="1"/>
          <p:nvPr/>
        </p:nvSpPr>
        <p:spPr>
          <a:xfrm>
            <a:off x="4767297" y="4288262"/>
            <a:ext cx="863684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Report</a:t>
            </a:r>
          </a:p>
        </p:txBody>
      </p:sp>
      <p:sp>
        <p:nvSpPr>
          <p:cNvPr id="60" name="Text Placeholder 81">
            <a:extLst>
              <a:ext uri="{FF2B5EF4-FFF2-40B4-BE49-F238E27FC236}">
                <a16:creationId xmlns:a16="http://schemas.microsoft.com/office/drawing/2014/main" id="{C8104269-D649-95CA-8666-959A32ACFCDD}"/>
              </a:ext>
            </a:extLst>
          </p:cNvPr>
          <p:cNvSpPr txBox="1">
            <a:spLocks/>
          </p:cNvSpPr>
          <p:nvPr/>
        </p:nvSpPr>
        <p:spPr>
          <a:xfrm>
            <a:off x="2222758" y="1671355"/>
            <a:ext cx="724621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3D Doc</a:t>
            </a:r>
          </a:p>
        </p:txBody>
      </p:sp>
      <p:sp>
        <p:nvSpPr>
          <p:cNvPr id="70" name="object 17">
            <a:extLst>
              <a:ext uri="{FF2B5EF4-FFF2-40B4-BE49-F238E27FC236}">
                <a16:creationId xmlns:a16="http://schemas.microsoft.com/office/drawing/2014/main" id="{83C0FE43-F250-E361-8B0D-3E1058C31C48}"/>
              </a:ext>
            </a:extLst>
          </p:cNvPr>
          <p:cNvSpPr txBox="1"/>
          <p:nvPr/>
        </p:nvSpPr>
        <p:spPr>
          <a:xfrm>
            <a:off x="11346321" y="4288262"/>
            <a:ext cx="84568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adge</a:t>
            </a:r>
            <a:endParaRPr dirty="0"/>
          </a:p>
        </p:txBody>
      </p:sp>
      <p:sp>
        <p:nvSpPr>
          <p:cNvPr id="72" name="object 17">
            <a:extLst>
              <a:ext uri="{FF2B5EF4-FFF2-40B4-BE49-F238E27FC236}">
                <a16:creationId xmlns:a16="http://schemas.microsoft.com/office/drawing/2014/main" id="{69C9784B-6B27-179A-CB84-DE349D10003D}"/>
              </a:ext>
            </a:extLst>
          </p:cNvPr>
          <p:cNvSpPr txBox="1"/>
          <p:nvPr/>
        </p:nvSpPr>
        <p:spPr>
          <a:xfrm>
            <a:off x="8701831" y="5628083"/>
            <a:ext cx="12795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dit, Pencil, Pen</a:t>
            </a:r>
          </a:p>
        </p:txBody>
      </p:sp>
      <p:pic>
        <p:nvPicPr>
          <p:cNvPr id="79" name="Graphic 78">
            <a:extLst>
              <a:ext uri="{FF2B5EF4-FFF2-40B4-BE49-F238E27FC236}">
                <a16:creationId xmlns:a16="http://schemas.microsoft.com/office/drawing/2014/main" id="{17791B4D-8CF6-0CDA-1D51-36BA3BDA00F1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8"/>
              </a:ext>
            </a:extLst>
          </a:blip>
          <a:stretch>
            <a:fillRect/>
          </a:stretch>
        </p:blipFill>
        <p:spPr>
          <a:xfrm>
            <a:off x="11461207" y="4600818"/>
            <a:ext cx="609600" cy="60960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CB8C9957-7D96-6B9E-7629-D25643C7BD64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8947837" y="590028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462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Graphic 108">
            <a:extLst>
              <a:ext uri="{FF2B5EF4-FFF2-40B4-BE49-F238E27FC236}">
                <a16:creationId xmlns:a16="http://schemas.microsoft.com/office/drawing/2014/main" id="{9867AD9A-698C-D032-16D4-C6B707648D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21514" y="4294497"/>
            <a:ext cx="781050" cy="781050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FBAED561-281E-E4A6-D52F-F9CB0424A1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45703" y="3112056"/>
            <a:ext cx="609600" cy="609600"/>
          </a:xfrm>
          <a:prstGeom prst="rect">
            <a:avLst/>
          </a:prstGeom>
        </p:spPr>
      </p:pic>
      <p:sp>
        <p:nvSpPr>
          <p:cNvPr id="1076" name="Rectangle 1075">
            <a:extLst>
              <a:ext uri="{FF2B5EF4-FFF2-40B4-BE49-F238E27FC236}">
                <a16:creationId xmlns:a16="http://schemas.microsoft.com/office/drawing/2014/main" id="{B5A99E66-C9D4-CCE6-61A8-8AEF863263E8}"/>
              </a:ext>
            </a:extLst>
          </p:cNvPr>
          <p:cNvSpPr/>
          <p:nvPr/>
        </p:nvSpPr>
        <p:spPr>
          <a:xfrm>
            <a:off x="386504" y="5389560"/>
            <a:ext cx="7096926" cy="1214645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A4568F-F54D-2FC9-53A3-D74DAC414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Icon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E9FB086-35E2-0B4F-14DA-A8E2AEA724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70477" y="2093502"/>
            <a:ext cx="778965" cy="292112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8BA5BC6-6E33-341A-BC5E-53E69653F87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3691" y="1934758"/>
            <a:ext cx="609600" cy="6096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12C4D7F8-4CEE-046E-13E5-66AEB41ED4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855510" y="3112056"/>
            <a:ext cx="609600" cy="6096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45760335-6FCE-1C0A-DAC0-B3DD1EFA072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503174" y="3112056"/>
            <a:ext cx="1228725" cy="6096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D2BD2D1C-D7C1-FD0C-CB67-F9A0B0B3C60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18853" y="3112056"/>
            <a:ext cx="609600" cy="60960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7FE8EFB7-9B08-B2E9-64E2-E003D83E293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136940" y="3112056"/>
            <a:ext cx="609600" cy="6096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27E746D-C5D7-8E13-F8F6-C51515B1AC00}"/>
              </a:ext>
            </a:extLst>
          </p:cNvPr>
          <p:cNvSpPr txBox="1"/>
          <p:nvPr/>
        </p:nvSpPr>
        <p:spPr>
          <a:xfrm>
            <a:off x="3803560" y="2864627"/>
            <a:ext cx="59727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ocktai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0441713-1375-30A8-3C3C-C669EFBB9A1A}"/>
              </a:ext>
            </a:extLst>
          </p:cNvPr>
          <p:cNvSpPr txBox="1"/>
          <p:nvPr/>
        </p:nvSpPr>
        <p:spPr>
          <a:xfrm>
            <a:off x="1592251" y="2864627"/>
            <a:ext cx="1917264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utlery,  Social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CBBF29E3-74CF-69CA-35EF-065E18522E1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369405" y="3112056"/>
            <a:ext cx="609600" cy="60960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EE70D13-0474-35ED-E81F-B9973D840C68}"/>
              </a:ext>
            </a:extLst>
          </p:cNvPr>
          <p:cNvSpPr txBox="1"/>
          <p:nvPr/>
        </p:nvSpPr>
        <p:spPr>
          <a:xfrm>
            <a:off x="8430882" y="2864627"/>
            <a:ext cx="37125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Fries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C62DF58-E476-313E-930C-59AAABFD60E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242957" y="3112056"/>
            <a:ext cx="609600" cy="6096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B457E0AA-E20B-FA9F-742C-50628775F2F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629593" y="3112056"/>
            <a:ext cx="609600" cy="6096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F1691CD5-8178-7882-8BCA-570D5AFBDCC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306181" y="3112056"/>
            <a:ext cx="609600" cy="6096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603252C0-524D-6DA3-B010-E97D96C6518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954187" y="3112056"/>
            <a:ext cx="609600" cy="6096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4ACE5CE7-3458-0AE4-E6F3-73451F663C8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7432629" y="3112056"/>
            <a:ext cx="609600" cy="609600"/>
          </a:xfrm>
          <a:prstGeom prst="rect">
            <a:avLst/>
          </a:prstGeom>
        </p:spPr>
      </p:pic>
      <p:sp>
        <p:nvSpPr>
          <p:cNvPr id="65" name="Text Placeholder 81">
            <a:extLst>
              <a:ext uri="{FF2B5EF4-FFF2-40B4-BE49-F238E27FC236}">
                <a16:creationId xmlns:a16="http://schemas.microsoft.com/office/drawing/2014/main" id="{1A1E8866-848B-CDE0-7454-D79C4EC1997A}"/>
              </a:ext>
            </a:extLst>
          </p:cNvPr>
          <p:cNvSpPr txBox="1">
            <a:spLocks/>
          </p:cNvSpPr>
          <p:nvPr/>
        </p:nvSpPr>
        <p:spPr>
          <a:xfrm>
            <a:off x="257051" y="2864627"/>
            <a:ext cx="1302153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elebration  </a:t>
            </a:r>
          </a:p>
        </p:txBody>
      </p:sp>
      <p:sp>
        <p:nvSpPr>
          <p:cNvPr id="66" name="Text Placeholder 81">
            <a:extLst>
              <a:ext uri="{FF2B5EF4-FFF2-40B4-BE49-F238E27FC236}">
                <a16:creationId xmlns:a16="http://schemas.microsoft.com/office/drawing/2014/main" id="{5F38C534-C007-9614-BAB4-71577D90EFBA}"/>
              </a:ext>
            </a:extLst>
          </p:cNvPr>
          <p:cNvSpPr txBox="1">
            <a:spLocks/>
          </p:cNvSpPr>
          <p:nvPr/>
        </p:nvSpPr>
        <p:spPr>
          <a:xfrm>
            <a:off x="5559077" y="2864627"/>
            <a:ext cx="1469376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00" dirty="0"/>
              <a:t>Coffee Cup, Break  </a:t>
            </a:r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id="{CE4FF6B2-619A-3634-C729-9B67F3707169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03327" y="3112056"/>
            <a:ext cx="609600" cy="609600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1DAD99F3-3C52-95D6-6ADB-D4D2E713B2E0}"/>
              </a:ext>
            </a:extLst>
          </p:cNvPr>
          <p:cNvSpPr txBox="1"/>
          <p:nvPr/>
        </p:nvSpPr>
        <p:spPr>
          <a:xfrm>
            <a:off x="4620122" y="2864627"/>
            <a:ext cx="59727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Wine 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0AE7715-0EE7-DB84-0E32-71E925F1BD19}"/>
              </a:ext>
            </a:extLst>
          </p:cNvPr>
          <p:cNvSpPr txBox="1"/>
          <p:nvPr/>
        </p:nvSpPr>
        <p:spPr>
          <a:xfrm>
            <a:off x="9906665" y="2864627"/>
            <a:ext cx="124428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Headphones 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6E5517D-31B5-4BEC-61B6-83AD4A145113}"/>
              </a:ext>
            </a:extLst>
          </p:cNvPr>
          <p:cNvSpPr txBox="1"/>
          <p:nvPr/>
        </p:nvSpPr>
        <p:spPr>
          <a:xfrm>
            <a:off x="4496552" y="1647423"/>
            <a:ext cx="82296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ackpack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0DD37D3-793D-372A-C2D2-102CCFFB5916}"/>
              </a:ext>
            </a:extLst>
          </p:cNvPr>
          <p:cNvSpPr txBox="1"/>
          <p:nvPr/>
        </p:nvSpPr>
        <p:spPr>
          <a:xfrm>
            <a:off x="3165237" y="1650910"/>
            <a:ext cx="82296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Graduation Cap </a:t>
            </a:r>
          </a:p>
        </p:txBody>
      </p:sp>
      <p:sp>
        <p:nvSpPr>
          <p:cNvPr id="74" name="Text Placeholder 81">
            <a:extLst>
              <a:ext uri="{FF2B5EF4-FFF2-40B4-BE49-F238E27FC236}">
                <a16:creationId xmlns:a16="http://schemas.microsoft.com/office/drawing/2014/main" id="{EC2FC9D6-563C-C0DA-FBA6-FA352B0E43DC}"/>
              </a:ext>
            </a:extLst>
          </p:cNvPr>
          <p:cNvSpPr txBox="1">
            <a:spLocks/>
          </p:cNvSpPr>
          <p:nvPr/>
        </p:nvSpPr>
        <p:spPr>
          <a:xfrm>
            <a:off x="7454441" y="2864627"/>
            <a:ext cx="520454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rink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29AC55F-0B08-4814-61E9-2F54F633C4F9}"/>
              </a:ext>
            </a:extLst>
          </p:cNvPr>
          <p:cNvSpPr txBox="1"/>
          <p:nvPr/>
        </p:nvSpPr>
        <p:spPr>
          <a:xfrm>
            <a:off x="9195093" y="2864627"/>
            <a:ext cx="83638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Hamburger </a:t>
            </a:r>
          </a:p>
        </p:txBody>
      </p:sp>
      <p:sp>
        <p:nvSpPr>
          <p:cNvPr id="76" name="Text Placeholder 81">
            <a:extLst>
              <a:ext uri="{FF2B5EF4-FFF2-40B4-BE49-F238E27FC236}">
                <a16:creationId xmlns:a16="http://schemas.microsoft.com/office/drawing/2014/main" id="{2B43121B-8374-A742-61EE-F174245A2620}"/>
              </a:ext>
            </a:extLst>
          </p:cNvPr>
          <p:cNvSpPr txBox="1">
            <a:spLocks/>
          </p:cNvSpPr>
          <p:nvPr/>
        </p:nvSpPr>
        <p:spPr>
          <a:xfrm>
            <a:off x="10916754" y="2864627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umbbells </a:t>
            </a:r>
          </a:p>
        </p:txBody>
      </p:sp>
      <p:sp>
        <p:nvSpPr>
          <p:cNvPr id="77" name="Text Placeholder 81">
            <a:extLst>
              <a:ext uri="{FF2B5EF4-FFF2-40B4-BE49-F238E27FC236}">
                <a16:creationId xmlns:a16="http://schemas.microsoft.com/office/drawing/2014/main" id="{D870ACB1-A99E-FF27-1C06-B2A9DE33D197}"/>
              </a:ext>
            </a:extLst>
          </p:cNvPr>
          <p:cNvSpPr txBox="1">
            <a:spLocks/>
          </p:cNvSpPr>
          <p:nvPr/>
        </p:nvSpPr>
        <p:spPr>
          <a:xfrm>
            <a:off x="9495371" y="1647423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Heart, Favorite</a:t>
            </a:r>
          </a:p>
        </p:txBody>
      </p:sp>
      <p:sp>
        <p:nvSpPr>
          <p:cNvPr id="78" name="Text Placeholder 81">
            <a:extLst>
              <a:ext uri="{FF2B5EF4-FFF2-40B4-BE49-F238E27FC236}">
                <a16:creationId xmlns:a16="http://schemas.microsoft.com/office/drawing/2014/main" id="{B4BA05D0-7B69-E7AE-8091-7A0F902229E9}"/>
              </a:ext>
            </a:extLst>
          </p:cNvPr>
          <p:cNvSpPr txBox="1">
            <a:spLocks/>
          </p:cNvSpPr>
          <p:nvPr/>
        </p:nvSpPr>
        <p:spPr>
          <a:xfrm>
            <a:off x="8469549" y="1647423"/>
            <a:ext cx="54864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tar</a:t>
            </a:r>
          </a:p>
        </p:txBody>
      </p:sp>
      <p:pic>
        <p:nvPicPr>
          <p:cNvPr id="79" name="Graphic 78">
            <a:extLst>
              <a:ext uri="{FF2B5EF4-FFF2-40B4-BE49-F238E27FC236}">
                <a16:creationId xmlns:a16="http://schemas.microsoft.com/office/drawing/2014/main" id="{B0BF8134-FF42-91C9-CF79-3BFD79D6C80A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709087" y="1934758"/>
            <a:ext cx="609600" cy="609600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D39C03F7-2AE6-90B0-7967-D580154AC7CC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8435238" y="1934758"/>
            <a:ext cx="609600" cy="609600"/>
          </a:xfrm>
          <a:prstGeom prst="rect">
            <a:avLst/>
          </a:prstGeom>
        </p:spPr>
      </p:pic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2F748CD7-BBBB-23FB-82C1-23CD2BB891E8}"/>
              </a:ext>
            </a:extLst>
          </p:cNvPr>
          <p:cNvSpPr txBox="1">
            <a:spLocks/>
          </p:cNvSpPr>
          <p:nvPr/>
        </p:nvSpPr>
        <p:spPr>
          <a:xfrm>
            <a:off x="10762750" y="1647423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Home</a:t>
            </a:r>
          </a:p>
        </p:txBody>
      </p:sp>
      <p:pic>
        <p:nvPicPr>
          <p:cNvPr id="83" name="Graphic 82">
            <a:extLst>
              <a:ext uri="{FF2B5EF4-FFF2-40B4-BE49-F238E27FC236}">
                <a16:creationId xmlns:a16="http://schemas.microsoft.com/office/drawing/2014/main" id="{D6199C02-AC39-FD63-F21B-7A312B978EBF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0982936" y="1934758"/>
            <a:ext cx="609600" cy="609600"/>
          </a:xfrm>
          <a:prstGeom prst="rect">
            <a:avLst/>
          </a:prstGeom>
        </p:spPr>
      </p:pic>
      <p:sp>
        <p:nvSpPr>
          <p:cNvPr id="11" name="object 45">
            <a:extLst>
              <a:ext uri="{FF2B5EF4-FFF2-40B4-BE49-F238E27FC236}">
                <a16:creationId xmlns:a16="http://schemas.microsoft.com/office/drawing/2014/main" id="{5A1588F5-4995-8989-651D-1C8E09BCF9D8}"/>
              </a:ext>
            </a:extLst>
          </p:cNvPr>
          <p:cNvSpPr txBox="1"/>
          <p:nvPr/>
        </p:nvSpPr>
        <p:spPr>
          <a:xfrm>
            <a:off x="5827867" y="1647423"/>
            <a:ext cx="6514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Medical</a:t>
            </a:r>
          </a:p>
        </p:txBody>
      </p:sp>
      <p:sp>
        <p:nvSpPr>
          <p:cNvPr id="15" name="object 47">
            <a:extLst>
              <a:ext uri="{FF2B5EF4-FFF2-40B4-BE49-F238E27FC236}">
                <a16:creationId xmlns:a16="http://schemas.microsoft.com/office/drawing/2014/main" id="{31C958F2-2B1C-6E82-AED7-4DF6C2CE2970}"/>
              </a:ext>
            </a:extLst>
          </p:cNvPr>
          <p:cNvSpPr txBox="1"/>
          <p:nvPr/>
        </p:nvSpPr>
        <p:spPr>
          <a:xfrm>
            <a:off x="1443003" y="1647423"/>
            <a:ext cx="1504791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</a:t>
            </a:r>
            <a:r>
              <a:rPr dirty="0"/>
              <a:t>ifelon</a:t>
            </a:r>
            <a:r>
              <a:rPr lang="en-US" dirty="0"/>
              <a:t>g </a:t>
            </a:r>
            <a:r>
              <a:rPr dirty="0"/>
              <a:t>learning</a:t>
            </a:r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8779C4F0-7BA5-9916-C8DF-034B5A3BCD8B}"/>
              </a:ext>
            </a:extLst>
          </p:cNvPr>
          <p:cNvSpPr txBox="1"/>
          <p:nvPr/>
        </p:nvSpPr>
        <p:spPr>
          <a:xfrm>
            <a:off x="7185076" y="1647423"/>
            <a:ext cx="65142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First-aid</a:t>
            </a:r>
          </a:p>
        </p:txBody>
      </p:sp>
      <p:sp>
        <p:nvSpPr>
          <p:cNvPr id="31" name="object 33">
            <a:extLst>
              <a:ext uri="{FF2B5EF4-FFF2-40B4-BE49-F238E27FC236}">
                <a16:creationId xmlns:a16="http://schemas.microsoft.com/office/drawing/2014/main" id="{EC12C248-EDA8-12FB-E8D1-130DB0A56638}"/>
              </a:ext>
            </a:extLst>
          </p:cNvPr>
          <p:cNvSpPr txBox="1"/>
          <p:nvPr/>
        </p:nvSpPr>
        <p:spPr>
          <a:xfrm>
            <a:off x="582415" y="1647423"/>
            <a:ext cx="6514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Review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5AC9CE2-1969-453E-780D-9F72A3F96672}"/>
              </a:ext>
            </a:extLst>
          </p:cNvPr>
          <p:cNvGrpSpPr/>
          <p:nvPr/>
        </p:nvGrpSpPr>
        <p:grpSpPr>
          <a:xfrm>
            <a:off x="7605744" y="5483921"/>
            <a:ext cx="1919452" cy="1008342"/>
            <a:chOff x="10809772" y="5964365"/>
            <a:chExt cx="1517236" cy="797047"/>
          </a:xfrm>
        </p:grpSpPr>
        <p:sp>
          <p:nvSpPr>
            <p:cNvPr id="54" name="Right Brace 53">
              <a:extLst>
                <a:ext uri="{FF2B5EF4-FFF2-40B4-BE49-F238E27FC236}">
                  <a16:creationId xmlns:a16="http://schemas.microsoft.com/office/drawing/2014/main" id="{497411EE-9997-DAFF-84FB-E31518CFF31D}"/>
                </a:ext>
              </a:extLst>
            </p:cNvPr>
            <p:cNvSpPr/>
            <p:nvPr/>
          </p:nvSpPr>
          <p:spPr>
            <a:xfrm>
              <a:off x="10809772" y="5964365"/>
              <a:ext cx="247877" cy="797047"/>
            </a:xfrm>
            <a:prstGeom prst="rightBrace">
              <a:avLst>
                <a:gd name="adj1" fmla="val 0"/>
                <a:gd name="adj2" fmla="val 50000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5" name="Text Placeholder 81">
              <a:extLst>
                <a:ext uri="{FF2B5EF4-FFF2-40B4-BE49-F238E27FC236}">
                  <a16:creationId xmlns:a16="http://schemas.microsoft.com/office/drawing/2014/main" id="{40993034-D08E-39F1-53DE-217732BB1417}"/>
                </a:ext>
              </a:extLst>
            </p:cNvPr>
            <p:cNvSpPr txBox="1">
              <a:spLocks/>
            </p:cNvSpPr>
            <p:nvPr/>
          </p:nvSpPr>
          <p:spPr>
            <a:xfrm>
              <a:off x="11145103" y="6313360"/>
              <a:ext cx="1181905" cy="1094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273582" indent="-273582" algn="l" defTabSz="1086775" rtl="0" eaLnBrk="1" latinLnBrk="0" hangingPunct="1">
                <a:lnSpc>
                  <a:spcPct val="90000"/>
                </a:lnSpc>
                <a:spcBef>
                  <a:spcPts val="1800"/>
                </a:spcBef>
                <a:buClr>
                  <a:schemeClr val="tx1"/>
                </a:buClr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58368" indent="-271694" algn="l" defTabSz="1086775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10312" algn="l" defTabSz="1290546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97864" indent="-210312" algn="l" defTabSz="1086775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Font typeface="Arial" pitchFamily="34" charset="0"/>
                <a:buChar char="–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44752" indent="-182880" algn="l" defTabSz="1086775" rtl="0" eaLnBrk="1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88632" indent="-271694" algn="l" defTabSz="108677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32020" indent="-271694" algn="l" defTabSz="108677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5408" indent="-271694" algn="l" defTabSz="108677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8796" indent="-271694" algn="l" defTabSz="108677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000" b="1" dirty="0">
                  <a:ea typeface="+mn-lt"/>
                  <a:cs typeface="+mn-lt"/>
                </a:rPr>
                <a:t>Campaign icons</a:t>
              </a:r>
              <a:endParaRPr lang="en-US" sz="1000" dirty="0">
                <a:ea typeface="+mn-lt"/>
                <a:cs typeface="+mn-lt"/>
              </a:endParaRPr>
            </a:p>
          </p:txBody>
        </p:sp>
      </p:grpSp>
      <p:pic>
        <p:nvPicPr>
          <p:cNvPr id="5" name="Graphic 4">
            <a:extLst>
              <a:ext uri="{FF2B5EF4-FFF2-40B4-BE49-F238E27FC236}">
                <a16:creationId xmlns:a16="http://schemas.microsoft.com/office/drawing/2014/main" id="{880BC870-39E5-421C-F902-AE149EF219E6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20777" y="1934758"/>
            <a:ext cx="774700" cy="6096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BA600433-64E0-039E-ABD5-1FF45FB042B8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890598" y="1852208"/>
            <a:ext cx="609600" cy="77470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90D0821E-B937-2B5B-65BA-FDAEB4A47AF7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5887540" y="1934758"/>
            <a:ext cx="609600" cy="6096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73154FA1-4042-0CCA-E6B0-89146DE368B2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7161389" y="1934758"/>
            <a:ext cx="609600" cy="609600"/>
          </a:xfrm>
          <a:prstGeom prst="rect">
            <a:avLst/>
          </a:prstGeom>
        </p:spPr>
      </p:pic>
      <p:pic>
        <p:nvPicPr>
          <p:cNvPr id="580" name="Graphic 579">
            <a:extLst>
              <a:ext uri="{FF2B5EF4-FFF2-40B4-BE49-F238E27FC236}">
                <a16:creationId xmlns:a16="http://schemas.microsoft.com/office/drawing/2014/main" id="{29EC1695-681B-6B0E-D67F-F17A0B414DA9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874094" y="5944498"/>
            <a:ext cx="509494" cy="544120"/>
          </a:xfrm>
          <a:prstGeom prst="rect">
            <a:avLst/>
          </a:prstGeom>
        </p:spPr>
      </p:pic>
      <p:pic>
        <p:nvPicPr>
          <p:cNvPr id="581" name="Graphic 580">
            <a:extLst>
              <a:ext uri="{FF2B5EF4-FFF2-40B4-BE49-F238E27FC236}">
                <a16:creationId xmlns:a16="http://schemas.microsoft.com/office/drawing/2014/main" id="{D2A705BE-793A-CD23-DB6E-DDDC39AA47CA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2299550" y="5944498"/>
            <a:ext cx="476752" cy="544120"/>
          </a:xfrm>
          <a:prstGeom prst="rect">
            <a:avLst/>
          </a:prstGeom>
        </p:spPr>
      </p:pic>
      <p:pic>
        <p:nvPicPr>
          <p:cNvPr id="582" name="Graphic 581">
            <a:extLst>
              <a:ext uri="{FF2B5EF4-FFF2-40B4-BE49-F238E27FC236}">
                <a16:creationId xmlns:a16="http://schemas.microsoft.com/office/drawing/2014/main" id="{92ADC678-2864-94FC-C9DA-0148D445BAC4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3597734" y="5944498"/>
            <a:ext cx="738805" cy="544120"/>
          </a:xfrm>
          <a:prstGeom prst="rect">
            <a:avLst/>
          </a:prstGeom>
        </p:spPr>
      </p:pic>
      <p:pic>
        <p:nvPicPr>
          <p:cNvPr id="583" name="Graphic 582">
            <a:extLst>
              <a:ext uri="{FF2B5EF4-FFF2-40B4-BE49-F238E27FC236}">
                <a16:creationId xmlns:a16="http://schemas.microsoft.com/office/drawing/2014/main" id="{D8836249-457C-180D-8919-0E1B9899F1E3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4815550" y="5944498"/>
            <a:ext cx="766885" cy="544429"/>
          </a:xfrm>
          <a:prstGeom prst="rect">
            <a:avLst/>
          </a:prstGeom>
        </p:spPr>
      </p:pic>
      <p:sp>
        <p:nvSpPr>
          <p:cNvPr id="584" name="Text Placeholder 81">
            <a:extLst>
              <a:ext uri="{FF2B5EF4-FFF2-40B4-BE49-F238E27FC236}">
                <a16:creationId xmlns:a16="http://schemas.microsoft.com/office/drawing/2014/main" id="{604964B5-DB74-D6C7-238F-F1C3C1803EBA}"/>
              </a:ext>
            </a:extLst>
          </p:cNvPr>
          <p:cNvSpPr txBox="1">
            <a:spLocks/>
          </p:cNvSpPr>
          <p:nvPr/>
        </p:nvSpPr>
        <p:spPr>
          <a:xfrm>
            <a:off x="1811939" y="5513954"/>
            <a:ext cx="1428607" cy="3504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="1" dirty="0">
                <a:ea typeface="+mn-lt"/>
                <a:cs typeface="+mn-lt"/>
              </a:rPr>
              <a:t>BRAINS</a:t>
            </a:r>
            <a:r>
              <a:rPr lang="en-US" sz="1000" dirty="0">
                <a:ea typeface="+mn-lt"/>
                <a:cs typeface="+mn-lt"/>
              </a:rPr>
              <a:t>, </a:t>
            </a:r>
            <a:br>
              <a:rPr lang="en-US" sz="1000" dirty="0">
                <a:ea typeface="+mn-lt"/>
                <a:cs typeface="+mn-lt"/>
              </a:rPr>
            </a:br>
            <a:r>
              <a:rPr lang="en-US" sz="1000" dirty="0">
                <a:ea typeface="+mn-lt"/>
                <a:cs typeface="+mn-lt"/>
              </a:rPr>
              <a:t>PASSION &amp; FUN</a:t>
            </a:r>
          </a:p>
        </p:txBody>
      </p:sp>
      <p:sp>
        <p:nvSpPr>
          <p:cNvPr id="585" name="Text Placeholder 81">
            <a:extLst>
              <a:ext uri="{FF2B5EF4-FFF2-40B4-BE49-F238E27FC236}">
                <a16:creationId xmlns:a16="http://schemas.microsoft.com/office/drawing/2014/main" id="{B1599176-6FAC-F16D-EB0A-CC32465ED93D}"/>
              </a:ext>
            </a:extLst>
          </p:cNvPr>
          <p:cNvSpPr txBox="1">
            <a:spLocks/>
          </p:cNvSpPr>
          <p:nvPr/>
        </p:nvSpPr>
        <p:spPr>
          <a:xfrm>
            <a:off x="666118" y="5513954"/>
            <a:ext cx="925444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="1" dirty="0">
                <a:ea typeface="+mn-lt"/>
                <a:cs typeface="+mn-lt"/>
              </a:rPr>
              <a:t>BOLDNESS</a:t>
            </a:r>
            <a:r>
              <a:rPr lang="en-US" sz="1000" dirty="0">
                <a:ea typeface="+mn-lt"/>
                <a:cs typeface="+mn-lt"/>
              </a:rPr>
              <a:t> </a:t>
            </a:r>
            <a:br>
              <a:rPr lang="en-US" sz="1000" dirty="0">
                <a:ea typeface="+mn-lt"/>
                <a:cs typeface="+mn-lt"/>
              </a:rPr>
            </a:br>
            <a:r>
              <a:rPr lang="en-US" sz="1000" dirty="0">
                <a:ea typeface="+mn-lt"/>
                <a:cs typeface="+mn-lt"/>
              </a:rPr>
              <a:t>&amp; AGILITY</a:t>
            </a:r>
          </a:p>
        </p:txBody>
      </p:sp>
      <p:sp>
        <p:nvSpPr>
          <p:cNvPr id="586" name="Text Placeholder 81">
            <a:extLst>
              <a:ext uri="{FF2B5EF4-FFF2-40B4-BE49-F238E27FC236}">
                <a16:creationId xmlns:a16="http://schemas.microsoft.com/office/drawing/2014/main" id="{8E516DBB-ED16-9B05-FEF9-ADE0EBE8B1A4}"/>
              </a:ext>
            </a:extLst>
          </p:cNvPr>
          <p:cNvSpPr txBox="1">
            <a:spLocks/>
          </p:cNvSpPr>
          <p:nvPr/>
        </p:nvSpPr>
        <p:spPr>
          <a:xfrm>
            <a:off x="3460923" y="5513954"/>
            <a:ext cx="925444" cy="3504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="1" dirty="0">
                <a:ea typeface="+mn-lt"/>
                <a:cs typeface="+mn-lt"/>
              </a:rPr>
              <a:t>PTC</a:t>
            </a:r>
            <a:r>
              <a:rPr lang="en-US" sz="1000" dirty="0">
                <a:ea typeface="+mn-lt"/>
                <a:cs typeface="+mn-lt"/>
              </a:rPr>
              <a:t> </a:t>
            </a:r>
            <a:br>
              <a:rPr lang="en-US" sz="1000" dirty="0">
                <a:ea typeface="+mn-lt"/>
                <a:cs typeface="+mn-lt"/>
              </a:rPr>
            </a:br>
            <a:r>
              <a:rPr lang="en-US" sz="1000" dirty="0">
                <a:ea typeface="+mn-lt"/>
                <a:cs typeface="+mn-lt"/>
              </a:rPr>
              <a:t>FOR ALL</a:t>
            </a:r>
          </a:p>
        </p:txBody>
      </p:sp>
      <p:sp>
        <p:nvSpPr>
          <p:cNvPr id="587" name="Text Placeholder 81">
            <a:extLst>
              <a:ext uri="{FF2B5EF4-FFF2-40B4-BE49-F238E27FC236}">
                <a16:creationId xmlns:a16="http://schemas.microsoft.com/office/drawing/2014/main" id="{134A130C-4527-06E1-3979-D9D9FA16AA09}"/>
              </a:ext>
            </a:extLst>
          </p:cNvPr>
          <p:cNvSpPr txBox="1">
            <a:spLocks/>
          </p:cNvSpPr>
          <p:nvPr/>
        </p:nvSpPr>
        <p:spPr>
          <a:xfrm>
            <a:off x="4606744" y="5513954"/>
            <a:ext cx="1304593" cy="3504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="1" dirty="0">
                <a:ea typeface="+mn-lt"/>
                <a:cs typeface="+mn-lt"/>
              </a:rPr>
              <a:t>EXCELLENCE</a:t>
            </a:r>
            <a:r>
              <a:rPr lang="en-US" sz="1000" dirty="0">
                <a:ea typeface="+mn-lt"/>
                <a:cs typeface="+mn-lt"/>
              </a:rPr>
              <a:t> </a:t>
            </a:r>
            <a:br>
              <a:rPr lang="en-US" sz="1000" dirty="0">
                <a:ea typeface="+mn-lt"/>
                <a:cs typeface="+mn-lt"/>
              </a:rPr>
            </a:br>
            <a:r>
              <a:rPr lang="en-US" sz="1000" dirty="0">
                <a:ea typeface="+mn-lt"/>
                <a:cs typeface="+mn-lt"/>
              </a:rPr>
              <a:t>&amp; INNOVA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8CA0066-2AC5-80BC-8AC9-8DBB59FC5CB0}"/>
              </a:ext>
            </a:extLst>
          </p:cNvPr>
          <p:cNvSpPr/>
          <p:nvPr/>
        </p:nvSpPr>
        <p:spPr>
          <a:xfrm>
            <a:off x="505745" y="1192744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Education &amp; People Team (HR)</a:t>
            </a:r>
          </a:p>
        </p:txBody>
      </p:sp>
      <p:sp>
        <p:nvSpPr>
          <p:cNvPr id="47" name="object 47">
            <a:extLst>
              <a:ext uri="{FF2B5EF4-FFF2-40B4-BE49-F238E27FC236}">
                <a16:creationId xmlns:a16="http://schemas.microsoft.com/office/drawing/2014/main" id="{DC20CFC1-A32C-B88D-5945-4FA9D69C2491}"/>
              </a:ext>
            </a:extLst>
          </p:cNvPr>
          <p:cNvSpPr txBox="1"/>
          <p:nvPr/>
        </p:nvSpPr>
        <p:spPr>
          <a:xfrm>
            <a:off x="3102720" y="4015225"/>
            <a:ext cx="237744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Gift, Perks</a:t>
            </a:r>
          </a:p>
        </p:txBody>
      </p:sp>
      <p:sp>
        <p:nvSpPr>
          <p:cNvPr id="48" name="object 33">
            <a:extLst>
              <a:ext uri="{FF2B5EF4-FFF2-40B4-BE49-F238E27FC236}">
                <a16:creationId xmlns:a16="http://schemas.microsoft.com/office/drawing/2014/main" id="{E71661C5-B15A-873E-6ADC-FE15A69F7D29}"/>
              </a:ext>
            </a:extLst>
          </p:cNvPr>
          <p:cNvSpPr txBox="1"/>
          <p:nvPr/>
        </p:nvSpPr>
        <p:spPr>
          <a:xfrm>
            <a:off x="1710869" y="4015225"/>
            <a:ext cx="96905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enefits</a:t>
            </a:r>
            <a:endParaRPr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C034E74-FA09-4D83-7A09-3AB8A90D75B0}"/>
              </a:ext>
            </a:extLst>
          </p:cNvPr>
          <p:cNvSpPr txBox="1"/>
          <p:nvPr/>
        </p:nvSpPr>
        <p:spPr>
          <a:xfrm>
            <a:off x="9622553" y="4015225"/>
            <a:ext cx="124428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Work Life Balanc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6B18BC6-B746-1A49-9CE4-8F6DE283E639}"/>
              </a:ext>
            </a:extLst>
          </p:cNvPr>
          <p:cNvSpPr txBox="1"/>
          <p:nvPr/>
        </p:nvSpPr>
        <p:spPr>
          <a:xfrm>
            <a:off x="8488082" y="4015225"/>
            <a:ext cx="82296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Volunteer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E6D25A5-A296-E5A6-8034-B5AB768845AA}"/>
              </a:ext>
            </a:extLst>
          </p:cNvPr>
          <p:cNvSpPr txBox="1"/>
          <p:nvPr/>
        </p:nvSpPr>
        <p:spPr>
          <a:xfrm>
            <a:off x="5658353" y="3945975"/>
            <a:ext cx="104421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ocial Responsibility</a:t>
            </a: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AC860D90-251F-6E61-0920-73DC540CDDFB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808048" y="4346359"/>
            <a:ext cx="774700" cy="609600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1921C4B6-DDF6-C979-8497-77B7FC2FF670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4146701" y="4378698"/>
            <a:ext cx="612648" cy="612648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C9D12249-4051-5229-B4AF-2282F6BF3C50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4778700" y="4381746"/>
            <a:ext cx="609600" cy="6096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8AD1BF73-5A1C-3F47-E33D-62C8FA6F32C8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5969323" y="5907927"/>
            <a:ext cx="1269869" cy="666505"/>
          </a:xfrm>
          <a:prstGeom prst="rect">
            <a:avLst/>
          </a:prstGeom>
        </p:spPr>
      </p:pic>
      <p:sp>
        <p:nvSpPr>
          <p:cNvPr id="16" name="Text Placeholder 81">
            <a:extLst>
              <a:ext uri="{FF2B5EF4-FFF2-40B4-BE49-F238E27FC236}">
                <a16:creationId xmlns:a16="http://schemas.microsoft.com/office/drawing/2014/main" id="{35404407-0B0F-FA12-6EFD-C2B42D5E7237}"/>
              </a:ext>
            </a:extLst>
          </p:cNvPr>
          <p:cNvSpPr txBox="1">
            <a:spLocks/>
          </p:cNvSpPr>
          <p:nvPr/>
        </p:nvSpPr>
        <p:spPr>
          <a:xfrm>
            <a:off x="6131715" y="5513954"/>
            <a:ext cx="925444" cy="3504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="1" dirty="0">
                <a:ea typeface="+mn-lt"/>
                <a:cs typeface="+mn-lt"/>
              </a:rPr>
              <a:t>CUSTOMER</a:t>
            </a:r>
            <a:r>
              <a:rPr lang="en-US" sz="1000" dirty="0">
                <a:ea typeface="+mn-lt"/>
                <a:cs typeface="+mn-lt"/>
              </a:rPr>
              <a:t> FIRST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CF5D6472-6C57-0BE7-9C81-681BA97C1021}"/>
              </a:ext>
            </a:extLst>
          </p:cNvPr>
          <p:cNvGrpSpPr>
            <a:grpSpLocks noChangeAspect="1"/>
          </p:cNvGrpSpPr>
          <p:nvPr/>
        </p:nvGrpSpPr>
        <p:grpSpPr>
          <a:xfrm>
            <a:off x="3054714" y="4378918"/>
            <a:ext cx="667060" cy="612648"/>
            <a:chOff x="3428790" y="4212662"/>
            <a:chExt cx="731519" cy="671849"/>
          </a:xfrm>
        </p:grpSpPr>
        <p:grpSp>
          <p:nvGrpSpPr>
            <p:cNvPr id="30" name="Graphic 43">
              <a:extLst>
                <a:ext uri="{FF2B5EF4-FFF2-40B4-BE49-F238E27FC236}">
                  <a16:creationId xmlns:a16="http://schemas.microsoft.com/office/drawing/2014/main" id="{B3AB525C-0F23-2989-09BB-ED9CA442A183}"/>
                </a:ext>
              </a:extLst>
            </p:cNvPr>
            <p:cNvGrpSpPr/>
            <p:nvPr/>
          </p:nvGrpSpPr>
          <p:grpSpPr>
            <a:xfrm>
              <a:off x="3428790" y="4548191"/>
              <a:ext cx="731519" cy="336320"/>
              <a:chOff x="3428790" y="4548191"/>
              <a:chExt cx="731519" cy="336320"/>
            </a:xfrm>
            <a:solidFill>
              <a:srgbClr val="3D4647"/>
            </a:solidFill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0088FF28-77FF-E8E5-5662-EE263BC83928}"/>
                  </a:ext>
                </a:extLst>
              </p:cNvPr>
              <p:cNvSpPr/>
              <p:nvPr/>
            </p:nvSpPr>
            <p:spPr>
              <a:xfrm>
                <a:off x="3493021" y="4748021"/>
                <a:ext cx="50005" cy="49957"/>
              </a:xfrm>
              <a:custGeom>
                <a:avLst/>
                <a:gdLst>
                  <a:gd name="connsiteX0" fmla="*/ 24979 w 50005"/>
                  <a:gd name="connsiteY0" fmla="*/ 0 h 49957"/>
                  <a:gd name="connsiteX1" fmla="*/ 0 w 50005"/>
                  <a:gd name="connsiteY1" fmla="*/ 24979 h 49957"/>
                  <a:gd name="connsiteX2" fmla="*/ 24979 w 50005"/>
                  <a:gd name="connsiteY2" fmla="*/ 49957 h 49957"/>
                  <a:gd name="connsiteX3" fmla="*/ 49957 w 50005"/>
                  <a:gd name="connsiteY3" fmla="*/ 24979 h 49957"/>
                  <a:gd name="connsiteX4" fmla="*/ 24979 w 50005"/>
                  <a:gd name="connsiteY4" fmla="*/ 0 h 49957"/>
                  <a:gd name="connsiteX5" fmla="*/ 24979 w 50005"/>
                  <a:gd name="connsiteY5" fmla="*/ 0 h 49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05" h="49957">
                    <a:moveTo>
                      <a:pt x="24979" y="0"/>
                    </a:moveTo>
                    <a:cubicBezTo>
                      <a:pt x="10705" y="0"/>
                      <a:pt x="0" y="11597"/>
                      <a:pt x="0" y="24979"/>
                    </a:cubicBezTo>
                    <a:cubicBezTo>
                      <a:pt x="0" y="39252"/>
                      <a:pt x="11597" y="49957"/>
                      <a:pt x="24979" y="49957"/>
                    </a:cubicBezTo>
                    <a:cubicBezTo>
                      <a:pt x="39252" y="49957"/>
                      <a:pt x="49957" y="38360"/>
                      <a:pt x="49957" y="24979"/>
                    </a:cubicBezTo>
                    <a:cubicBezTo>
                      <a:pt x="50850" y="11597"/>
                      <a:pt x="39252" y="0"/>
                      <a:pt x="24979" y="0"/>
                    </a:cubicBezTo>
                    <a:lnTo>
                      <a:pt x="24979" y="0"/>
                    </a:lnTo>
                    <a:close/>
                  </a:path>
                </a:pathLst>
              </a:custGeom>
              <a:solidFill>
                <a:srgbClr val="3D4647"/>
              </a:solidFill>
              <a:ln w="88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8D44F6A6-687B-663A-D399-E209171EF1FA}"/>
                  </a:ext>
                </a:extLst>
              </p:cNvPr>
              <p:cNvSpPr/>
              <p:nvPr/>
            </p:nvSpPr>
            <p:spPr>
              <a:xfrm>
                <a:off x="3428790" y="4548191"/>
                <a:ext cx="731519" cy="336320"/>
              </a:xfrm>
              <a:custGeom>
                <a:avLst/>
                <a:gdLst>
                  <a:gd name="connsiteX0" fmla="*/ 661936 w 731519"/>
                  <a:gd name="connsiteY0" fmla="*/ 70476 h 336320"/>
                  <a:gd name="connsiteX1" fmla="*/ 633389 w 731519"/>
                  <a:gd name="connsiteY1" fmla="*/ 76720 h 336320"/>
                  <a:gd name="connsiteX2" fmla="*/ 527230 w 731519"/>
                  <a:gd name="connsiteY2" fmla="*/ 134707 h 336320"/>
                  <a:gd name="connsiteX3" fmla="*/ 525446 w 731519"/>
                  <a:gd name="connsiteY3" fmla="*/ 115973 h 336320"/>
                  <a:gd name="connsiteX4" fmla="*/ 452293 w 731519"/>
                  <a:gd name="connsiteY4" fmla="*/ 65123 h 336320"/>
                  <a:gd name="connsiteX5" fmla="*/ 437128 w 731519"/>
                  <a:gd name="connsiteY5" fmla="*/ 65123 h 336320"/>
                  <a:gd name="connsiteX6" fmla="*/ 355055 w 731519"/>
                  <a:gd name="connsiteY6" fmla="*/ 64231 h 336320"/>
                  <a:gd name="connsiteX7" fmla="*/ 317587 w 731519"/>
                  <a:gd name="connsiteY7" fmla="*/ 55310 h 336320"/>
                  <a:gd name="connsiteX8" fmla="*/ 256924 w 731519"/>
                  <a:gd name="connsiteY8" fmla="*/ 41037 h 336320"/>
                  <a:gd name="connsiteX9" fmla="*/ 180204 w 731519"/>
                  <a:gd name="connsiteY9" fmla="*/ 35684 h 336320"/>
                  <a:gd name="connsiteX10" fmla="*/ 180204 w 731519"/>
                  <a:gd name="connsiteY10" fmla="*/ 0 h 336320"/>
                  <a:gd name="connsiteX11" fmla="*/ 0 w 731519"/>
                  <a:gd name="connsiteY11" fmla="*/ 0 h 336320"/>
                  <a:gd name="connsiteX12" fmla="*/ 0 w 731519"/>
                  <a:gd name="connsiteY12" fmla="*/ 318479 h 336320"/>
                  <a:gd name="connsiteX13" fmla="*/ 180204 w 731519"/>
                  <a:gd name="connsiteY13" fmla="*/ 318479 h 336320"/>
                  <a:gd name="connsiteX14" fmla="*/ 180204 w 731519"/>
                  <a:gd name="connsiteY14" fmla="*/ 272090 h 336320"/>
                  <a:gd name="connsiteX15" fmla="*/ 317587 w 731519"/>
                  <a:gd name="connsiteY15" fmla="*/ 321155 h 336320"/>
                  <a:gd name="connsiteX16" fmla="*/ 319371 w 731519"/>
                  <a:gd name="connsiteY16" fmla="*/ 322047 h 336320"/>
                  <a:gd name="connsiteX17" fmla="*/ 408581 w 731519"/>
                  <a:gd name="connsiteY17" fmla="*/ 336321 h 336320"/>
                  <a:gd name="connsiteX18" fmla="*/ 487977 w 731519"/>
                  <a:gd name="connsiteY18" fmla="*/ 314018 h 336320"/>
                  <a:gd name="connsiteX19" fmla="*/ 709218 w 731519"/>
                  <a:gd name="connsiteY19" fmla="*/ 192693 h 336320"/>
                  <a:gd name="connsiteX20" fmla="*/ 731520 w 731519"/>
                  <a:gd name="connsiteY20" fmla="*/ 141844 h 336320"/>
                  <a:gd name="connsiteX21" fmla="*/ 661936 w 731519"/>
                  <a:gd name="connsiteY21" fmla="*/ 70476 h 336320"/>
                  <a:gd name="connsiteX22" fmla="*/ 33900 w 731519"/>
                  <a:gd name="connsiteY22" fmla="*/ 281903 h 336320"/>
                  <a:gd name="connsiteX23" fmla="*/ 33900 w 731519"/>
                  <a:gd name="connsiteY23" fmla="*/ 32116 h 336320"/>
                  <a:gd name="connsiteX24" fmla="*/ 145412 w 731519"/>
                  <a:gd name="connsiteY24" fmla="*/ 32116 h 336320"/>
                  <a:gd name="connsiteX25" fmla="*/ 145412 w 731519"/>
                  <a:gd name="connsiteY25" fmla="*/ 281903 h 336320"/>
                  <a:gd name="connsiteX26" fmla="*/ 33900 w 731519"/>
                  <a:gd name="connsiteY26" fmla="*/ 281903 h 336320"/>
                  <a:gd name="connsiteX27" fmla="*/ 686915 w 731519"/>
                  <a:gd name="connsiteY27" fmla="*/ 163254 h 336320"/>
                  <a:gd name="connsiteX28" fmla="*/ 470135 w 731519"/>
                  <a:gd name="connsiteY28" fmla="*/ 281011 h 336320"/>
                  <a:gd name="connsiteX29" fmla="*/ 467459 w 731519"/>
                  <a:gd name="connsiteY29" fmla="*/ 282795 h 336320"/>
                  <a:gd name="connsiteX30" fmla="*/ 407689 w 731519"/>
                  <a:gd name="connsiteY30" fmla="*/ 298853 h 336320"/>
                  <a:gd name="connsiteX31" fmla="*/ 330968 w 731519"/>
                  <a:gd name="connsiteY31" fmla="*/ 286363 h 336320"/>
                  <a:gd name="connsiteX32" fmla="*/ 180204 w 731519"/>
                  <a:gd name="connsiteY32" fmla="*/ 235514 h 336320"/>
                  <a:gd name="connsiteX33" fmla="*/ 180204 w 731519"/>
                  <a:gd name="connsiteY33" fmla="*/ 67799 h 336320"/>
                  <a:gd name="connsiteX34" fmla="*/ 250679 w 731519"/>
                  <a:gd name="connsiteY34" fmla="*/ 73152 h 336320"/>
                  <a:gd name="connsiteX35" fmla="*/ 307774 w 731519"/>
                  <a:gd name="connsiteY35" fmla="*/ 86533 h 336320"/>
                  <a:gd name="connsiteX36" fmla="*/ 355055 w 731519"/>
                  <a:gd name="connsiteY36" fmla="*/ 96347 h 336320"/>
                  <a:gd name="connsiteX37" fmla="*/ 435344 w 731519"/>
                  <a:gd name="connsiteY37" fmla="*/ 97239 h 336320"/>
                  <a:gd name="connsiteX38" fmla="*/ 452293 w 731519"/>
                  <a:gd name="connsiteY38" fmla="*/ 97239 h 336320"/>
                  <a:gd name="connsiteX39" fmla="*/ 491546 w 731519"/>
                  <a:gd name="connsiteY39" fmla="*/ 122217 h 336320"/>
                  <a:gd name="connsiteX40" fmla="*/ 478164 w 731519"/>
                  <a:gd name="connsiteY40" fmla="*/ 158793 h 336320"/>
                  <a:gd name="connsiteX41" fmla="*/ 309558 w 731519"/>
                  <a:gd name="connsiteY41" fmla="*/ 164146 h 336320"/>
                  <a:gd name="connsiteX42" fmla="*/ 310450 w 731519"/>
                  <a:gd name="connsiteY42" fmla="*/ 198046 h 336320"/>
                  <a:gd name="connsiteX43" fmla="*/ 487977 w 731519"/>
                  <a:gd name="connsiteY43" fmla="*/ 194477 h 336320"/>
                  <a:gd name="connsiteX44" fmla="*/ 647663 w 731519"/>
                  <a:gd name="connsiteY44" fmla="*/ 107052 h 336320"/>
                  <a:gd name="connsiteX45" fmla="*/ 661936 w 731519"/>
                  <a:gd name="connsiteY45" fmla="*/ 104375 h 336320"/>
                  <a:gd name="connsiteX46" fmla="*/ 696728 w 731519"/>
                  <a:gd name="connsiteY46" fmla="*/ 139167 h 336320"/>
                  <a:gd name="connsiteX47" fmla="*/ 686915 w 731519"/>
                  <a:gd name="connsiteY47" fmla="*/ 163254 h 336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731519" h="336320">
                    <a:moveTo>
                      <a:pt x="661936" y="70476"/>
                    </a:moveTo>
                    <a:cubicBezTo>
                      <a:pt x="652123" y="70476"/>
                      <a:pt x="642310" y="72260"/>
                      <a:pt x="633389" y="76720"/>
                    </a:cubicBezTo>
                    <a:lnTo>
                      <a:pt x="527230" y="134707"/>
                    </a:lnTo>
                    <a:cubicBezTo>
                      <a:pt x="527230" y="128462"/>
                      <a:pt x="527230" y="122217"/>
                      <a:pt x="525446" y="115973"/>
                    </a:cubicBezTo>
                    <a:cubicBezTo>
                      <a:pt x="519201" y="90994"/>
                      <a:pt x="496898" y="65123"/>
                      <a:pt x="452293" y="65123"/>
                    </a:cubicBezTo>
                    <a:cubicBezTo>
                      <a:pt x="450509" y="65123"/>
                      <a:pt x="444265" y="65123"/>
                      <a:pt x="437128" y="65123"/>
                    </a:cubicBezTo>
                    <a:cubicBezTo>
                      <a:pt x="415717" y="64231"/>
                      <a:pt x="380034" y="63339"/>
                      <a:pt x="355055" y="64231"/>
                    </a:cubicBezTo>
                    <a:cubicBezTo>
                      <a:pt x="347918" y="64231"/>
                      <a:pt x="332752" y="59771"/>
                      <a:pt x="317587" y="55310"/>
                    </a:cubicBezTo>
                    <a:cubicBezTo>
                      <a:pt x="299745" y="49957"/>
                      <a:pt x="278334" y="44605"/>
                      <a:pt x="256924" y="41037"/>
                    </a:cubicBezTo>
                    <a:cubicBezTo>
                      <a:pt x="227485" y="35684"/>
                      <a:pt x="196261" y="34792"/>
                      <a:pt x="180204" y="35684"/>
                    </a:cubicBezTo>
                    <a:lnTo>
                      <a:pt x="180204" y="0"/>
                    </a:lnTo>
                    <a:lnTo>
                      <a:pt x="0" y="0"/>
                    </a:lnTo>
                    <a:lnTo>
                      <a:pt x="0" y="318479"/>
                    </a:lnTo>
                    <a:lnTo>
                      <a:pt x="180204" y="318479"/>
                    </a:lnTo>
                    <a:lnTo>
                      <a:pt x="180204" y="272090"/>
                    </a:lnTo>
                    <a:cubicBezTo>
                      <a:pt x="221240" y="280119"/>
                      <a:pt x="291716" y="308666"/>
                      <a:pt x="317587" y="321155"/>
                    </a:cubicBezTo>
                    <a:lnTo>
                      <a:pt x="319371" y="322047"/>
                    </a:lnTo>
                    <a:cubicBezTo>
                      <a:pt x="321155" y="322939"/>
                      <a:pt x="361300" y="336321"/>
                      <a:pt x="408581" y="336321"/>
                    </a:cubicBezTo>
                    <a:cubicBezTo>
                      <a:pt x="453186" y="336321"/>
                      <a:pt x="481733" y="318479"/>
                      <a:pt x="487977" y="314018"/>
                    </a:cubicBezTo>
                    <a:cubicBezTo>
                      <a:pt x="552208" y="280119"/>
                      <a:pt x="698512" y="201614"/>
                      <a:pt x="709218" y="192693"/>
                    </a:cubicBezTo>
                    <a:cubicBezTo>
                      <a:pt x="722599" y="181096"/>
                      <a:pt x="731520" y="161470"/>
                      <a:pt x="731520" y="141844"/>
                    </a:cubicBezTo>
                    <a:cubicBezTo>
                      <a:pt x="731520" y="98131"/>
                      <a:pt x="702973" y="70476"/>
                      <a:pt x="661936" y="70476"/>
                    </a:cubicBezTo>
                    <a:close/>
                    <a:moveTo>
                      <a:pt x="33900" y="281903"/>
                    </a:moveTo>
                    <a:lnTo>
                      <a:pt x="33900" y="32116"/>
                    </a:lnTo>
                    <a:lnTo>
                      <a:pt x="145412" y="32116"/>
                    </a:lnTo>
                    <a:lnTo>
                      <a:pt x="145412" y="281903"/>
                    </a:lnTo>
                    <a:lnTo>
                      <a:pt x="33900" y="281903"/>
                    </a:lnTo>
                    <a:close/>
                    <a:moveTo>
                      <a:pt x="686915" y="163254"/>
                    </a:moveTo>
                    <a:cubicBezTo>
                      <a:pt x="676210" y="171283"/>
                      <a:pt x="547748" y="239974"/>
                      <a:pt x="470135" y="281011"/>
                    </a:cubicBezTo>
                    <a:lnTo>
                      <a:pt x="467459" y="282795"/>
                    </a:lnTo>
                    <a:cubicBezTo>
                      <a:pt x="467459" y="282795"/>
                      <a:pt x="445157" y="298853"/>
                      <a:pt x="407689" y="298853"/>
                    </a:cubicBezTo>
                    <a:cubicBezTo>
                      <a:pt x="369328" y="298853"/>
                      <a:pt x="335429" y="288148"/>
                      <a:pt x="330968" y="286363"/>
                    </a:cubicBezTo>
                    <a:cubicBezTo>
                      <a:pt x="321155" y="282795"/>
                      <a:pt x="231053" y="242651"/>
                      <a:pt x="180204" y="235514"/>
                    </a:cubicBezTo>
                    <a:lnTo>
                      <a:pt x="180204" y="67799"/>
                    </a:lnTo>
                    <a:cubicBezTo>
                      <a:pt x="194477" y="67799"/>
                      <a:pt x="223916" y="68692"/>
                      <a:pt x="250679" y="73152"/>
                    </a:cubicBezTo>
                    <a:cubicBezTo>
                      <a:pt x="271198" y="76720"/>
                      <a:pt x="290824" y="82073"/>
                      <a:pt x="307774" y="86533"/>
                    </a:cubicBezTo>
                    <a:cubicBezTo>
                      <a:pt x="329184" y="92778"/>
                      <a:pt x="344350" y="96347"/>
                      <a:pt x="355055" y="96347"/>
                    </a:cubicBezTo>
                    <a:cubicBezTo>
                      <a:pt x="378249" y="96347"/>
                      <a:pt x="413933" y="97239"/>
                      <a:pt x="435344" y="97239"/>
                    </a:cubicBezTo>
                    <a:cubicBezTo>
                      <a:pt x="443373" y="97239"/>
                      <a:pt x="449617" y="97239"/>
                      <a:pt x="452293" y="97239"/>
                    </a:cubicBezTo>
                    <a:cubicBezTo>
                      <a:pt x="473704" y="97239"/>
                      <a:pt x="487977" y="106160"/>
                      <a:pt x="491546" y="122217"/>
                    </a:cubicBezTo>
                    <a:cubicBezTo>
                      <a:pt x="495114" y="136491"/>
                      <a:pt x="488869" y="151657"/>
                      <a:pt x="478164" y="158793"/>
                    </a:cubicBezTo>
                    <a:lnTo>
                      <a:pt x="309558" y="164146"/>
                    </a:lnTo>
                    <a:lnTo>
                      <a:pt x="310450" y="198046"/>
                    </a:lnTo>
                    <a:lnTo>
                      <a:pt x="487977" y="194477"/>
                    </a:lnTo>
                    <a:lnTo>
                      <a:pt x="647663" y="107052"/>
                    </a:lnTo>
                    <a:cubicBezTo>
                      <a:pt x="652123" y="105268"/>
                      <a:pt x="657476" y="104375"/>
                      <a:pt x="661936" y="104375"/>
                    </a:cubicBezTo>
                    <a:cubicBezTo>
                      <a:pt x="684239" y="104375"/>
                      <a:pt x="696728" y="117757"/>
                      <a:pt x="696728" y="139167"/>
                    </a:cubicBezTo>
                    <a:cubicBezTo>
                      <a:pt x="697620" y="148980"/>
                      <a:pt x="693160" y="158793"/>
                      <a:pt x="686915" y="163254"/>
                    </a:cubicBezTo>
                    <a:close/>
                  </a:path>
                </a:pathLst>
              </a:custGeom>
              <a:solidFill>
                <a:srgbClr val="3D4647"/>
              </a:solidFill>
              <a:ln w="88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42" name="Graphic 43">
              <a:extLst>
                <a:ext uri="{FF2B5EF4-FFF2-40B4-BE49-F238E27FC236}">
                  <a16:creationId xmlns:a16="http://schemas.microsoft.com/office/drawing/2014/main" id="{D1D95AFC-A2DB-4CEE-608B-88414A66ED08}"/>
                </a:ext>
              </a:extLst>
            </p:cNvPr>
            <p:cNvGrpSpPr/>
            <p:nvPr/>
          </p:nvGrpSpPr>
          <p:grpSpPr>
            <a:xfrm>
              <a:off x="3669656" y="4212662"/>
              <a:ext cx="249787" cy="285471"/>
              <a:chOff x="3669656" y="4150316"/>
              <a:chExt cx="249787" cy="285471"/>
            </a:xfrm>
            <a:solidFill>
              <a:srgbClr val="40AA1D"/>
            </a:solidFill>
          </p:grpSpPr>
          <p:grpSp>
            <p:nvGrpSpPr>
              <p:cNvPr id="49" name="Graphic 43">
                <a:extLst>
                  <a:ext uri="{FF2B5EF4-FFF2-40B4-BE49-F238E27FC236}">
                    <a16:creationId xmlns:a16="http://schemas.microsoft.com/office/drawing/2014/main" id="{4D0EB6CB-8BEB-070D-965C-A6C142A695D4}"/>
                  </a:ext>
                </a:extLst>
              </p:cNvPr>
              <p:cNvGrpSpPr/>
              <p:nvPr/>
            </p:nvGrpSpPr>
            <p:grpSpPr>
              <a:xfrm>
                <a:off x="3683037" y="4297512"/>
                <a:ext cx="223024" cy="138275"/>
                <a:chOff x="3683037" y="4297512"/>
                <a:chExt cx="223024" cy="138275"/>
              </a:xfrm>
              <a:solidFill>
                <a:srgbClr val="40AA1D"/>
              </a:solidFill>
            </p:grpSpPr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id="{7E93F21C-ABD5-277F-FE30-CD389F6DE48F}"/>
                    </a:ext>
                  </a:extLst>
                </p:cNvPr>
                <p:cNvSpPr/>
                <p:nvPr/>
              </p:nvSpPr>
              <p:spPr>
                <a:xfrm>
                  <a:off x="3683037" y="4297512"/>
                  <a:ext cx="102591" cy="138275"/>
                </a:xfrm>
                <a:custGeom>
                  <a:avLst/>
                  <a:gdLst>
                    <a:gd name="connsiteX0" fmla="*/ 0 w 102591"/>
                    <a:gd name="connsiteY0" fmla="*/ 0 h 138275"/>
                    <a:gd name="connsiteX1" fmla="*/ 0 w 102591"/>
                    <a:gd name="connsiteY1" fmla="*/ 124894 h 138275"/>
                    <a:gd name="connsiteX2" fmla="*/ 13381 w 102591"/>
                    <a:gd name="connsiteY2" fmla="*/ 138275 h 138275"/>
                    <a:gd name="connsiteX3" fmla="*/ 102591 w 102591"/>
                    <a:gd name="connsiteY3" fmla="*/ 138275 h 138275"/>
                    <a:gd name="connsiteX4" fmla="*/ 102591 w 102591"/>
                    <a:gd name="connsiteY4" fmla="*/ 0 h 138275"/>
                    <a:gd name="connsiteX5" fmla="*/ 0 w 102591"/>
                    <a:gd name="connsiteY5" fmla="*/ 0 h 138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2591" h="138275">
                      <a:moveTo>
                        <a:pt x="0" y="0"/>
                      </a:moveTo>
                      <a:lnTo>
                        <a:pt x="0" y="124894"/>
                      </a:lnTo>
                      <a:cubicBezTo>
                        <a:pt x="0" y="132030"/>
                        <a:pt x="6245" y="138275"/>
                        <a:pt x="13381" y="138275"/>
                      </a:cubicBezTo>
                      <a:lnTo>
                        <a:pt x="102591" y="138275"/>
                      </a:lnTo>
                      <a:lnTo>
                        <a:pt x="10259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AA1D"/>
                </a:solidFill>
                <a:ln w="88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E2BC23BF-5D73-ED9F-BCE6-D2E6CFCB5DBF}"/>
                    </a:ext>
                  </a:extLst>
                </p:cNvPr>
                <p:cNvSpPr/>
                <p:nvPr/>
              </p:nvSpPr>
              <p:spPr>
                <a:xfrm>
                  <a:off x="3803470" y="4297512"/>
                  <a:ext cx="102591" cy="138275"/>
                </a:xfrm>
                <a:custGeom>
                  <a:avLst/>
                  <a:gdLst>
                    <a:gd name="connsiteX0" fmla="*/ 0 w 102591"/>
                    <a:gd name="connsiteY0" fmla="*/ 0 h 138275"/>
                    <a:gd name="connsiteX1" fmla="*/ 0 w 102591"/>
                    <a:gd name="connsiteY1" fmla="*/ 138275 h 138275"/>
                    <a:gd name="connsiteX2" fmla="*/ 89210 w 102591"/>
                    <a:gd name="connsiteY2" fmla="*/ 138275 h 138275"/>
                    <a:gd name="connsiteX3" fmla="*/ 102591 w 102591"/>
                    <a:gd name="connsiteY3" fmla="*/ 124894 h 138275"/>
                    <a:gd name="connsiteX4" fmla="*/ 102591 w 102591"/>
                    <a:gd name="connsiteY4" fmla="*/ 0 h 138275"/>
                    <a:gd name="connsiteX5" fmla="*/ 0 w 102591"/>
                    <a:gd name="connsiteY5" fmla="*/ 0 h 138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2591" h="138275">
                      <a:moveTo>
                        <a:pt x="0" y="0"/>
                      </a:moveTo>
                      <a:lnTo>
                        <a:pt x="0" y="138275"/>
                      </a:lnTo>
                      <a:lnTo>
                        <a:pt x="89210" y="138275"/>
                      </a:lnTo>
                      <a:cubicBezTo>
                        <a:pt x="96347" y="138275"/>
                        <a:pt x="102591" y="132030"/>
                        <a:pt x="102591" y="124894"/>
                      </a:cubicBezTo>
                      <a:lnTo>
                        <a:pt x="10259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AA1D"/>
                </a:solidFill>
                <a:ln w="88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60" name="Graphic 43">
                <a:extLst>
                  <a:ext uri="{FF2B5EF4-FFF2-40B4-BE49-F238E27FC236}">
                    <a16:creationId xmlns:a16="http://schemas.microsoft.com/office/drawing/2014/main" id="{96C7A92F-F7A8-44B5-CC49-8ACCF9B8339A}"/>
                  </a:ext>
                </a:extLst>
              </p:cNvPr>
              <p:cNvGrpSpPr/>
              <p:nvPr/>
            </p:nvGrpSpPr>
            <p:grpSpPr>
              <a:xfrm>
                <a:off x="3669656" y="4226144"/>
                <a:ext cx="249787" cy="53525"/>
                <a:chOff x="3669656" y="4226144"/>
                <a:chExt cx="249787" cy="53525"/>
              </a:xfrm>
              <a:solidFill>
                <a:srgbClr val="40AA1D"/>
              </a:solidFill>
            </p:grpSpPr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83AC7DEC-0FBC-BA06-A1BD-1AF3CB0480CB}"/>
                    </a:ext>
                  </a:extLst>
                </p:cNvPr>
                <p:cNvSpPr/>
                <p:nvPr/>
              </p:nvSpPr>
              <p:spPr>
                <a:xfrm>
                  <a:off x="3803470" y="4226144"/>
                  <a:ext cx="115972" cy="53525"/>
                </a:xfrm>
                <a:custGeom>
                  <a:avLst/>
                  <a:gdLst>
                    <a:gd name="connsiteX0" fmla="*/ 0 w 115972"/>
                    <a:gd name="connsiteY0" fmla="*/ 0 h 53525"/>
                    <a:gd name="connsiteX1" fmla="*/ 115973 w 115972"/>
                    <a:gd name="connsiteY1" fmla="*/ 0 h 53525"/>
                    <a:gd name="connsiteX2" fmla="*/ 115973 w 115972"/>
                    <a:gd name="connsiteY2" fmla="*/ 53526 h 53525"/>
                    <a:gd name="connsiteX3" fmla="*/ 0 w 115972"/>
                    <a:gd name="connsiteY3" fmla="*/ 53526 h 5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5972" h="53525">
                      <a:moveTo>
                        <a:pt x="0" y="0"/>
                      </a:moveTo>
                      <a:lnTo>
                        <a:pt x="115973" y="0"/>
                      </a:lnTo>
                      <a:lnTo>
                        <a:pt x="115973" y="53526"/>
                      </a:lnTo>
                      <a:lnTo>
                        <a:pt x="0" y="53526"/>
                      </a:lnTo>
                      <a:close/>
                    </a:path>
                  </a:pathLst>
                </a:custGeom>
                <a:solidFill>
                  <a:srgbClr val="40AA1D"/>
                </a:solidFill>
                <a:ln w="88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924661A6-A6A4-AE26-2183-F9E0345107E3}"/>
                    </a:ext>
                  </a:extLst>
                </p:cNvPr>
                <p:cNvSpPr/>
                <p:nvPr/>
              </p:nvSpPr>
              <p:spPr>
                <a:xfrm>
                  <a:off x="3669656" y="4226144"/>
                  <a:ext cx="115972" cy="53525"/>
                </a:xfrm>
                <a:custGeom>
                  <a:avLst/>
                  <a:gdLst>
                    <a:gd name="connsiteX0" fmla="*/ 0 w 115972"/>
                    <a:gd name="connsiteY0" fmla="*/ 0 h 53525"/>
                    <a:gd name="connsiteX1" fmla="*/ 115973 w 115972"/>
                    <a:gd name="connsiteY1" fmla="*/ 0 h 53525"/>
                    <a:gd name="connsiteX2" fmla="*/ 115973 w 115972"/>
                    <a:gd name="connsiteY2" fmla="*/ 53526 h 53525"/>
                    <a:gd name="connsiteX3" fmla="*/ 0 w 115972"/>
                    <a:gd name="connsiteY3" fmla="*/ 53526 h 5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5972" h="53525">
                      <a:moveTo>
                        <a:pt x="0" y="0"/>
                      </a:moveTo>
                      <a:lnTo>
                        <a:pt x="115973" y="0"/>
                      </a:lnTo>
                      <a:lnTo>
                        <a:pt x="115973" y="53526"/>
                      </a:lnTo>
                      <a:lnTo>
                        <a:pt x="0" y="53526"/>
                      </a:lnTo>
                      <a:close/>
                    </a:path>
                  </a:pathLst>
                </a:custGeom>
                <a:solidFill>
                  <a:srgbClr val="40AA1D"/>
                </a:solidFill>
                <a:ln w="88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3C7F0999-3EA0-DD58-19B1-5CA4A5E5DCA8}"/>
                  </a:ext>
                </a:extLst>
              </p:cNvPr>
              <p:cNvSpPr/>
              <p:nvPr/>
            </p:nvSpPr>
            <p:spPr>
              <a:xfrm>
                <a:off x="3725858" y="4150316"/>
                <a:ext cx="135598" cy="74936"/>
              </a:xfrm>
              <a:custGeom>
                <a:avLst/>
                <a:gdLst>
                  <a:gd name="connsiteX0" fmla="*/ 99915 w 135598"/>
                  <a:gd name="connsiteY0" fmla="*/ 0 h 74936"/>
                  <a:gd name="connsiteX1" fmla="*/ 68692 w 135598"/>
                  <a:gd name="connsiteY1" fmla="*/ 16058 h 74936"/>
                  <a:gd name="connsiteX2" fmla="*/ 37468 w 135598"/>
                  <a:gd name="connsiteY2" fmla="*/ 0 h 74936"/>
                  <a:gd name="connsiteX3" fmla="*/ 0 w 135598"/>
                  <a:gd name="connsiteY3" fmla="*/ 37468 h 74936"/>
                  <a:gd name="connsiteX4" fmla="*/ 37468 w 135598"/>
                  <a:gd name="connsiteY4" fmla="*/ 74936 h 74936"/>
                  <a:gd name="connsiteX5" fmla="*/ 38360 w 135598"/>
                  <a:gd name="connsiteY5" fmla="*/ 74936 h 74936"/>
                  <a:gd name="connsiteX6" fmla="*/ 97239 w 135598"/>
                  <a:gd name="connsiteY6" fmla="*/ 74936 h 74936"/>
                  <a:gd name="connsiteX7" fmla="*/ 98131 w 135598"/>
                  <a:gd name="connsiteY7" fmla="*/ 74936 h 74936"/>
                  <a:gd name="connsiteX8" fmla="*/ 135599 w 135598"/>
                  <a:gd name="connsiteY8" fmla="*/ 37468 h 74936"/>
                  <a:gd name="connsiteX9" fmla="*/ 99915 w 135598"/>
                  <a:gd name="connsiteY9" fmla="*/ 0 h 74936"/>
                  <a:gd name="connsiteX10" fmla="*/ 17842 w 135598"/>
                  <a:gd name="connsiteY10" fmla="*/ 37468 h 74936"/>
                  <a:gd name="connsiteX11" fmla="*/ 37468 w 135598"/>
                  <a:gd name="connsiteY11" fmla="*/ 17842 h 74936"/>
                  <a:gd name="connsiteX12" fmla="*/ 57094 w 135598"/>
                  <a:gd name="connsiteY12" fmla="*/ 37468 h 74936"/>
                  <a:gd name="connsiteX13" fmla="*/ 37468 w 135598"/>
                  <a:gd name="connsiteY13" fmla="*/ 57094 h 74936"/>
                  <a:gd name="connsiteX14" fmla="*/ 17842 w 135598"/>
                  <a:gd name="connsiteY14" fmla="*/ 37468 h 74936"/>
                  <a:gd name="connsiteX15" fmla="*/ 99915 w 135598"/>
                  <a:gd name="connsiteY15" fmla="*/ 57986 h 74936"/>
                  <a:gd name="connsiteX16" fmla="*/ 80289 w 135598"/>
                  <a:gd name="connsiteY16" fmla="*/ 38360 h 74936"/>
                  <a:gd name="connsiteX17" fmla="*/ 99915 w 135598"/>
                  <a:gd name="connsiteY17" fmla="*/ 18734 h 74936"/>
                  <a:gd name="connsiteX18" fmla="*/ 119541 w 135598"/>
                  <a:gd name="connsiteY18" fmla="*/ 38360 h 74936"/>
                  <a:gd name="connsiteX19" fmla="*/ 99915 w 135598"/>
                  <a:gd name="connsiteY19" fmla="*/ 57986 h 74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35598" h="74936">
                    <a:moveTo>
                      <a:pt x="99915" y="0"/>
                    </a:moveTo>
                    <a:cubicBezTo>
                      <a:pt x="86533" y="0"/>
                      <a:pt x="75828" y="6245"/>
                      <a:pt x="68692" y="16058"/>
                    </a:cubicBezTo>
                    <a:cubicBezTo>
                      <a:pt x="61555" y="6245"/>
                      <a:pt x="50850" y="0"/>
                      <a:pt x="37468" y="0"/>
                    </a:cubicBezTo>
                    <a:cubicBezTo>
                      <a:pt x="16950" y="0"/>
                      <a:pt x="0" y="16950"/>
                      <a:pt x="0" y="37468"/>
                    </a:cubicBezTo>
                    <a:cubicBezTo>
                      <a:pt x="0" y="57986"/>
                      <a:pt x="16950" y="74936"/>
                      <a:pt x="37468" y="74936"/>
                    </a:cubicBezTo>
                    <a:cubicBezTo>
                      <a:pt x="38360" y="74936"/>
                      <a:pt x="38360" y="74936"/>
                      <a:pt x="38360" y="74936"/>
                    </a:cubicBezTo>
                    <a:lnTo>
                      <a:pt x="97239" y="74936"/>
                    </a:lnTo>
                    <a:cubicBezTo>
                      <a:pt x="98131" y="74936"/>
                      <a:pt x="98131" y="74936"/>
                      <a:pt x="98131" y="74936"/>
                    </a:cubicBezTo>
                    <a:cubicBezTo>
                      <a:pt x="118649" y="74936"/>
                      <a:pt x="135599" y="57986"/>
                      <a:pt x="135599" y="37468"/>
                    </a:cubicBezTo>
                    <a:cubicBezTo>
                      <a:pt x="135599" y="16950"/>
                      <a:pt x="120433" y="0"/>
                      <a:pt x="99915" y="0"/>
                    </a:cubicBezTo>
                    <a:close/>
                    <a:moveTo>
                      <a:pt x="17842" y="37468"/>
                    </a:moveTo>
                    <a:cubicBezTo>
                      <a:pt x="17842" y="26763"/>
                      <a:pt x="26763" y="17842"/>
                      <a:pt x="37468" y="17842"/>
                    </a:cubicBezTo>
                    <a:cubicBezTo>
                      <a:pt x="48173" y="17842"/>
                      <a:pt x="57094" y="26763"/>
                      <a:pt x="57094" y="37468"/>
                    </a:cubicBezTo>
                    <a:cubicBezTo>
                      <a:pt x="57094" y="48173"/>
                      <a:pt x="48173" y="57094"/>
                      <a:pt x="37468" y="57094"/>
                    </a:cubicBezTo>
                    <a:cubicBezTo>
                      <a:pt x="26763" y="57094"/>
                      <a:pt x="17842" y="49065"/>
                      <a:pt x="17842" y="37468"/>
                    </a:cubicBezTo>
                    <a:close/>
                    <a:moveTo>
                      <a:pt x="99915" y="57986"/>
                    </a:moveTo>
                    <a:cubicBezTo>
                      <a:pt x="89210" y="57986"/>
                      <a:pt x="80289" y="49065"/>
                      <a:pt x="80289" y="38360"/>
                    </a:cubicBezTo>
                    <a:cubicBezTo>
                      <a:pt x="80289" y="27655"/>
                      <a:pt x="89210" y="18734"/>
                      <a:pt x="99915" y="18734"/>
                    </a:cubicBezTo>
                    <a:cubicBezTo>
                      <a:pt x="110620" y="18734"/>
                      <a:pt x="119541" y="27655"/>
                      <a:pt x="119541" y="38360"/>
                    </a:cubicBezTo>
                    <a:cubicBezTo>
                      <a:pt x="119541" y="49065"/>
                      <a:pt x="110620" y="57986"/>
                      <a:pt x="99915" y="57986"/>
                    </a:cubicBezTo>
                    <a:close/>
                  </a:path>
                </a:pathLst>
              </a:custGeom>
              <a:solidFill>
                <a:srgbClr val="40AA1D"/>
              </a:solidFill>
              <a:ln w="88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8" name="object 46">
            <a:extLst>
              <a:ext uri="{FF2B5EF4-FFF2-40B4-BE49-F238E27FC236}">
                <a16:creationId xmlns:a16="http://schemas.microsoft.com/office/drawing/2014/main" id="{61998E1E-5496-69A4-050F-E25571A0A363}"/>
              </a:ext>
            </a:extLst>
          </p:cNvPr>
          <p:cNvSpPr txBox="1"/>
          <p:nvPr/>
        </p:nvSpPr>
        <p:spPr>
          <a:xfrm>
            <a:off x="10899634" y="4015225"/>
            <a:ext cx="84946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C</a:t>
            </a:r>
            <a:r>
              <a:rPr lang="en-US" dirty="0"/>
              <a:t>ry</a:t>
            </a:r>
            <a:r>
              <a:rPr dirty="0"/>
              <a:t>stal Ball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F9002BC-89DF-6654-3456-ADAA33F672EA}"/>
              </a:ext>
            </a:extLst>
          </p:cNvPr>
          <p:cNvSpPr txBox="1"/>
          <p:nvPr/>
        </p:nvSpPr>
        <p:spPr>
          <a:xfrm>
            <a:off x="7203592" y="4015225"/>
            <a:ext cx="82296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Vacation  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4E9BE0D3-B59C-6D51-29A4-F983185BCFD9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603327" y="4324255"/>
            <a:ext cx="609600" cy="62865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9C0EAA4B-7226-248C-919B-BFA321415506}"/>
              </a:ext>
            </a:extLst>
          </p:cNvPr>
          <p:cNvSpPr txBox="1"/>
          <p:nvPr/>
        </p:nvSpPr>
        <p:spPr>
          <a:xfrm>
            <a:off x="496647" y="4015225"/>
            <a:ext cx="82296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Hand, Pay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E0242CE-9C30-1535-FDBB-AB58CD8152B3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1019564" y="4343305"/>
            <a:ext cx="609600" cy="609600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0B08831A-290C-46EC-C09A-06893A4634A1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8518002" y="4290810"/>
            <a:ext cx="781050" cy="609600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6E55C583-33E0-C7E9-9320-4B143C9DEDDF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9839801" y="4367835"/>
            <a:ext cx="781050" cy="533400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5F689CF2-141B-0FF8-BBEC-69D560CF7FB6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7242982" y="430795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72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6D4DC-3B3B-4C01-A598-B5CD4BF274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ICONS</a:t>
            </a:r>
          </a:p>
        </p:txBody>
      </p:sp>
      <p:pic>
        <p:nvPicPr>
          <p:cNvPr id="101" name="Graphic 100">
            <a:extLst>
              <a:ext uri="{FF2B5EF4-FFF2-40B4-BE49-F238E27FC236}">
                <a16:creationId xmlns:a16="http://schemas.microsoft.com/office/drawing/2014/main" id="{FB790B99-9EB7-4FC0-8B70-CA9AA257F83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6405" r="25557"/>
          <a:stretch/>
        </p:blipFill>
        <p:spPr>
          <a:xfrm>
            <a:off x="1748829" y="1882814"/>
            <a:ext cx="294304" cy="612648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856FB589-76D2-436E-AA47-052872BDD3B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218" b="2341"/>
          <a:stretch/>
        </p:blipFill>
        <p:spPr>
          <a:xfrm>
            <a:off x="2677234" y="1893714"/>
            <a:ext cx="612648" cy="590849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E2494D2A-7452-40E7-A0D0-3A889DEB200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5936" t="8018" r="5241" b="7816"/>
          <a:stretch/>
        </p:blipFill>
        <p:spPr>
          <a:xfrm>
            <a:off x="5170732" y="1972458"/>
            <a:ext cx="608437" cy="433360"/>
          </a:xfrm>
          <a:prstGeom prst="rect">
            <a:avLst/>
          </a:prstGeom>
        </p:spPr>
      </p:pic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65D9B9FD-2C30-4AF2-9E0D-33ECE8E1D1A2}"/>
              </a:ext>
            </a:extLst>
          </p:cNvPr>
          <p:cNvSpPr txBox="1">
            <a:spLocks/>
          </p:cNvSpPr>
          <p:nvPr/>
        </p:nvSpPr>
        <p:spPr>
          <a:xfrm>
            <a:off x="4971435" y="1598029"/>
            <a:ext cx="1049972" cy="1523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YouTube</a:t>
            </a:r>
          </a:p>
        </p:txBody>
      </p:sp>
      <p:sp>
        <p:nvSpPr>
          <p:cNvPr id="107" name="Text Placeholder 81">
            <a:extLst>
              <a:ext uri="{FF2B5EF4-FFF2-40B4-BE49-F238E27FC236}">
                <a16:creationId xmlns:a16="http://schemas.microsoft.com/office/drawing/2014/main" id="{1A68AEB7-386E-464F-822E-B8C3D0BA0370}"/>
              </a:ext>
            </a:extLst>
          </p:cNvPr>
          <p:cNvSpPr txBox="1">
            <a:spLocks/>
          </p:cNvSpPr>
          <p:nvPr/>
        </p:nvSpPr>
        <p:spPr>
          <a:xfrm>
            <a:off x="3711198" y="1598029"/>
            <a:ext cx="1049972" cy="1523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witter</a:t>
            </a:r>
          </a:p>
        </p:txBody>
      </p:sp>
      <p:sp>
        <p:nvSpPr>
          <p:cNvPr id="108" name="Text Placeholder 81">
            <a:extLst>
              <a:ext uri="{FF2B5EF4-FFF2-40B4-BE49-F238E27FC236}">
                <a16:creationId xmlns:a16="http://schemas.microsoft.com/office/drawing/2014/main" id="{3B53C3E6-CC21-4DE2-AA1E-79B50C8B4EDD}"/>
              </a:ext>
            </a:extLst>
          </p:cNvPr>
          <p:cNvSpPr txBox="1">
            <a:spLocks/>
          </p:cNvSpPr>
          <p:nvPr/>
        </p:nvSpPr>
        <p:spPr>
          <a:xfrm>
            <a:off x="2450961" y="1598029"/>
            <a:ext cx="1049972" cy="1523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inkedIn</a:t>
            </a:r>
          </a:p>
        </p:txBody>
      </p:sp>
      <p:sp>
        <p:nvSpPr>
          <p:cNvPr id="110" name="Text Placeholder 81">
            <a:extLst>
              <a:ext uri="{FF2B5EF4-FFF2-40B4-BE49-F238E27FC236}">
                <a16:creationId xmlns:a16="http://schemas.microsoft.com/office/drawing/2014/main" id="{FBFE768A-A889-4296-9736-B3882180E1F7}"/>
              </a:ext>
            </a:extLst>
          </p:cNvPr>
          <p:cNvSpPr txBox="1">
            <a:spLocks/>
          </p:cNvSpPr>
          <p:nvPr/>
        </p:nvSpPr>
        <p:spPr>
          <a:xfrm>
            <a:off x="1440108" y="1598029"/>
            <a:ext cx="1049972" cy="1523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Facebook 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6B73C685-B1E4-4B34-9990-3D5CAD73205A}"/>
              </a:ext>
            </a:extLst>
          </p:cNvPr>
          <p:cNvSpPr/>
          <p:nvPr/>
        </p:nvSpPr>
        <p:spPr>
          <a:xfrm>
            <a:off x="505745" y="1192744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087CC832-DD9A-4397-B4D1-ED3BAC76817D}"/>
              </a:ext>
            </a:extLst>
          </p:cNvPr>
          <p:cNvSpPr txBox="1"/>
          <p:nvPr/>
        </p:nvSpPr>
        <p:spPr>
          <a:xfrm>
            <a:off x="669701" y="1598029"/>
            <a:ext cx="376705" cy="1523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hare</a:t>
            </a:r>
          </a:p>
        </p:txBody>
      </p:sp>
      <p:pic>
        <p:nvPicPr>
          <p:cNvPr id="151" name="Graphic 150">
            <a:extLst>
              <a:ext uri="{FF2B5EF4-FFF2-40B4-BE49-F238E27FC236}">
                <a16:creationId xmlns:a16="http://schemas.microsoft.com/office/drawing/2014/main" id="{012D1077-BCDA-446D-B4D7-CEC55F25EEA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5128" y="1884338"/>
            <a:ext cx="609600" cy="609600"/>
          </a:xfrm>
          <a:prstGeom prst="rect">
            <a:avLst/>
          </a:prstGeom>
        </p:spPr>
      </p:pic>
      <p:sp>
        <p:nvSpPr>
          <p:cNvPr id="8" name="Text Placeholder 81">
            <a:extLst>
              <a:ext uri="{FF2B5EF4-FFF2-40B4-BE49-F238E27FC236}">
                <a16:creationId xmlns:a16="http://schemas.microsoft.com/office/drawing/2014/main" id="{4E74D60D-B04F-6BC0-FA59-2DA733C858C8}"/>
              </a:ext>
            </a:extLst>
          </p:cNvPr>
          <p:cNvSpPr txBox="1">
            <a:spLocks/>
          </p:cNvSpPr>
          <p:nvPr/>
        </p:nvSpPr>
        <p:spPr>
          <a:xfrm>
            <a:off x="6038780" y="338285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ower Button</a:t>
            </a:r>
          </a:p>
        </p:txBody>
      </p:sp>
      <p:sp>
        <p:nvSpPr>
          <p:cNvPr id="12" name="Text Placeholder 81">
            <a:extLst>
              <a:ext uri="{FF2B5EF4-FFF2-40B4-BE49-F238E27FC236}">
                <a16:creationId xmlns:a16="http://schemas.microsoft.com/office/drawing/2014/main" id="{E200F6FA-B532-655B-62DF-19BCC860107B}"/>
              </a:ext>
            </a:extLst>
          </p:cNvPr>
          <p:cNvSpPr txBox="1">
            <a:spLocks/>
          </p:cNvSpPr>
          <p:nvPr/>
        </p:nvSpPr>
        <p:spPr>
          <a:xfrm>
            <a:off x="5057895" y="338285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ause</a:t>
            </a:r>
          </a:p>
        </p:txBody>
      </p:sp>
      <p:sp>
        <p:nvSpPr>
          <p:cNvPr id="13" name="Text Placeholder 81">
            <a:extLst>
              <a:ext uri="{FF2B5EF4-FFF2-40B4-BE49-F238E27FC236}">
                <a16:creationId xmlns:a16="http://schemas.microsoft.com/office/drawing/2014/main" id="{140C689C-58C7-A830-09F5-5AA4ADD7212E}"/>
              </a:ext>
            </a:extLst>
          </p:cNvPr>
          <p:cNvSpPr txBox="1">
            <a:spLocks/>
          </p:cNvSpPr>
          <p:nvPr/>
        </p:nvSpPr>
        <p:spPr>
          <a:xfrm>
            <a:off x="4362372" y="3382851"/>
            <a:ext cx="71001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Video, Play</a:t>
            </a:r>
          </a:p>
        </p:txBody>
      </p:sp>
      <p:sp>
        <p:nvSpPr>
          <p:cNvPr id="14" name="Text Placeholder 81">
            <a:extLst>
              <a:ext uri="{FF2B5EF4-FFF2-40B4-BE49-F238E27FC236}">
                <a16:creationId xmlns:a16="http://schemas.microsoft.com/office/drawing/2014/main" id="{B50D80D8-D6B4-7B4E-E87D-2F883EB76159}"/>
              </a:ext>
            </a:extLst>
          </p:cNvPr>
          <p:cNvSpPr txBox="1">
            <a:spLocks/>
          </p:cNvSpPr>
          <p:nvPr/>
        </p:nvSpPr>
        <p:spPr>
          <a:xfrm>
            <a:off x="3258656" y="338285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kip Left</a:t>
            </a:r>
          </a:p>
        </p:txBody>
      </p:sp>
      <p:sp>
        <p:nvSpPr>
          <p:cNvPr id="16" name="Text Placeholder 81">
            <a:extLst>
              <a:ext uri="{FF2B5EF4-FFF2-40B4-BE49-F238E27FC236}">
                <a16:creationId xmlns:a16="http://schemas.microsoft.com/office/drawing/2014/main" id="{2404E831-D60D-DC6E-7192-747FD5885104}"/>
              </a:ext>
            </a:extLst>
          </p:cNvPr>
          <p:cNvSpPr txBox="1">
            <a:spLocks/>
          </p:cNvSpPr>
          <p:nvPr/>
        </p:nvSpPr>
        <p:spPr>
          <a:xfrm>
            <a:off x="2332362" y="338285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kip Right</a:t>
            </a:r>
          </a:p>
        </p:txBody>
      </p:sp>
      <p:sp>
        <p:nvSpPr>
          <p:cNvPr id="17" name="Text Placeholder 81">
            <a:extLst>
              <a:ext uri="{FF2B5EF4-FFF2-40B4-BE49-F238E27FC236}">
                <a16:creationId xmlns:a16="http://schemas.microsoft.com/office/drawing/2014/main" id="{8D22235A-0E87-72A6-E07B-90737B205914}"/>
              </a:ext>
            </a:extLst>
          </p:cNvPr>
          <p:cNvSpPr txBox="1">
            <a:spLocks/>
          </p:cNvSpPr>
          <p:nvPr/>
        </p:nvSpPr>
        <p:spPr>
          <a:xfrm>
            <a:off x="1288125" y="338285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ewind </a:t>
            </a:r>
          </a:p>
        </p:txBody>
      </p:sp>
      <p:sp>
        <p:nvSpPr>
          <p:cNvPr id="18" name="Text Placeholder 81">
            <a:extLst>
              <a:ext uri="{FF2B5EF4-FFF2-40B4-BE49-F238E27FC236}">
                <a16:creationId xmlns:a16="http://schemas.microsoft.com/office/drawing/2014/main" id="{2F52CCB7-1C91-1029-99B1-01EC2DC0834C}"/>
              </a:ext>
            </a:extLst>
          </p:cNvPr>
          <p:cNvSpPr txBox="1">
            <a:spLocks/>
          </p:cNvSpPr>
          <p:nvPr/>
        </p:nvSpPr>
        <p:spPr>
          <a:xfrm>
            <a:off x="329648" y="338285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Fast Forward</a:t>
            </a:r>
          </a:p>
        </p:txBody>
      </p:sp>
      <p:sp>
        <p:nvSpPr>
          <p:cNvPr id="19" name="Text Placeholder 81">
            <a:extLst>
              <a:ext uri="{FF2B5EF4-FFF2-40B4-BE49-F238E27FC236}">
                <a16:creationId xmlns:a16="http://schemas.microsoft.com/office/drawing/2014/main" id="{56DFBE72-6461-C7B9-2651-B8F301FB2268}"/>
              </a:ext>
            </a:extLst>
          </p:cNvPr>
          <p:cNvSpPr txBox="1">
            <a:spLocks/>
          </p:cNvSpPr>
          <p:nvPr/>
        </p:nvSpPr>
        <p:spPr>
          <a:xfrm>
            <a:off x="8801122" y="338285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ound ON</a:t>
            </a:r>
          </a:p>
        </p:txBody>
      </p:sp>
      <p:sp>
        <p:nvSpPr>
          <p:cNvPr id="20" name="Text Placeholder 81">
            <a:extLst>
              <a:ext uri="{FF2B5EF4-FFF2-40B4-BE49-F238E27FC236}">
                <a16:creationId xmlns:a16="http://schemas.microsoft.com/office/drawing/2014/main" id="{F1287D09-7503-9A7C-EFDE-8B938EE609C2}"/>
              </a:ext>
            </a:extLst>
          </p:cNvPr>
          <p:cNvSpPr txBox="1">
            <a:spLocks/>
          </p:cNvSpPr>
          <p:nvPr/>
        </p:nvSpPr>
        <p:spPr>
          <a:xfrm>
            <a:off x="7142497" y="3382851"/>
            <a:ext cx="553320" cy="13849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dirty="0">
                <a:ea typeface="+mn-lt"/>
                <a:cs typeface="+mn-lt"/>
              </a:rPr>
              <a:t>Stop</a:t>
            </a:r>
          </a:p>
        </p:txBody>
      </p:sp>
      <p:sp>
        <p:nvSpPr>
          <p:cNvPr id="21" name="Text Placeholder 81">
            <a:extLst>
              <a:ext uri="{FF2B5EF4-FFF2-40B4-BE49-F238E27FC236}">
                <a16:creationId xmlns:a16="http://schemas.microsoft.com/office/drawing/2014/main" id="{FD8A48AD-FBBB-CF9D-D99D-40FBCFA81993}"/>
              </a:ext>
            </a:extLst>
          </p:cNvPr>
          <p:cNvSpPr txBox="1">
            <a:spLocks/>
          </p:cNvSpPr>
          <p:nvPr/>
        </p:nvSpPr>
        <p:spPr>
          <a:xfrm>
            <a:off x="9877542" y="338285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ound Off, Mut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021C2D4-F68B-C4DE-EEDD-49FF266A236A}"/>
              </a:ext>
            </a:extLst>
          </p:cNvPr>
          <p:cNvSpPr/>
          <p:nvPr/>
        </p:nvSpPr>
        <p:spPr>
          <a:xfrm>
            <a:off x="505987" y="2951713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Media Play Buttons</a:t>
            </a:r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24" name="Graphic 2">
            <a:extLst>
              <a:ext uri="{FF2B5EF4-FFF2-40B4-BE49-F238E27FC236}">
                <a16:creationId xmlns:a16="http://schemas.microsoft.com/office/drawing/2014/main" id="{161F7B7A-265C-9C86-E324-517F85034D51}"/>
              </a:ext>
            </a:extLst>
          </p:cNvPr>
          <p:cNvGrpSpPr>
            <a:grpSpLocks noChangeAspect="1"/>
          </p:cNvGrpSpPr>
          <p:nvPr/>
        </p:nvGrpSpPr>
        <p:grpSpPr>
          <a:xfrm>
            <a:off x="597051" y="3779013"/>
            <a:ext cx="612648" cy="531732"/>
            <a:chOff x="736035" y="2420175"/>
            <a:chExt cx="737483" cy="640080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9D569F2-BE45-CA12-7572-36EF1D4219B2}"/>
                </a:ext>
              </a:extLst>
            </p:cNvPr>
            <p:cNvSpPr/>
            <p:nvPr/>
          </p:nvSpPr>
          <p:spPr>
            <a:xfrm>
              <a:off x="736035" y="2420175"/>
              <a:ext cx="426720" cy="630803"/>
            </a:xfrm>
            <a:custGeom>
              <a:avLst/>
              <a:gdLst>
                <a:gd name="connsiteX0" fmla="*/ 0 w 426719"/>
                <a:gd name="connsiteY0" fmla="*/ 0 h 630803"/>
                <a:gd name="connsiteX1" fmla="*/ 0 w 426719"/>
                <a:gd name="connsiteY1" fmla="*/ 633957 h 630803"/>
                <a:gd name="connsiteX2" fmla="*/ 426766 w 426719"/>
                <a:gd name="connsiteY2" fmla="*/ 321200 h 630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6719" h="630803">
                  <a:moveTo>
                    <a:pt x="0" y="0"/>
                  </a:moveTo>
                  <a:lnTo>
                    <a:pt x="0" y="633957"/>
                  </a:lnTo>
                  <a:lnTo>
                    <a:pt x="426766" y="321200"/>
                  </a:lnTo>
                </a:path>
              </a:pathLst>
            </a:custGeom>
            <a:solidFill>
              <a:schemeClr val="tx1"/>
            </a:solidFill>
            <a:ln w="4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AC69F99-F12D-8B2C-3200-02AC90AC2945}"/>
                </a:ext>
              </a:extLst>
            </p:cNvPr>
            <p:cNvSpPr/>
            <p:nvPr/>
          </p:nvSpPr>
          <p:spPr>
            <a:xfrm>
              <a:off x="1041464" y="2420175"/>
              <a:ext cx="426720" cy="640080"/>
            </a:xfrm>
            <a:custGeom>
              <a:avLst/>
              <a:gdLst>
                <a:gd name="connsiteX0" fmla="*/ 1994 w 426719"/>
                <a:gd name="connsiteY0" fmla="*/ 504782 h 640080"/>
                <a:gd name="connsiteX1" fmla="*/ 1994 w 426719"/>
                <a:gd name="connsiteY1" fmla="*/ 642353 h 640080"/>
                <a:gd name="connsiteX2" fmla="*/ 431126 w 426719"/>
                <a:gd name="connsiteY2" fmla="*/ 320643 h 640080"/>
                <a:gd name="connsiteX3" fmla="*/ 0 w 426719"/>
                <a:gd name="connsiteY3" fmla="*/ 0 h 640080"/>
                <a:gd name="connsiteX4" fmla="*/ 0 w 426719"/>
                <a:gd name="connsiteY4" fmla="*/ 128248 h 640080"/>
                <a:gd name="connsiteX5" fmla="*/ 253388 w 426719"/>
                <a:gd name="connsiteY5" fmla="*/ 318788 h 640080"/>
                <a:gd name="connsiteX6" fmla="*/ 1994 w 426719"/>
                <a:gd name="connsiteY6" fmla="*/ 504782 h 64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719" h="640080">
                  <a:moveTo>
                    <a:pt x="1994" y="504782"/>
                  </a:moveTo>
                  <a:cubicBezTo>
                    <a:pt x="-1484" y="507101"/>
                    <a:pt x="1994" y="642353"/>
                    <a:pt x="1994" y="642353"/>
                  </a:cubicBezTo>
                  <a:lnTo>
                    <a:pt x="431126" y="320643"/>
                  </a:lnTo>
                  <a:lnTo>
                    <a:pt x="0" y="0"/>
                  </a:lnTo>
                  <a:lnTo>
                    <a:pt x="0" y="128248"/>
                  </a:lnTo>
                  <a:lnTo>
                    <a:pt x="253388" y="318788"/>
                  </a:lnTo>
                  <a:lnTo>
                    <a:pt x="1994" y="504782"/>
                  </a:lnTo>
                  <a:close/>
                </a:path>
              </a:pathLst>
            </a:custGeom>
            <a:solidFill>
              <a:schemeClr val="bg2"/>
            </a:solidFill>
            <a:ln w="4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F85E644-3BDC-EC97-23BE-34394B923315}"/>
              </a:ext>
            </a:extLst>
          </p:cNvPr>
          <p:cNvGrpSpPr>
            <a:grpSpLocks noChangeAspect="1"/>
          </p:cNvGrpSpPr>
          <p:nvPr/>
        </p:nvGrpSpPr>
        <p:grpSpPr>
          <a:xfrm>
            <a:off x="1479641" y="3777575"/>
            <a:ext cx="612648" cy="534609"/>
            <a:chOff x="2002852" y="2688069"/>
            <a:chExt cx="733072" cy="639694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2B98FB-5614-14B3-6740-0DA288D6B61C}"/>
                </a:ext>
              </a:extLst>
            </p:cNvPr>
            <p:cNvSpPr/>
            <p:nvPr/>
          </p:nvSpPr>
          <p:spPr>
            <a:xfrm>
              <a:off x="2311815" y="2696410"/>
              <a:ext cx="424109" cy="629092"/>
            </a:xfrm>
            <a:custGeom>
              <a:avLst/>
              <a:gdLst>
                <a:gd name="connsiteX0" fmla="*/ 425629 w 424109"/>
                <a:gd name="connsiteY0" fmla="*/ 632272 h 629091"/>
                <a:gd name="connsiteX1" fmla="*/ 425629 w 424109"/>
                <a:gd name="connsiteY1" fmla="*/ 0 h 629091"/>
                <a:gd name="connsiteX2" fmla="*/ 0 w 424109"/>
                <a:gd name="connsiteY2" fmla="*/ 311930 h 629091"/>
                <a:gd name="connsiteX3" fmla="*/ 425629 w 424109"/>
                <a:gd name="connsiteY3" fmla="*/ 632272 h 629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109" h="629091">
                  <a:moveTo>
                    <a:pt x="425629" y="632272"/>
                  </a:moveTo>
                  <a:lnTo>
                    <a:pt x="425629" y="0"/>
                  </a:lnTo>
                  <a:lnTo>
                    <a:pt x="0" y="311930"/>
                  </a:lnTo>
                  <a:lnTo>
                    <a:pt x="425629" y="632272"/>
                  </a:lnTo>
                  <a:close/>
                </a:path>
              </a:pathLst>
            </a:custGeom>
            <a:solidFill>
              <a:schemeClr val="tx1"/>
            </a:solidFill>
            <a:ln w="27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17EB927-164E-700E-B5D2-94BCC67E421D}"/>
                </a:ext>
              </a:extLst>
            </p:cNvPr>
            <p:cNvSpPr/>
            <p:nvPr/>
          </p:nvSpPr>
          <p:spPr>
            <a:xfrm>
              <a:off x="2002852" y="2688069"/>
              <a:ext cx="427643" cy="639694"/>
            </a:xfrm>
            <a:custGeom>
              <a:avLst/>
              <a:gdLst>
                <a:gd name="connsiteX0" fmla="*/ 427961 w 427643"/>
                <a:gd name="connsiteY0" fmla="*/ 137163 h 639694"/>
                <a:gd name="connsiteX1" fmla="*/ 427961 w 427643"/>
                <a:gd name="connsiteY1" fmla="*/ 0 h 639694"/>
                <a:gd name="connsiteX2" fmla="*/ 0 w 427643"/>
                <a:gd name="connsiteY2" fmla="*/ 320837 h 639694"/>
                <a:gd name="connsiteX3" fmla="*/ 429941 w 427643"/>
                <a:gd name="connsiteY3" fmla="*/ 640613 h 639694"/>
                <a:gd name="connsiteX4" fmla="*/ 429941 w 427643"/>
                <a:gd name="connsiteY4" fmla="*/ 512710 h 639694"/>
                <a:gd name="connsiteX5" fmla="*/ 177242 w 427643"/>
                <a:gd name="connsiteY5" fmla="*/ 322675 h 639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7643" h="639694">
                  <a:moveTo>
                    <a:pt x="427961" y="137163"/>
                  </a:moveTo>
                  <a:cubicBezTo>
                    <a:pt x="431496" y="134866"/>
                    <a:pt x="427961" y="0"/>
                    <a:pt x="427961" y="0"/>
                  </a:cubicBezTo>
                  <a:lnTo>
                    <a:pt x="0" y="320837"/>
                  </a:lnTo>
                  <a:lnTo>
                    <a:pt x="429941" y="640613"/>
                  </a:lnTo>
                  <a:lnTo>
                    <a:pt x="429941" y="512710"/>
                  </a:lnTo>
                  <a:lnTo>
                    <a:pt x="177242" y="322675"/>
                  </a:lnTo>
                  <a:close/>
                </a:path>
              </a:pathLst>
            </a:custGeom>
            <a:solidFill>
              <a:schemeClr val="bg2"/>
            </a:solidFill>
            <a:ln w="27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D0CAD88-3679-3F84-0DD3-0357A5F01738}"/>
              </a:ext>
            </a:extLst>
          </p:cNvPr>
          <p:cNvGrpSpPr>
            <a:grpSpLocks noChangeAspect="1"/>
          </p:cNvGrpSpPr>
          <p:nvPr/>
        </p:nvGrpSpPr>
        <p:grpSpPr>
          <a:xfrm>
            <a:off x="6212717" y="3738555"/>
            <a:ext cx="559691" cy="612648"/>
            <a:chOff x="7435334" y="2462779"/>
            <a:chExt cx="604499" cy="661695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1ADF48D-1A8B-E405-22CB-6CF8719F3AF7}"/>
                </a:ext>
              </a:extLst>
            </p:cNvPr>
            <p:cNvSpPr/>
            <p:nvPr/>
          </p:nvSpPr>
          <p:spPr>
            <a:xfrm>
              <a:off x="7699352" y="2462779"/>
              <a:ext cx="74137" cy="290842"/>
            </a:xfrm>
            <a:custGeom>
              <a:avLst/>
              <a:gdLst>
                <a:gd name="connsiteX0" fmla="*/ 0 w 74136"/>
                <a:gd name="connsiteY0" fmla="*/ 0 h 290842"/>
                <a:gd name="connsiteX1" fmla="*/ 76617 w 74136"/>
                <a:gd name="connsiteY1" fmla="*/ 0 h 290842"/>
                <a:gd name="connsiteX2" fmla="*/ 76617 w 74136"/>
                <a:gd name="connsiteY2" fmla="*/ 291641 h 290842"/>
                <a:gd name="connsiteX3" fmla="*/ 0 w 74136"/>
                <a:gd name="connsiteY3" fmla="*/ 291641 h 290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136" h="290842">
                  <a:moveTo>
                    <a:pt x="0" y="0"/>
                  </a:moveTo>
                  <a:lnTo>
                    <a:pt x="76617" y="0"/>
                  </a:lnTo>
                  <a:lnTo>
                    <a:pt x="76617" y="291641"/>
                  </a:lnTo>
                  <a:lnTo>
                    <a:pt x="0" y="291641"/>
                  </a:lnTo>
                  <a:close/>
                </a:path>
              </a:pathLst>
            </a:custGeom>
            <a:solidFill>
              <a:schemeClr val="bg2"/>
            </a:solidFill>
            <a:ln w="23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C3E26B1-21B7-963E-C46E-51F354AD5DBD}"/>
                </a:ext>
              </a:extLst>
            </p:cNvPr>
            <p:cNvSpPr/>
            <p:nvPr/>
          </p:nvSpPr>
          <p:spPr>
            <a:xfrm>
              <a:off x="7435334" y="2539938"/>
              <a:ext cx="604499" cy="584536"/>
            </a:xfrm>
            <a:custGeom>
              <a:avLst/>
              <a:gdLst>
                <a:gd name="connsiteX0" fmla="*/ 420874 w 604498"/>
                <a:gd name="connsiteY0" fmla="*/ 5247 h 584535"/>
                <a:gd name="connsiteX1" fmla="*/ 408528 w 604498"/>
                <a:gd name="connsiteY1" fmla="*/ 0 h 584535"/>
                <a:gd name="connsiteX2" fmla="*/ 408528 w 604498"/>
                <a:gd name="connsiteY2" fmla="*/ 66979 h 584535"/>
                <a:gd name="connsiteX3" fmla="*/ 413318 w 604498"/>
                <a:gd name="connsiteY3" fmla="*/ 69460 h 584535"/>
                <a:gd name="connsiteX4" fmla="*/ 518216 w 604498"/>
                <a:gd name="connsiteY4" fmla="*/ 396367 h 584535"/>
                <a:gd name="connsiteX5" fmla="*/ 191308 w 604498"/>
                <a:gd name="connsiteY5" fmla="*/ 501267 h 584535"/>
                <a:gd name="connsiteX6" fmla="*/ 86409 w 604498"/>
                <a:gd name="connsiteY6" fmla="*/ 174357 h 584535"/>
                <a:gd name="connsiteX7" fmla="*/ 191308 w 604498"/>
                <a:gd name="connsiteY7" fmla="*/ 69460 h 584535"/>
                <a:gd name="connsiteX8" fmla="*/ 196098 w 604498"/>
                <a:gd name="connsiteY8" fmla="*/ 66979 h 584535"/>
                <a:gd name="connsiteX9" fmla="*/ 196098 w 604498"/>
                <a:gd name="connsiteY9" fmla="*/ 0 h 584535"/>
                <a:gd name="connsiteX10" fmla="*/ 183780 w 604498"/>
                <a:gd name="connsiteY10" fmla="*/ 5247 h 584535"/>
                <a:gd name="connsiteX11" fmla="*/ 24296 w 604498"/>
                <a:gd name="connsiteY11" fmla="*/ 401824 h 584535"/>
                <a:gd name="connsiteX12" fmla="*/ 420874 w 604498"/>
                <a:gd name="connsiteY12" fmla="*/ 561306 h 584535"/>
                <a:gd name="connsiteX13" fmla="*/ 580357 w 604498"/>
                <a:gd name="connsiteY13" fmla="*/ 164728 h 584535"/>
                <a:gd name="connsiteX14" fmla="*/ 420874 w 604498"/>
                <a:gd name="connsiteY14" fmla="*/ 5247 h 584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4498" h="584535">
                  <a:moveTo>
                    <a:pt x="420874" y="5247"/>
                  </a:moveTo>
                  <a:lnTo>
                    <a:pt x="408528" y="0"/>
                  </a:lnTo>
                  <a:lnTo>
                    <a:pt x="408528" y="66979"/>
                  </a:lnTo>
                  <a:lnTo>
                    <a:pt x="413318" y="69460"/>
                  </a:lnTo>
                  <a:cubicBezTo>
                    <a:pt x="532558" y="130766"/>
                    <a:pt x="579524" y="277127"/>
                    <a:pt x="518216" y="396367"/>
                  </a:cubicBezTo>
                  <a:cubicBezTo>
                    <a:pt x="456911" y="515609"/>
                    <a:pt x="310548" y="562572"/>
                    <a:pt x="191308" y="501267"/>
                  </a:cubicBezTo>
                  <a:cubicBezTo>
                    <a:pt x="72067" y="439959"/>
                    <a:pt x="25102" y="293600"/>
                    <a:pt x="86409" y="174357"/>
                  </a:cubicBezTo>
                  <a:cubicBezTo>
                    <a:pt x="109573" y="129304"/>
                    <a:pt x="146253" y="92624"/>
                    <a:pt x="191308" y="69460"/>
                  </a:cubicBezTo>
                  <a:lnTo>
                    <a:pt x="196098" y="66979"/>
                  </a:lnTo>
                  <a:lnTo>
                    <a:pt x="196098" y="0"/>
                  </a:lnTo>
                  <a:lnTo>
                    <a:pt x="183780" y="5247"/>
                  </a:lnTo>
                  <a:cubicBezTo>
                    <a:pt x="30227" y="70718"/>
                    <a:pt x="-41176" y="248271"/>
                    <a:pt x="24296" y="401824"/>
                  </a:cubicBezTo>
                  <a:cubicBezTo>
                    <a:pt x="89768" y="555375"/>
                    <a:pt x="267323" y="626777"/>
                    <a:pt x="420874" y="561306"/>
                  </a:cubicBezTo>
                  <a:cubicBezTo>
                    <a:pt x="574426" y="495835"/>
                    <a:pt x="645831" y="318281"/>
                    <a:pt x="580357" y="164728"/>
                  </a:cubicBezTo>
                  <a:cubicBezTo>
                    <a:pt x="549767" y="92982"/>
                    <a:pt x="492622" y="35838"/>
                    <a:pt x="420874" y="5247"/>
                  </a:cubicBezTo>
                  <a:close/>
                </a:path>
              </a:pathLst>
            </a:custGeom>
            <a:solidFill>
              <a:schemeClr val="tx1"/>
            </a:solidFill>
            <a:ln w="23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12742EE-8517-2AC9-CA02-DC2FAF512FFF}"/>
              </a:ext>
            </a:extLst>
          </p:cNvPr>
          <p:cNvGrpSpPr>
            <a:grpSpLocks noChangeAspect="1"/>
          </p:cNvGrpSpPr>
          <p:nvPr/>
        </p:nvGrpSpPr>
        <p:grpSpPr>
          <a:xfrm>
            <a:off x="10077149" y="3808357"/>
            <a:ext cx="612648" cy="473045"/>
            <a:chOff x="10846123" y="2684145"/>
            <a:chExt cx="797873" cy="616062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4D50001-68FA-1130-5B9A-A1ACC2A3670F}"/>
                </a:ext>
              </a:extLst>
            </p:cNvPr>
            <p:cNvSpPr/>
            <p:nvPr/>
          </p:nvSpPr>
          <p:spPr>
            <a:xfrm>
              <a:off x="10942940" y="2684145"/>
              <a:ext cx="253897" cy="616062"/>
            </a:xfrm>
            <a:custGeom>
              <a:avLst/>
              <a:gdLst>
                <a:gd name="connsiteX0" fmla="*/ 228769 w 253897"/>
                <a:gd name="connsiteY0" fmla="*/ 5237 h 616061"/>
                <a:gd name="connsiteX1" fmla="*/ 42602 w 253897"/>
                <a:gd name="connsiteY1" fmla="*/ 191437 h 616061"/>
                <a:gd name="connsiteX2" fmla="*/ 42304 w 253897"/>
                <a:gd name="connsiteY2" fmla="*/ 191399 h 616061"/>
                <a:gd name="connsiteX3" fmla="*/ 0 w 253897"/>
                <a:gd name="connsiteY3" fmla="*/ 191399 h 616061"/>
                <a:gd name="connsiteX4" fmla="*/ 0 w 253897"/>
                <a:gd name="connsiteY4" fmla="*/ 425988 h 616061"/>
                <a:gd name="connsiteX5" fmla="*/ 42304 w 253897"/>
                <a:gd name="connsiteY5" fmla="*/ 425988 h 616061"/>
                <a:gd name="connsiteX6" fmla="*/ 42602 w 253897"/>
                <a:gd name="connsiteY6" fmla="*/ 425951 h 616061"/>
                <a:gd name="connsiteX7" fmla="*/ 228769 w 253897"/>
                <a:gd name="connsiteY7" fmla="*/ 612113 h 616061"/>
                <a:gd name="connsiteX8" fmla="*/ 254047 w 253897"/>
                <a:gd name="connsiteY8" fmla="*/ 612113 h 616061"/>
                <a:gd name="connsiteX9" fmla="*/ 254047 w 253897"/>
                <a:gd name="connsiteY9" fmla="*/ 5237 h 616061"/>
                <a:gd name="connsiteX10" fmla="*/ 228769 w 253897"/>
                <a:gd name="connsiteY10" fmla="*/ 5237 h 616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897" h="616061">
                  <a:moveTo>
                    <a:pt x="228769" y="5237"/>
                  </a:moveTo>
                  <a:lnTo>
                    <a:pt x="42602" y="191437"/>
                  </a:lnTo>
                  <a:cubicBezTo>
                    <a:pt x="42490" y="191437"/>
                    <a:pt x="42416" y="191399"/>
                    <a:pt x="42304" y="191399"/>
                  </a:cubicBezTo>
                  <a:lnTo>
                    <a:pt x="0" y="191399"/>
                  </a:lnTo>
                  <a:lnTo>
                    <a:pt x="0" y="425988"/>
                  </a:lnTo>
                  <a:lnTo>
                    <a:pt x="42304" y="425988"/>
                  </a:lnTo>
                  <a:cubicBezTo>
                    <a:pt x="42416" y="425988"/>
                    <a:pt x="42490" y="425951"/>
                    <a:pt x="42602" y="425951"/>
                  </a:cubicBezTo>
                  <a:lnTo>
                    <a:pt x="228769" y="612113"/>
                  </a:lnTo>
                  <a:cubicBezTo>
                    <a:pt x="235751" y="619095"/>
                    <a:pt x="247064" y="619095"/>
                    <a:pt x="254047" y="612113"/>
                  </a:cubicBezTo>
                  <a:lnTo>
                    <a:pt x="254047" y="5237"/>
                  </a:lnTo>
                  <a:cubicBezTo>
                    <a:pt x="247102" y="-1746"/>
                    <a:pt x="235788" y="-1746"/>
                    <a:pt x="228769" y="5237"/>
                  </a:cubicBezTo>
                  <a:close/>
                </a:path>
              </a:pathLst>
            </a:custGeom>
            <a:solidFill>
              <a:schemeClr val="bg2"/>
            </a:solidFill>
            <a:ln w="29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0B0B29A-139E-075D-9E8D-FFF9A07380AE}"/>
                </a:ext>
              </a:extLst>
            </p:cNvPr>
            <p:cNvSpPr/>
            <p:nvPr/>
          </p:nvSpPr>
          <p:spPr>
            <a:xfrm>
              <a:off x="10846123" y="2875544"/>
              <a:ext cx="56007" cy="231490"/>
            </a:xfrm>
            <a:custGeom>
              <a:avLst/>
              <a:gdLst>
                <a:gd name="connsiteX0" fmla="*/ 26510 w 56006"/>
                <a:gd name="connsiteY0" fmla="*/ 0 h 231489"/>
                <a:gd name="connsiteX1" fmla="*/ 0 w 56006"/>
                <a:gd name="connsiteY1" fmla="*/ 26509 h 231489"/>
                <a:gd name="connsiteX2" fmla="*/ 0 w 56006"/>
                <a:gd name="connsiteY2" fmla="*/ 208117 h 231489"/>
                <a:gd name="connsiteX3" fmla="*/ 26510 w 56006"/>
                <a:gd name="connsiteY3" fmla="*/ 234626 h 231489"/>
                <a:gd name="connsiteX4" fmla="*/ 57687 w 56006"/>
                <a:gd name="connsiteY4" fmla="*/ 234626 h 231489"/>
                <a:gd name="connsiteX5" fmla="*/ 57687 w 56006"/>
                <a:gd name="connsiteY5" fmla="*/ 37 h 231489"/>
                <a:gd name="connsiteX6" fmla="*/ 26510 w 56006"/>
                <a:gd name="connsiteY6" fmla="*/ 37 h 23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006" h="231489">
                  <a:moveTo>
                    <a:pt x="26510" y="0"/>
                  </a:moveTo>
                  <a:cubicBezTo>
                    <a:pt x="11873" y="0"/>
                    <a:pt x="0" y="11873"/>
                    <a:pt x="0" y="26509"/>
                  </a:cubicBezTo>
                  <a:lnTo>
                    <a:pt x="0" y="208117"/>
                  </a:lnTo>
                  <a:cubicBezTo>
                    <a:pt x="0" y="222753"/>
                    <a:pt x="11873" y="234626"/>
                    <a:pt x="26510" y="234626"/>
                  </a:cubicBezTo>
                  <a:lnTo>
                    <a:pt x="57687" y="234626"/>
                  </a:lnTo>
                  <a:lnTo>
                    <a:pt x="57687" y="37"/>
                  </a:lnTo>
                  <a:lnTo>
                    <a:pt x="26510" y="37"/>
                  </a:lnTo>
                  <a:close/>
                </a:path>
              </a:pathLst>
            </a:custGeom>
            <a:solidFill>
              <a:schemeClr val="tx1"/>
            </a:solidFill>
            <a:ln w="29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4E3C7E6-1806-4F75-075E-728AD8F7BC3F}"/>
                </a:ext>
              </a:extLst>
            </p:cNvPr>
            <p:cNvSpPr/>
            <p:nvPr/>
          </p:nvSpPr>
          <p:spPr>
            <a:xfrm>
              <a:off x="11326624" y="2822787"/>
              <a:ext cx="317372" cy="317365"/>
            </a:xfrm>
            <a:custGeom>
              <a:avLst/>
              <a:gdLst>
                <a:gd name="connsiteX0" fmla="*/ 281789 w 317371"/>
                <a:gd name="connsiteY0" fmla="*/ 0 h 317365"/>
                <a:gd name="connsiteX1" fmla="*/ 318902 w 317371"/>
                <a:gd name="connsiteY1" fmla="*/ 37113 h 317365"/>
                <a:gd name="connsiteX2" fmla="*/ 196061 w 317371"/>
                <a:gd name="connsiteY2" fmla="*/ 159915 h 317365"/>
                <a:gd name="connsiteX3" fmla="*/ 319836 w 317371"/>
                <a:gd name="connsiteY3" fmla="*/ 283687 h 317365"/>
                <a:gd name="connsiteX4" fmla="*/ 283656 w 317371"/>
                <a:gd name="connsiteY4" fmla="*/ 319829 h 317365"/>
                <a:gd name="connsiteX5" fmla="*/ 159918 w 317371"/>
                <a:gd name="connsiteY5" fmla="*/ 196094 h 317365"/>
                <a:gd name="connsiteX6" fmla="*/ 36143 w 317371"/>
                <a:gd name="connsiteY6" fmla="*/ 319829 h 317365"/>
                <a:gd name="connsiteX7" fmla="*/ 0 w 317371"/>
                <a:gd name="connsiteY7" fmla="*/ 283687 h 317365"/>
                <a:gd name="connsiteX8" fmla="*/ 123028 w 317371"/>
                <a:gd name="connsiteY8" fmla="*/ 160624 h 317365"/>
                <a:gd name="connsiteX9" fmla="*/ 0 w 317371"/>
                <a:gd name="connsiteY9" fmla="*/ 36180 h 317365"/>
                <a:gd name="connsiteX10" fmla="*/ 36143 w 317371"/>
                <a:gd name="connsiteY10" fmla="*/ 0 h 317365"/>
                <a:gd name="connsiteX11" fmla="*/ 159918 w 317371"/>
                <a:gd name="connsiteY11" fmla="*/ 123772 h 31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7371" h="317365">
                  <a:moveTo>
                    <a:pt x="281789" y="0"/>
                  </a:moveTo>
                  <a:lnTo>
                    <a:pt x="318902" y="37113"/>
                  </a:lnTo>
                  <a:lnTo>
                    <a:pt x="196061" y="159915"/>
                  </a:lnTo>
                  <a:lnTo>
                    <a:pt x="319836" y="283687"/>
                  </a:lnTo>
                  <a:lnTo>
                    <a:pt x="283656" y="319829"/>
                  </a:lnTo>
                  <a:lnTo>
                    <a:pt x="159918" y="196094"/>
                  </a:lnTo>
                  <a:lnTo>
                    <a:pt x="36143" y="319829"/>
                  </a:lnTo>
                  <a:lnTo>
                    <a:pt x="0" y="283687"/>
                  </a:lnTo>
                  <a:lnTo>
                    <a:pt x="123028" y="160624"/>
                  </a:lnTo>
                  <a:lnTo>
                    <a:pt x="0" y="36180"/>
                  </a:lnTo>
                  <a:lnTo>
                    <a:pt x="36143" y="0"/>
                  </a:lnTo>
                  <a:lnTo>
                    <a:pt x="159918" y="123772"/>
                  </a:lnTo>
                  <a:close/>
                </a:path>
              </a:pathLst>
            </a:custGeom>
            <a:solidFill>
              <a:schemeClr val="tx1"/>
            </a:solidFill>
            <a:ln w="29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D3DFD68-9758-6E95-B615-EF19353E6660}"/>
              </a:ext>
            </a:extLst>
          </p:cNvPr>
          <p:cNvGrpSpPr>
            <a:grpSpLocks noChangeAspect="1"/>
          </p:cNvGrpSpPr>
          <p:nvPr/>
        </p:nvGrpSpPr>
        <p:grpSpPr>
          <a:xfrm>
            <a:off x="9098309" y="3738655"/>
            <a:ext cx="612648" cy="612448"/>
            <a:chOff x="9753524" y="2775589"/>
            <a:chExt cx="601726" cy="601529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9E77310-1DBD-C2C8-25AF-DEF8430894D4}"/>
                </a:ext>
              </a:extLst>
            </p:cNvPr>
            <p:cNvSpPr/>
            <p:nvPr/>
          </p:nvSpPr>
          <p:spPr>
            <a:xfrm>
              <a:off x="10230148" y="2783604"/>
              <a:ext cx="125102" cy="575932"/>
            </a:xfrm>
            <a:custGeom>
              <a:avLst/>
              <a:gdLst>
                <a:gd name="connsiteX0" fmla="*/ 126723 w 125102"/>
                <a:gd name="connsiteY0" fmla="*/ 289209 h 575931"/>
                <a:gd name="connsiteX1" fmla="*/ 34019 w 125102"/>
                <a:gd name="connsiteY1" fmla="*/ 1883 h 575931"/>
                <a:gd name="connsiteX2" fmla="*/ 26994 w 125102"/>
                <a:gd name="connsiteY2" fmla="*/ 1797 h 575931"/>
                <a:gd name="connsiteX3" fmla="*/ 1460 w 125102"/>
                <a:gd name="connsiteY3" fmla="*/ 33879 h 575931"/>
                <a:gd name="connsiteX4" fmla="*/ 1364 w 125102"/>
                <a:gd name="connsiteY4" fmla="*/ 42497 h 575931"/>
                <a:gd name="connsiteX5" fmla="*/ 80916 w 125102"/>
                <a:gd name="connsiteY5" fmla="*/ 289209 h 575931"/>
                <a:gd name="connsiteX6" fmla="*/ 1364 w 125102"/>
                <a:gd name="connsiteY6" fmla="*/ 535921 h 575931"/>
                <a:gd name="connsiteX7" fmla="*/ 1428 w 125102"/>
                <a:gd name="connsiteY7" fmla="*/ 544539 h 575931"/>
                <a:gd name="connsiteX8" fmla="*/ 26962 w 125102"/>
                <a:gd name="connsiteY8" fmla="*/ 576620 h 575931"/>
                <a:gd name="connsiteX9" fmla="*/ 33987 w 125102"/>
                <a:gd name="connsiteY9" fmla="*/ 576535 h 575931"/>
                <a:gd name="connsiteX10" fmla="*/ 126723 w 125102"/>
                <a:gd name="connsiteY10" fmla="*/ 289209 h 575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5102" h="575931">
                  <a:moveTo>
                    <a:pt x="126723" y="289209"/>
                  </a:moveTo>
                  <a:cubicBezTo>
                    <a:pt x="126723" y="181104"/>
                    <a:pt x="93843" y="79314"/>
                    <a:pt x="34019" y="1883"/>
                  </a:cubicBezTo>
                  <a:cubicBezTo>
                    <a:pt x="32094" y="-592"/>
                    <a:pt x="28950" y="-634"/>
                    <a:pt x="26994" y="1797"/>
                  </a:cubicBezTo>
                  <a:lnTo>
                    <a:pt x="1460" y="33879"/>
                  </a:lnTo>
                  <a:cubicBezTo>
                    <a:pt x="-433" y="36268"/>
                    <a:pt x="-465" y="40108"/>
                    <a:pt x="1364" y="42497"/>
                  </a:cubicBezTo>
                  <a:cubicBezTo>
                    <a:pt x="50571" y="106446"/>
                    <a:pt x="80916" y="193476"/>
                    <a:pt x="80916" y="289209"/>
                  </a:cubicBezTo>
                  <a:cubicBezTo>
                    <a:pt x="80916" y="384984"/>
                    <a:pt x="50603" y="472014"/>
                    <a:pt x="1364" y="535921"/>
                  </a:cubicBezTo>
                  <a:cubicBezTo>
                    <a:pt x="-497" y="538310"/>
                    <a:pt x="-433" y="542150"/>
                    <a:pt x="1428" y="544539"/>
                  </a:cubicBezTo>
                  <a:lnTo>
                    <a:pt x="26962" y="576620"/>
                  </a:lnTo>
                  <a:cubicBezTo>
                    <a:pt x="28918" y="579052"/>
                    <a:pt x="32062" y="579009"/>
                    <a:pt x="33987" y="576535"/>
                  </a:cubicBezTo>
                  <a:cubicBezTo>
                    <a:pt x="93843" y="499147"/>
                    <a:pt x="126723" y="397356"/>
                    <a:pt x="126723" y="289209"/>
                  </a:cubicBezTo>
                  <a:close/>
                </a:path>
              </a:pathLst>
            </a:custGeom>
            <a:solidFill>
              <a:schemeClr val="tx1"/>
            </a:solidFill>
            <a:ln w="23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95D2D65-78AD-51F0-F6A0-4B8E3ED2E859}"/>
                </a:ext>
              </a:extLst>
            </p:cNvPr>
            <p:cNvSpPr/>
            <p:nvPr/>
          </p:nvSpPr>
          <p:spPr>
            <a:xfrm>
              <a:off x="10166009" y="2864240"/>
              <a:ext cx="99440" cy="413818"/>
            </a:xfrm>
            <a:custGeom>
              <a:avLst/>
              <a:gdLst>
                <a:gd name="connsiteX0" fmla="*/ 26913 w 99440"/>
                <a:gd name="connsiteY0" fmla="*/ 1835 h 413817"/>
                <a:gd name="connsiteX1" fmla="*/ 1444 w 99440"/>
                <a:gd name="connsiteY1" fmla="*/ 33788 h 413817"/>
                <a:gd name="connsiteX2" fmla="*/ 1348 w 99440"/>
                <a:gd name="connsiteY2" fmla="*/ 42363 h 413817"/>
                <a:gd name="connsiteX3" fmla="*/ 54340 w 99440"/>
                <a:gd name="connsiteY3" fmla="*/ 208573 h 413817"/>
                <a:gd name="connsiteX4" fmla="*/ 1348 w 99440"/>
                <a:gd name="connsiteY4" fmla="*/ 374782 h 413817"/>
                <a:gd name="connsiteX5" fmla="*/ 1444 w 99440"/>
                <a:gd name="connsiteY5" fmla="*/ 383357 h 413817"/>
                <a:gd name="connsiteX6" fmla="*/ 26913 w 99440"/>
                <a:gd name="connsiteY6" fmla="*/ 415311 h 413817"/>
                <a:gd name="connsiteX7" fmla="*/ 33938 w 99440"/>
                <a:gd name="connsiteY7" fmla="*/ 415226 h 413817"/>
                <a:gd name="connsiteX8" fmla="*/ 100179 w 99440"/>
                <a:gd name="connsiteY8" fmla="*/ 208530 h 413817"/>
                <a:gd name="connsiteX9" fmla="*/ 33938 w 99440"/>
                <a:gd name="connsiteY9" fmla="*/ 1877 h 413817"/>
                <a:gd name="connsiteX10" fmla="*/ 26913 w 99440"/>
                <a:gd name="connsiteY10" fmla="*/ 1835 h 41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440" h="413817">
                  <a:moveTo>
                    <a:pt x="26913" y="1835"/>
                  </a:moveTo>
                  <a:lnTo>
                    <a:pt x="1444" y="33788"/>
                  </a:lnTo>
                  <a:cubicBezTo>
                    <a:pt x="-449" y="36135"/>
                    <a:pt x="-481" y="39974"/>
                    <a:pt x="1348" y="42363"/>
                  </a:cubicBezTo>
                  <a:cubicBezTo>
                    <a:pt x="34163" y="85665"/>
                    <a:pt x="54340" y="144196"/>
                    <a:pt x="54340" y="208573"/>
                  </a:cubicBezTo>
                  <a:cubicBezTo>
                    <a:pt x="54340" y="272949"/>
                    <a:pt x="34163" y="331481"/>
                    <a:pt x="1348" y="374782"/>
                  </a:cubicBezTo>
                  <a:cubicBezTo>
                    <a:pt x="-481" y="377214"/>
                    <a:pt x="-449" y="381011"/>
                    <a:pt x="1444" y="383357"/>
                  </a:cubicBezTo>
                  <a:lnTo>
                    <a:pt x="26913" y="415311"/>
                  </a:lnTo>
                  <a:cubicBezTo>
                    <a:pt x="28870" y="417743"/>
                    <a:pt x="32046" y="417700"/>
                    <a:pt x="33938" y="415226"/>
                  </a:cubicBezTo>
                  <a:cubicBezTo>
                    <a:pt x="74933" y="361515"/>
                    <a:pt x="100179" y="288691"/>
                    <a:pt x="100179" y="208530"/>
                  </a:cubicBezTo>
                  <a:cubicBezTo>
                    <a:pt x="100179" y="128412"/>
                    <a:pt x="74933" y="55588"/>
                    <a:pt x="33938" y="1877"/>
                  </a:cubicBezTo>
                  <a:cubicBezTo>
                    <a:pt x="32046" y="-597"/>
                    <a:pt x="28870" y="-640"/>
                    <a:pt x="26913" y="1835"/>
                  </a:cubicBezTo>
                  <a:close/>
                </a:path>
              </a:pathLst>
            </a:custGeom>
            <a:solidFill>
              <a:schemeClr val="tx1"/>
            </a:solidFill>
            <a:ln w="23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86D9ED8-1D3E-E129-7CEF-3D7640D98D7F}"/>
                </a:ext>
              </a:extLst>
            </p:cNvPr>
            <p:cNvSpPr/>
            <p:nvPr/>
          </p:nvSpPr>
          <p:spPr>
            <a:xfrm>
              <a:off x="10097126" y="2950805"/>
              <a:ext cx="70571" cy="243171"/>
            </a:xfrm>
            <a:custGeom>
              <a:avLst/>
              <a:gdLst>
                <a:gd name="connsiteX0" fmla="*/ 26894 w 70570"/>
                <a:gd name="connsiteY0" fmla="*/ 1829 h 243171"/>
                <a:gd name="connsiteX1" fmla="*/ 1424 w 70570"/>
                <a:gd name="connsiteY1" fmla="*/ 33783 h 243171"/>
                <a:gd name="connsiteX2" fmla="*/ 1296 w 70570"/>
                <a:gd name="connsiteY2" fmla="*/ 42315 h 243171"/>
                <a:gd name="connsiteX3" fmla="*/ 25771 w 70570"/>
                <a:gd name="connsiteY3" fmla="*/ 122007 h 243171"/>
                <a:gd name="connsiteX4" fmla="*/ 1296 w 70570"/>
                <a:gd name="connsiteY4" fmla="*/ 201742 h 243171"/>
                <a:gd name="connsiteX5" fmla="*/ 1424 w 70570"/>
                <a:gd name="connsiteY5" fmla="*/ 210274 h 243171"/>
                <a:gd name="connsiteX6" fmla="*/ 26894 w 70570"/>
                <a:gd name="connsiteY6" fmla="*/ 242228 h 243171"/>
                <a:gd name="connsiteX7" fmla="*/ 33983 w 70570"/>
                <a:gd name="connsiteY7" fmla="*/ 242057 h 243171"/>
                <a:gd name="connsiteX8" fmla="*/ 71610 w 70570"/>
                <a:gd name="connsiteY8" fmla="*/ 121965 h 243171"/>
                <a:gd name="connsiteX9" fmla="*/ 33983 w 70570"/>
                <a:gd name="connsiteY9" fmla="*/ 1915 h 243171"/>
                <a:gd name="connsiteX10" fmla="*/ 26894 w 70570"/>
                <a:gd name="connsiteY10" fmla="*/ 1829 h 243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570" h="243171">
                  <a:moveTo>
                    <a:pt x="26894" y="1829"/>
                  </a:moveTo>
                  <a:lnTo>
                    <a:pt x="1424" y="33783"/>
                  </a:lnTo>
                  <a:cubicBezTo>
                    <a:pt x="-436" y="36129"/>
                    <a:pt x="-468" y="39884"/>
                    <a:pt x="1296" y="42315"/>
                  </a:cubicBezTo>
                  <a:cubicBezTo>
                    <a:pt x="16501" y="63433"/>
                    <a:pt x="25771" y="91376"/>
                    <a:pt x="25771" y="122007"/>
                  </a:cubicBezTo>
                  <a:cubicBezTo>
                    <a:pt x="25771" y="152638"/>
                    <a:pt x="16501" y="180624"/>
                    <a:pt x="1296" y="201742"/>
                  </a:cubicBezTo>
                  <a:cubicBezTo>
                    <a:pt x="-468" y="204173"/>
                    <a:pt x="-436" y="207928"/>
                    <a:pt x="1424" y="210274"/>
                  </a:cubicBezTo>
                  <a:lnTo>
                    <a:pt x="26894" y="242228"/>
                  </a:lnTo>
                  <a:cubicBezTo>
                    <a:pt x="28850" y="244702"/>
                    <a:pt x="32058" y="244617"/>
                    <a:pt x="33983" y="242057"/>
                  </a:cubicBezTo>
                  <a:cubicBezTo>
                    <a:pt x="57335" y="210530"/>
                    <a:pt x="71610" y="168338"/>
                    <a:pt x="71610" y="121965"/>
                  </a:cubicBezTo>
                  <a:cubicBezTo>
                    <a:pt x="71610" y="75591"/>
                    <a:pt x="57303" y="33442"/>
                    <a:pt x="33983" y="1915"/>
                  </a:cubicBezTo>
                  <a:cubicBezTo>
                    <a:pt x="32058" y="-602"/>
                    <a:pt x="28850" y="-645"/>
                    <a:pt x="26894" y="1829"/>
                  </a:cubicBezTo>
                  <a:close/>
                </a:path>
              </a:pathLst>
            </a:custGeom>
            <a:solidFill>
              <a:schemeClr val="tx1"/>
            </a:solidFill>
            <a:ln w="23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832B698-B4E3-B64D-4E32-2B7622BDAD35}"/>
                </a:ext>
              </a:extLst>
            </p:cNvPr>
            <p:cNvSpPr/>
            <p:nvPr/>
          </p:nvSpPr>
          <p:spPr>
            <a:xfrm>
              <a:off x="9824608" y="2775589"/>
              <a:ext cx="182842" cy="601529"/>
            </a:xfrm>
            <a:custGeom>
              <a:avLst/>
              <a:gdLst>
                <a:gd name="connsiteX0" fmla="*/ 167445 w 182841"/>
                <a:gd name="connsiteY0" fmla="*/ 5119 h 601528"/>
                <a:gd name="connsiteX1" fmla="*/ 31051 w 182841"/>
                <a:gd name="connsiteY1" fmla="*/ 186517 h 601528"/>
                <a:gd name="connsiteX2" fmla="*/ 30859 w 182841"/>
                <a:gd name="connsiteY2" fmla="*/ 186474 h 601528"/>
                <a:gd name="connsiteX3" fmla="*/ 0 w 182841"/>
                <a:gd name="connsiteY3" fmla="*/ 186474 h 601528"/>
                <a:gd name="connsiteX4" fmla="*/ 0 w 182841"/>
                <a:gd name="connsiteY4" fmla="*/ 415055 h 601528"/>
                <a:gd name="connsiteX5" fmla="*/ 30859 w 182841"/>
                <a:gd name="connsiteY5" fmla="*/ 415055 h 601528"/>
                <a:gd name="connsiteX6" fmla="*/ 31051 w 182841"/>
                <a:gd name="connsiteY6" fmla="*/ 415012 h 601528"/>
                <a:gd name="connsiteX7" fmla="*/ 167445 w 182841"/>
                <a:gd name="connsiteY7" fmla="*/ 596452 h 601528"/>
                <a:gd name="connsiteX8" fmla="*/ 185953 w 182841"/>
                <a:gd name="connsiteY8" fmla="*/ 596452 h 601528"/>
                <a:gd name="connsiteX9" fmla="*/ 185953 w 182841"/>
                <a:gd name="connsiteY9" fmla="*/ 5119 h 601528"/>
                <a:gd name="connsiteX10" fmla="*/ 167445 w 182841"/>
                <a:gd name="connsiteY10" fmla="*/ 5119 h 601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2841" h="601528">
                  <a:moveTo>
                    <a:pt x="167445" y="5119"/>
                  </a:moveTo>
                  <a:lnTo>
                    <a:pt x="31051" y="186517"/>
                  </a:lnTo>
                  <a:cubicBezTo>
                    <a:pt x="30987" y="186517"/>
                    <a:pt x="30923" y="186474"/>
                    <a:pt x="30859" y="186474"/>
                  </a:cubicBezTo>
                  <a:lnTo>
                    <a:pt x="0" y="186474"/>
                  </a:lnTo>
                  <a:lnTo>
                    <a:pt x="0" y="415055"/>
                  </a:lnTo>
                  <a:lnTo>
                    <a:pt x="30859" y="415055"/>
                  </a:lnTo>
                  <a:cubicBezTo>
                    <a:pt x="30923" y="415055"/>
                    <a:pt x="30987" y="415055"/>
                    <a:pt x="31051" y="415012"/>
                  </a:cubicBezTo>
                  <a:lnTo>
                    <a:pt x="167445" y="596452"/>
                  </a:lnTo>
                  <a:cubicBezTo>
                    <a:pt x="172577" y="603278"/>
                    <a:pt x="180853" y="603278"/>
                    <a:pt x="185953" y="596452"/>
                  </a:cubicBezTo>
                  <a:lnTo>
                    <a:pt x="185953" y="5119"/>
                  </a:lnTo>
                  <a:cubicBezTo>
                    <a:pt x="180885" y="-1706"/>
                    <a:pt x="172577" y="-1706"/>
                    <a:pt x="167445" y="5119"/>
                  </a:cubicBezTo>
                  <a:close/>
                </a:path>
              </a:pathLst>
            </a:custGeom>
            <a:solidFill>
              <a:schemeClr val="bg2"/>
            </a:solidFill>
            <a:ln w="23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AD04D3F-6E80-B51A-177E-FA6541CAB4A2}"/>
                </a:ext>
              </a:extLst>
            </p:cNvPr>
            <p:cNvSpPr/>
            <p:nvPr/>
          </p:nvSpPr>
          <p:spPr>
            <a:xfrm>
              <a:off x="9753524" y="2962063"/>
              <a:ext cx="41701" cy="226107"/>
            </a:xfrm>
            <a:custGeom>
              <a:avLst/>
              <a:gdLst>
                <a:gd name="connsiteX0" fmla="*/ 19407 w 41700"/>
                <a:gd name="connsiteY0" fmla="*/ 0 h 226106"/>
                <a:gd name="connsiteX1" fmla="*/ 0 w 41700"/>
                <a:gd name="connsiteY1" fmla="*/ 25810 h 226106"/>
                <a:gd name="connsiteX2" fmla="*/ 0 w 41700"/>
                <a:gd name="connsiteY2" fmla="*/ 202771 h 226106"/>
                <a:gd name="connsiteX3" fmla="*/ 19407 w 41700"/>
                <a:gd name="connsiteY3" fmla="*/ 228581 h 226106"/>
                <a:gd name="connsiteX4" fmla="*/ 42439 w 41700"/>
                <a:gd name="connsiteY4" fmla="*/ 228581 h 226106"/>
                <a:gd name="connsiteX5" fmla="*/ 42439 w 41700"/>
                <a:gd name="connsiteY5" fmla="*/ 0 h 226106"/>
                <a:gd name="connsiteX6" fmla="*/ 19407 w 41700"/>
                <a:gd name="connsiteY6" fmla="*/ 0 h 22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700" h="226106">
                  <a:moveTo>
                    <a:pt x="19407" y="0"/>
                  </a:moveTo>
                  <a:cubicBezTo>
                    <a:pt x="8693" y="0"/>
                    <a:pt x="0" y="11561"/>
                    <a:pt x="0" y="25810"/>
                  </a:cubicBezTo>
                  <a:lnTo>
                    <a:pt x="0" y="202771"/>
                  </a:lnTo>
                  <a:cubicBezTo>
                    <a:pt x="0" y="217020"/>
                    <a:pt x="8693" y="228581"/>
                    <a:pt x="19407" y="228581"/>
                  </a:cubicBezTo>
                  <a:lnTo>
                    <a:pt x="42439" y="228581"/>
                  </a:lnTo>
                  <a:lnTo>
                    <a:pt x="42439" y="0"/>
                  </a:lnTo>
                  <a:lnTo>
                    <a:pt x="19407" y="0"/>
                  </a:lnTo>
                  <a:close/>
                </a:path>
              </a:pathLst>
            </a:custGeom>
            <a:solidFill>
              <a:schemeClr val="tx1"/>
            </a:solidFill>
            <a:ln w="23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00" dirty="0"/>
            </a:p>
          </p:txBody>
        </p:sp>
      </p:grpSp>
      <p:pic>
        <p:nvPicPr>
          <p:cNvPr id="43" name="Graphic 42">
            <a:extLst>
              <a:ext uri="{FF2B5EF4-FFF2-40B4-BE49-F238E27FC236}">
                <a16:creationId xmlns:a16="http://schemas.microsoft.com/office/drawing/2014/main" id="{BC25BEB4-E6CF-4BAA-BAF5-08B5357E70D7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21436" t="18118" r="18511" b="15393"/>
          <a:stretch/>
        </p:blipFill>
        <p:spPr>
          <a:xfrm>
            <a:off x="3508428" y="3738555"/>
            <a:ext cx="491255" cy="612648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03AD7EEA-AA06-E115-6BCB-508F818E439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13419" t="18117" r="26528" b="15395"/>
          <a:stretch/>
        </p:blipFill>
        <p:spPr>
          <a:xfrm>
            <a:off x="2573981" y="3738555"/>
            <a:ext cx="491255" cy="612648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15CBD89E-9711-0213-4923-E7A925019081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25632" t="24239" r="26863" b="22877"/>
          <a:stretch/>
        </p:blipFill>
        <p:spPr>
          <a:xfrm>
            <a:off x="5293542" y="3738555"/>
            <a:ext cx="552983" cy="612648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C94DB9A-A060-A992-21B1-15FBDF7E20F2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22115" t="23012" r="18791" b="24958"/>
          <a:stretch/>
        </p:blipFill>
        <p:spPr>
          <a:xfrm>
            <a:off x="7138600" y="3738555"/>
            <a:ext cx="617725" cy="612648"/>
          </a:xfrm>
          <a:prstGeom prst="rect">
            <a:avLst/>
          </a:prstGeom>
        </p:spPr>
      </p:pic>
      <p:sp>
        <p:nvSpPr>
          <p:cNvPr id="52" name="object 23">
            <a:extLst>
              <a:ext uri="{FF2B5EF4-FFF2-40B4-BE49-F238E27FC236}">
                <a16:creationId xmlns:a16="http://schemas.microsoft.com/office/drawing/2014/main" id="{E7949FA7-1892-E361-BFA6-FBC1F4FBEECB}"/>
              </a:ext>
            </a:extLst>
          </p:cNvPr>
          <p:cNvSpPr txBox="1"/>
          <p:nvPr/>
        </p:nvSpPr>
        <p:spPr>
          <a:xfrm>
            <a:off x="10852307" y="3382851"/>
            <a:ext cx="987897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Microphone</a:t>
            </a:r>
          </a:p>
        </p:txBody>
      </p:sp>
      <p:sp>
        <p:nvSpPr>
          <p:cNvPr id="58" name="object 45">
            <a:extLst>
              <a:ext uri="{FF2B5EF4-FFF2-40B4-BE49-F238E27FC236}">
                <a16:creationId xmlns:a16="http://schemas.microsoft.com/office/drawing/2014/main" id="{CF97AF6B-3773-0010-CD74-1E72BA928BC5}"/>
              </a:ext>
            </a:extLst>
          </p:cNvPr>
          <p:cNvSpPr txBox="1"/>
          <p:nvPr/>
        </p:nvSpPr>
        <p:spPr>
          <a:xfrm>
            <a:off x="7967929" y="3382851"/>
            <a:ext cx="86133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peaker</a:t>
            </a:r>
            <a:endParaRPr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F3999AD-A0DE-8B18-1C09-691B7A6AB223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 t="17479" b="18147"/>
          <a:stretch/>
        </p:blipFill>
        <p:spPr>
          <a:xfrm>
            <a:off x="7656971" y="1991948"/>
            <a:ext cx="612648" cy="394380"/>
          </a:xfrm>
          <a:prstGeom prst="rect">
            <a:avLst/>
          </a:prstGeom>
        </p:spPr>
      </p:pic>
      <p:sp>
        <p:nvSpPr>
          <p:cNvPr id="9" name="Text Placeholder 81">
            <a:extLst>
              <a:ext uri="{FF2B5EF4-FFF2-40B4-BE49-F238E27FC236}">
                <a16:creationId xmlns:a16="http://schemas.microsoft.com/office/drawing/2014/main" id="{82F369D0-394D-1D33-9137-66F07EF36FFF}"/>
              </a:ext>
            </a:extLst>
          </p:cNvPr>
          <p:cNvSpPr txBox="1">
            <a:spLocks/>
          </p:cNvSpPr>
          <p:nvPr/>
        </p:nvSpPr>
        <p:spPr>
          <a:xfrm>
            <a:off x="7480767" y="1598029"/>
            <a:ext cx="1049972" cy="1523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Google+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2332EB20-08CE-A75A-E3F7-7417F42E69A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122517" y="3740079"/>
            <a:ext cx="609600" cy="6096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F60A5A9-5D60-B0A7-C6F8-15419C4A182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317750" y="3740079"/>
            <a:ext cx="609600" cy="6096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2A04720-37D4-4272-D96A-5DBAD6286A7E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055985" y="3740079"/>
            <a:ext cx="609600" cy="609600"/>
          </a:xfrm>
          <a:prstGeom prst="rect">
            <a:avLst/>
          </a:prstGeom>
        </p:spPr>
      </p:pic>
      <p:sp>
        <p:nvSpPr>
          <p:cNvPr id="10" name="object 69">
            <a:extLst>
              <a:ext uri="{FF2B5EF4-FFF2-40B4-BE49-F238E27FC236}">
                <a16:creationId xmlns:a16="http://schemas.microsoft.com/office/drawing/2014/main" id="{F96313B5-0F71-0B5B-A5FC-2E0F084A4444}"/>
              </a:ext>
            </a:extLst>
          </p:cNvPr>
          <p:cNvSpPr txBox="1"/>
          <p:nvPr/>
        </p:nvSpPr>
        <p:spPr>
          <a:xfrm>
            <a:off x="8685601" y="1604954"/>
            <a:ext cx="10763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Poll</a:t>
            </a:r>
          </a:p>
        </p:txBody>
      </p:sp>
      <p:sp>
        <p:nvSpPr>
          <p:cNvPr id="11" name="object 29">
            <a:extLst>
              <a:ext uri="{FF2B5EF4-FFF2-40B4-BE49-F238E27FC236}">
                <a16:creationId xmlns:a16="http://schemas.microsoft.com/office/drawing/2014/main" id="{D26377E4-1BE7-0C57-037D-C2C42F68C792}"/>
              </a:ext>
            </a:extLst>
          </p:cNvPr>
          <p:cNvSpPr txBox="1"/>
          <p:nvPr/>
        </p:nvSpPr>
        <p:spPr>
          <a:xfrm>
            <a:off x="6266786" y="1604954"/>
            <a:ext cx="9144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Playlist</a:t>
            </a: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EA8B633B-5A1B-39B3-9029-FEFB5F693E8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413270" y="1884338"/>
            <a:ext cx="609600" cy="60960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2EBBCDB2-9F4D-05E0-3F60-D2B62D40AD2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903723" y="1869098"/>
            <a:ext cx="640080" cy="640080"/>
          </a:xfrm>
          <a:prstGeom prst="rect">
            <a:avLst/>
          </a:prstGeom>
        </p:spPr>
      </p:pic>
      <p:pic>
        <p:nvPicPr>
          <p:cNvPr id="51" name="Picture 5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4722E99-C78A-011F-A47F-97C75FE5E58F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608" y="1882814"/>
            <a:ext cx="599411" cy="61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6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11887B1-77F5-805E-BD42-C5DA4543B8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4109048-80EB-E4B8-F8BB-79D3B5186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35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5837C13-94B1-D6D3-F8EA-9B34BDE64D64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304" y="1732924"/>
            <a:ext cx="1898904" cy="64008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0D23CC8-8A78-FD65-102E-4F9958CADCC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7542" y="3345967"/>
            <a:ext cx="2771526" cy="64008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AF871B5-D34B-C99A-89BF-06159A34AA8A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95520" y="4959010"/>
            <a:ext cx="2812726" cy="64008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4E0A290-FDBE-4B29-E453-98A69401AA1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84439" y="1732924"/>
            <a:ext cx="2773681" cy="64008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6A31E0B-ABC5-2120-6EBD-AF1B1A74CF3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064740" y="3345967"/>
            <a:ext cx="3810510" cy="64008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C2461FF-A53B-3463-682C-D51E0E4024D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433796" y="1732924"/>
            <a:ext cx="3068118" cy="64008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DAA85D4E-4A2C-6675-C298-9FAC73B169D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783800" y="3345967"/>
            <a:ext cx="2363372" cy="6400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19851348-364D-A767-8D49-C84350B677F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789105" y="5102117"/>
            <a:ext cx="2385412" cy="484632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24D8C92D-C58E-7C6D-39C5-F19F1DD6EE11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837977" y="4959010"/>
            <a:ext cx="2216652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9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20960E-B2D8-D51B-3B0E-C1820C6355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3869" y="2540003"/>
            <a:ext cx="11244262" cy="2099734"/>
          </a:xfrm>
          <a:solidFill>
            <a:schemeClr val="tx1"/>
          </a:solidFill>
        </p:spPr>
        <p:txBody>
          <a:bodyPr bIns="137160" anchor="ctr" anchorCtr="0"/>
          <a:lstStyle/>
          <a:p>
            <a:pPr marL="0" indent="0" algn="ctr">
              <a:lnSpc>
                <a:spcPct val="130000"/>
              </a:lnSpc>
              <a:spcBef>
                <a:spcPts val="600"/>
              </a:spcBef>
              <a:buNone/>
            </a:pPr>
            <a:r>
              <a:rPr lang="en-US" sz="3000" b="1" dirty="0">
                <a:solidFill>
                  <a:schemeClr val="bg1"/>
                </a:solidFill>
              </a:rPr>
              <a:t>This library contains OFFICIAL PTC ICONS to be used across </a:t>
            </a:r>
          </a:p>
          <a:p>
            <a:pPr marL="0" indent="0" algn="ctr">
              <a:lnSpc>
                <a:spcPct val="130000"/>
              </a:lnSpc>
              <a:spcBef>
                <a:spcPts val="600"/>
              </a:spcBef>
              <a:buNone/>
            </a:pPr>
            <a:r>
              <a:rPr lang="en-US" sz="3000" b="1" dirty="0">
                <a:solidFill>
                  <a:schemeClr val="bg1"/>
                </a:solidFill>
              </a:rPr>
              <a:t>ALL PRESENTATIONS for brand consistency.</a:t>
            </a:r>
            <a:endParaRPr lang="en-US" sz="2000" b="1" i="1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0516286-45D2-5509-5F57-39BD1575A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883768"/>
            <a:ext cx="11244262" cy="461665"/>
          </a:xfrm>
          <a:solidFill>
            <a:schemeClr val="tx1"/>
          </a:solidFill>
        </p:spPr>
        <p:txBody>
          <a:bodyPr tIns="91440" anchor="ctr" anchorCtr="0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tc icon library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D12F42C-F752-90E4-5670-99671C2C6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89676" y="1007423"/>
            <a:ext cx="612648" cy="6126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2C82155-BA07-0EB2-1043-84BED565754D}"/>
              </a:ext>
            </a:extLst>
          </p:cNvPr>
          <p:cNvSpPr txBox="1"/>
          <p:nvPr/>
        </p:nvSpPr>
        <p:spPr>
          <a:xfrm>
            <a:off x="473870" y="4828661"/>
            <a:ext cx="11265692" cy="1077218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0" indent="0" algn="ctr">
              <a:spcBef>
                <a:spcPts val="1200"/>
              </a:spcBef>
              <a:buNone/>
            </a:pPr>
            <a:r>
              <a:rPr lang="en-US" sz="1800" b="1" dirty="0">
                <a:solidFill>
                  <a:schemeClr val="accent5"/>
                </a:solidFill>
              </a:rPr>
              <a:t>Avoid using icons you find elsewhere as they are likely not on brand and without legal usage rights.</a:t>
            </a:r>
            <a:endParaRPr lang="en-US" sz="2800" b="1" dirty="0">
              <a:solidFill>
                <a:schemeClr val="accent5"/>
              </a:solidFill>
            </a:endParaRPr>
          </a:p>
          <a:p>
            <a:pPr marL="0" indent="0" algn="ctr">
              <a:spcBef>
                <a:spcPts val="1200"/>
              </a:spcBef>
              <a:buNone/>
            </a:pPr>
            <a:r>
              <a:rPr lang="en-US" sz="1800" i="1" dirty="0">
                <a:solidFill>
                  <a:schemeClr val="accent5"/>
                </a:solidFill>
              </a:rPr>
              <a:t>Use this library while creating slides then delete the pages. These icons are always at your fingertips while working on a presentation by choosing “file / new / default theme ” in PPT.</a:t>
            </a:r>
          </a:p>
        </p:txBody>
      </p:sp>
    </p:spTree>
    <p:extLst>
      <p:ext uri="{BB962C8B-B14F-4D97-AF65-F5344CB8AC3E}">
        <p14:creationId xmlns:p14="http://schemas.microsoft.com/office/powerpoint/2010/main" val="178610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" name="Text Placeholder 81">
            <a:extLst>
              <a:ext uri="{FF2B5EF4-FFF2-40B4-BE49-F238E27FC236}">
                <a16:creationId xmlns:a16="http://schemas.microsoft.com/office/drawing/2014/main" id="{E55BB916-FCD7-C0E4-74BC-C6E60F89A3BA}"/>
              </a:ext>
            </a:extLst>
          </p:cNvPr>
          <p:cNvSpPr txBox="1">
            <a:spLocks/>
          </p:cNvSpPr>
          <p:nvPr/>
        </p:nvSpPr>
        <p:spPr>
          <a:xfrm>
            <a:off x="9757663" y="1487942"/>
            <a:ext cx="1828800" cy="1521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R</a:t>
            </a:r>
          </a:p>
        </p:txBody>
      </p:sp>
      <p:sp>
        <p:nvSpPr>
          <p:cNvPr id="352" name="Text Placeholder 81">
            <a:extLst>
              <a:ext uri="{FF2B5EF4-FFF2-40B4-BE49-F238E27FC236}">
                <a16:creationId xmlns:a16="http://schemas.microsoft.com/office/drawing/2014/main" id="{51C94F89-7ED0-51B7-28DC-5F72E18CDB66}"/>
              </a:ext>
            </a:extLst>
          </p:cNvPr>
          <p:cNvSpPr txBox="1">
            <a:spLocks/>
          </p:cNvSpPr>
          <p:nvPr/>
        </p:nvSpPr>
        <p:spPr>
          <a:xfrm>
            <a:off x="7890244" y="1487942"/>
            <a:ext cx="1371600" cy="1521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LM</a:t>
            </a:r>
          </a:p>
        </p:txBody>
      </p:sp>
      <p:sp>
        <p:nvSpPr>
          <p:cNvPr id="353" name="Text Placeholder 81">
            <a:extLst>
              <a:ext uri="{FF2B5EF4-FFF2-40B4-BE49-F238E27FC236}">
                <a16:creationId xmlns:a16="http://schemas.microsoft.com/office/drawing/2014/main" id="{2939CBAA-6148-8DCF-F136-16A430714E14}"/>
              </a:ext>
            </a:extLst>
          </p:cNvPr>
          <p:cNvSpPr txBox="1">
            <a:spLocks/>
          </p:cNvSpPr>
          <p:nvPr/>
        </p:nvSpPr>
        <p:spPr>
          <a:xfrm>
            <a:off x="6065617" y="1487942"/>
            <a:ext cx="1371600" cy="1521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IOT, IIOT</a:t>
            </a:r>
          </a:p>
        </p:txBody>
      </p:sp>
      <p:sp>
        <p:nvSpPr>
          <p:cNvPr id="354" name="Text Placeholder 81">
            <a:extLst>
              <a:ext uri="{FF2B5EF4-FFF2-40B4-BE49-F238E27FC236}">
                <a16:creationId xmlns:a16="http://schemas.microsoft.com/office/drawing/2014/main" id="{D3935299-BB90-8662-117C-08D0C9278F97}"/>
              </a:ext>
            </a:extLst>
          </p:cNvPr>
          <p:cNvSpPr txBox="1">
            <a:spLocks/>
          </p:cNvSpPr>
          <p:nvPr/>
        </p:nvSpPr>
        <p:spPr>
          <a:xfrm>
            <a:off x="4227223" y="1487942"/>
            <a:ext cx="1371600" cy="1521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LM</a:t>
            </a:r>
          </a:p>
        </p:txBody>
      </p:sp>
      <p:sp>
        <p:nvSpPr>
          <p:cNvPr id="355" name="Text Placeholder 81">
            <a:extLst>
              <a:ext uri="{FF2B5EF4-FFF2-40B4-BE49-F238E27FC236}">
                <a16:creationId xmlns:a16="http://schemas.microsoft.com/office/drawing/2014/main" id="{3D4A3A60-81B4-D910-BD66-8239AA912F1C}"/>
              </a:ext>
            </a:extLst>
          </p:cNvPr>
          <p:cNvSpPr txBox="1">
            <a:spLocks/>
          </p:cNvSpPr>
          <p:nvPr/>
        </p:nvSpPr>
        <p:spPr>
          <a:xfrm>
            <a:off x="2407240" y="1487942"/>
            <a:ext cx="1371600" cy="1521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LM</a:t>
            </a:r>
          </a:p>
        </p:txBody>
      </p:sp>
      <p:sp>
        <p:nvSpPr>
          <p:cNvPr id="356" name="Text Placeholder 81">
            <a:extLst>
              <a:ext uri="{FF2B5EF4-FFF2-40B4-BE49-F238E27FC236}">
                <a16:creationId xmlns:a16="http://schemas.microsoft.com/office/drawing/2014/main" id="{147CB6C7-E223-5CCD-0D62-3B590219935C}"/>
              </a:ext>
            </a:extLst>
          </p:cNvPr>
          <p:cNvSpPr txBox="1">
            <a:spLocks/>
          </p:cNvSpPr>
          <p:nvPr/>
        </p:nvSpPr>
        <p:spPr>
          <a:xfrm>
            <a:off x="546666" y="1487942"/>
            <a:ext cx="1371600" cy="1521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>
                <a:ea typeface="+mn-lt"/>
                <a:cs typeface="+mn-lt"/>
              </a:rPr>
              <a:t>CAD</a:t>
            </a:r>
          </a:p>
        </p:txBody>
      </p:sp>
      <p:sp>
        <p:nvSpPr>
          <p:cNvPr id="8" name="Text Placeholder 81">
            <a:extLst>
              <a:ext uri="{FF2B5EF4-FFF2-40B4-BE49-F238E27FC236}">
                <a16:creationId xmlns:a16="http://schemas.microsoft.com/office/drawing/2014/main" id="{0852E674-6C8F-CA70-A377-10F39E27695D}"/>
              </a:ext>
            </a:extLst>
          </p:cNvPr>
          <p:cNvSpPr txBox="1">
            <a:spLocks/>
          </p:cNvSpPr>
          <p:nvPr/>
        </p:nvSpPr>
        <p:spPr>
          <a:xfrm>
            <a:off x="2431483" y="1706565"/>
            <a:ext cx="1323114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pplication Lifecycle Management </a:t>
            </a:r>
          </a:p>
        </p:txBody>
      </p:sp>
      <p:sp>
        <p:nvSpPr>
          <p:cNvPr id="11" name="Text Placeholder 81">
            <a:extLst>
              <a:ext uri="{FF2B5EF4-FFF2-40B4-BE49-F238E27FC236}">
                <a16:creationId xmlns:a16="http://schemas.microsoft.com/office/drawing/2014/main" id="{13D08511-60A0-D8BE-D3CC-4AC676CE4039}"/>
              </a:ext>
            </a:extLst>
          </p:cNvPr>
          <p:cNvSpPr txBox="1">
            <a:spLocks/>
          </p:cNvSpPr>
          <p:nvPr/>
        </p:nvSpPr>
        <p:spPr>
          <a:xfrm>
            <a:off x="10107984" y="1783509"/>
            <a:ext cx="1311038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ugmented Reality </a:t>
            </a:r>
          </a:p>
        </p:txBody>
      </p: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475ECBD1-AD63-4C21-F89E-57D2919A2063}"/>
              </a:ext>
            </a:extLst>
          </p:cNvPr>
          <p:cNvGrpSpPr>
            <a:grpSpLocks noChangeAspect="1"/>
          </p:cNvGrpSpPr>
          <p:nvPr/>
        </p:nvGrpSpPr>
        <p:grpSpPr>
          <a:xfrm>
            <a:off x="9780043" y="2117748"/>
            <a:ext cx="706756" cy="339070"/>
            <a:chOff x="3378287" y="2381115"/>
            <a:chExt cx="607534" cy="291467"/>
          </a:xfrm>
        </p:grpSpPr>
        <p:grpSp>
          <p:nvGrpSpPr>
            <p:cNvPr id="302" name="Graphic 335">
              <a:extLst>
                <a:ext uri="{FF2B5EF4-FFF2-40B4-BE49-F238E27FC236}">
                  <a16:creationId xmlns:a16="http://schemas.microsoft.com/office/drawing/2014/main" id="{C5B3CC73-66D0-7BE7-FC54-95E9C60A364F}"/>
                </a:ext>
              </a:extLst>
            </p:cNvPr>
            <p:cNvGrpSpPr/>
            <p:nvPr/>
          </p:nvGrpSpPr>
          <p:grpSpPr>
            <a:xfrm>
              <a:off x="3378287" y="2431798"/>
              <a:ext cx="607534" cy="133151"/>
              <a:chOff x="3429844" y="2637635"/>
              <a:chExt cx="607534" cy="133151"/>
            </a:xfrm>
            <a:solidFill>
              <a:srgbClr val="40AA1D"/>
            </a:solidFill>
          </p:grpSpPr>
          <p:sp>
            <p:nvSpPr>
              <p:cNvPr id="303" name="Freeform: Shape 302">
                <a:extLst>
                  <a:ext uri="{FF2B5EF4-FFF2-40B4-BE49-F238E27FC236}">
                    <a16:creationId xmlns:a16="http://schemas.microsoft.com/office/drawing/2014/main" id="{B7CA2F2B-4C72-85F3-770F-6439DD87C851}"/>
                  </a:ext>
                </a:extLst>
              </p:cNvPr>
              <p:cNvSpPr/>
              <p:nvPr/>
            </p:nvSpPr>
            <p:spPr>
              <a:xfrm>
                <a:off x="3429844" y="2637635"/>
                <a:ext cx="41220" cy="133151"/>
              </a:xfrm>
              <a:custGeom>
                <a:avLst/>
                <a:gdLst>
                  <a:gd name="connsiteX0" fmla="*/ 41221 w 41220"/>
                  <a:gd name="connsiteY0" fmla="*/ 753 h 133151"/>
                  <a:gd name="connsiteX1" fmla="*/ 25028 w 41220"/>
                  <a:gd name="connsiteY1" fmla="*/ 133151 h 133151"/>
                  <a:gd name="connsiteX2" fmla="*/ 3121 w 41220"/>
                  <a:gd name="connsiteY2" fmla="*/ 115053 h 133151"/>
                  <a:gd name="connsiteX3" fmla="*/ 10741 w 41220"/>
                  <a:gd name="connsiteY3" fmla="*/ 6468 h 133151"/>
                  <a:gd name="connsiteX4" fmla="*/ 41221 w 41220"/>
                  <a:gd name="connsiteY4" fmla="*/ 753 h 13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220" h="133151">
                    <a:moveTo>
                      <a:pt x="41221" y="753"/>
                    </a:moveTo>
                    <a:lnTo>
                      <a:pt x="25028" y="133151"/>
                    </a:lnTo>
                    <a:cubicBezTo>
                      <a:pt x="17408" y="133151"/>
                      <a:pt x="7883" y="129341"/>
                      <a:pt x="3121" y="115053"/>
                    </a:cubicBezTo>
                    <a:cubicBezTo>
                      <a:pt x="-2594" y="101718"/>
                      <a:pt x="-689" y="16945"/>
                      <a:pt x="10741" y="6468"/>
                    </a:cubicBezTo>
                    <a:cubicBezTo>
                      <a:pt x="22171" y="-3057"/>
                      <a:pt x="41221" y="753"/>
                      <a:pt x="41221" y="753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4" name="Freeform: Shape 303">
                <a:extLst>
                  <a:ext uri="{FF2B5EF4-FFF2-40B4-BE49-F238E27FC236}">
                    <a16:creationId xmlns:a16="http://schemas.microsoft.com/office/drawing/2014/main" id="{75C25AD0-02D1-796A-2FB1-B6497A846091}"/>
                  </a:ext>
                </a:extLst>
              </p:cNvPr>
              <p:cNvSpPr/>
              <p:nvPr/>
            </p:nvSpPr>
            <p:spPr>
              <a:xfrm>
                <a:off x="3996844" y="2637635"/>
                <a:ext cx="40534" cy="133151"/>
              </a:xfrm>
              <a:custGeom>
                <a:avLst/>
                <a:gdLst>
                  <a:gd name="connsiteX0" fmla="*/ 0 w 40534"/>
                  <a:gd name="connsiteY0" fmla="*/ 753 h 133151"/>
                  <a:gd name="connsiteX1" fmla="*/ 16193 w 40534"/>
                  <a:gd name="connsiteY1" fmla="*/ 133151 h 133151"/>
                  <a:gd name="connsiteX2" fmla="*/ 38100 w 40534"/>
                  <a:gd name="connsiteY2" fmla="*/ 115053 h 133151"/>
                  <a:gd name="connsiteX3" fmla="*/ 29528 w 40534"/>
                  <a:gd name="connsiteY3" fmla="*/ 6468 h 133151"/>
                  <a:gd name="connsiteX4" fmla="*/ 0 w 40534"/>
                  <a:gd name="connsiteY4" fmla="*/ 753 h 13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34" h="133151">
                    <a:moveTo>
                      <a:pt x="0" y="753"/>
                    </a:moveTo>
                    <a:lnTo>
                      <a:pt x="16193" y="133151"/>
                    </a:lnTo>
                    <a:cubicBezTo>
                      <a:pt x="23813" y="133151"/>
                      <a:pt x="33338" y="129341"/>
                      <a:pt x="38100" y="115053"/>
                    </a:cubicBezTo>
                    <a:cubicBezTo>
                      <a:pt x="42863" y="100766"/>
                      <a:pt x="40958" y="16945"/>
                      <a:pt x="29528" y="6468"/>
                    </a:cubicBezTo>
                    <a:cubicBezTo>
                      <a:pt x="19050" y="-3057"/>
                      <a:pt x="0" y="753"/>
                      <a:pt x="0" y="753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09A0D250-FF0A-C1EF-C1D2-DBC60980B2B5}"/>
                </a:ext>
              </a:extLst>
            </p:cNvPr>
            <p:cNvSpPr/>
            <p:nvPr/>
          </p:nvSpPr>
          <p:spPr>
            <a:xfrm>
              <a:off x="3422654" y="2381115"/>
              <a:ext cx="519486" cy="291467"/>
            </a:xfrm>
            <a:custGeom>
              <a:avLst/>
              <a:gdLst>
                <a:gd name="connsiteX0" fmla="*/ 259743 w 519486"/>
                <a:gd name="connsiteY0" fmla="*/ 28575 h 291467"/>
                <a:gd name="connsiteX1" fmla="*/ 376901 w 519486"/>
                <a:gd name="connsiteY1" fmla="*/ 32385 h 291467"/>
                <a:gd name="connsiteX2" fmla="*/ 461673 w 519486"/>
                <a:gd name="connsiteY2" fmla="*/ 50483 h 291467"/>
                <a:gd name="connsiteX3" fmla="*/ 489296 w 519486"/>
                <a:gd name="connsiteY3" fmla="*/ 213361 h 291467"/>
                <a:gd name="connsiteX4" fmla="*/ 395951 w 519486"/>
                <a:gd name="connsiteY4" fmla="*/ 262892 h 291467"/>
                <a:gd name="connsiteX5" fmla="*/ 387379 w 519486"/>
                <a:gd name="connsiteY5" fmla="*/ 261939 h 291467"/>
                <a:gd name="connsiteX6" fmla="*/ 326418 w 519486"/>
                <a:gd name="connsiteY6" fmla="*/ 241937 h 291467"/>
                <a:gd name="connsiteX7" fmla="*/ 259743 w 519486"/>
                <a:gd name="connsiteY7" fmla="*/ 222887 h 291467"/>
                <a:gd name="connsiteX8" fmla="*/ 193068 w 519486"/>
                <a:gd name="connsiteY8" fmla="*/ 241937 h 291467"/>
                <a:gd name="connsiteX9" fmla="*/ 132108 w 519486"/>
                <a:gd name="connsiteY9" fmla="*/ 261939 h 291467"/>
                <a:gd name="connsiteX10" fmla="*/ 123536 w 519486"/>
                <a:gd name="connsiteY10" fmla="*/ 262892 h 291467"/>
                <a:gd name="connsiteX11" fmla="*/ 30191 w 519486"/>
                <a:gd name="connsiteY11" fmla="*/ 213361 h 291467"/>
                <a:gd name="connsiteX12" fmla="*/ 56861 w 519486"/>
                <a:gd name="connsiteY12" fmla="*/ 50483 h 291467"/>
                <a:gd name="connsiteX13" fmla="*/ 141633 w 519486"/>
                <a:gd name="connsiteY13" fmla="*/ 32385 h 291467"/>
                <a:gd name="connsiteX14" fmla="*/ 259743 w 519486"/>
                <a:gd name="connsiteY14" fmla="*/ 28575 h 291467"/>
                <a:gd name="connsiteX15" fmla="*/ 259743 w 519486"/>
                <a:gd name="connsiteY15" fmla="*/ 0 h 291467"/>
                <a:gd name="connsiteX16" fmla="*/ 37811 w 519486"/>
                <a:gd name="connsiteY16" fmla="*/ 29528 h 291467"/>
                <a:gd name="connsiteX17" fmla="*/ 3521 w 519486"/>
                <a:gd name="connsiteY17" fmla="*/ 223839 h 291467"/>
                <a:gd name="connsiteX18" fmla="*/ 123536 w 519486"/>
                <a:gd name="connsiteY18" fmla="*/ 291467 h 291467"/>
                <a:gd name="connsiteX19" fmla="*/ 134966 w 519486"/>
                <a:gd name="connsiteY19" fmla="*/ 290515 h 291467"/>
                <a:gd name="connsiteX20" fmla="*/ 259743 w 519486"/>
                <a:gd name="connsiteY20" fmla="*/ 250509 h 291467"/>
                <a:gd name="connsiteX21" fmla="*/ 384521 w 519486"/>
                <a:gd name="connsiteY21" fmla="*/ 290515 h 291467"/>
                <a:gd name="connsiteX22" fmla="*/ 395951 w 519486"/>
                <a:gd name="connsiteY22" fmla="*/ 291467 h 291467"/>
                <a:gd name="connsiteX23" fmla="*/ 515966 w 519486"/>
                <a:gd name="connsiteY23" fmla="*/ 223839 h 291467"/>
                <a:gd name="connsiteX24" fmla="*/ 481676 w 519486"/>
                <a:gd name="connsiteY24" fmla="*/ 29528 h 291467"/>
                <a:gd name="connsiteX25" fmla="*/ 259743 w 519486"/>
                <a:gd name="connsiteY25" fmla="*/ 0 h 291467"/>
                <a:gd name="connsiteX26" fmla="*/ 259743 w 519486"/>
                <a:gd name="connsiteY26" fmla="*/ 0 h 29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9486" h="291467">
                  <a:moveTo>
                    <a:pt x="259743" y="28575"/>
                  </a:moveTo>
                  <a:cubicBezTo>
                    <a:pt x="287366" y="28575"/>
                    <a:pt x="334038" y="28575"/>
                    <a:pt x="376901" y="32385"/>
                  </a:cubicBezTo>
                  <a:cubicBezTo>
                    <a:pt x="446433" y="38100"/>
                    <a:pt x="460721" y="49530"/>
                    <a:pt x="461673" y="50483"/>
                  </a:cubicBezTo>
                  <a:cubicBezTo>
                    <a:pt x="481676" y="68580"/>
                    <a:pt x="496916" y="188596"/>
                    <a:pt x="489296" y="213361"/>
                  </a:cubicBezTo>
                  <a:cubicBezTo>
                    <a:pt x="484533" y="225744"/>
                    <a:pt x="438813" y="262892"/>
                    <a:pt x="395951" y="262892"/>
                  </a:cubicBezTo>
                  <a:cubicBezTo>
                    <a:pt x="393093" y="262892"/>
                    <a:pt x="390236" y="262892"/>
                    <a:pt x="387379" y="261939"/>
                  </a:cubicBezTo>
                  <a:cubicBezTo>
                    <a:pt x="363566" y="259082"/>
                    <a:pt x="345468" y="250509"/>
                    <a:pt x="326418" y="241937"/>
                  </a:cubicBezTo>
                  <a:cubicBezTo>
                    <a:pt x="305463" y="232412"/>
                    <a:pt x="284508" y="222887"/>
                    <a:pt x="259743" y="222887"/>
                  </a:cubicBezTo>
                  <a:cubicBezTo>
                    <a:pt x="234978" y="222887"/>
                    <a:pt x="213071" y="232412"/>
                    <a:pt x="193068" y="241937"/>
                  </a:cubicBezTo>
                  <a:cubicBezTo>
                    <a:pt x="174971" y="250509"/>
                    <a:pt x="155921" y="259082"/>
                    <a:pt x="132108" y="261939"/>
                  </a:cubicBezTo>
                  <a:cubicBezTo>
                    <a:pt x="129251" y="261939"/>
                    <a:pt x="126393" y="262892"/>
                    <a:pt x="123536" y="262892"/>
                  </a:cubicBezTo>
                  <a:cubicBezTo>
                    <a:pt x="80673" y="262892"/>
                    <a:pt x="34953" y="224792"/>
                    <a:pt x="30191" y="213361"/>
                  </a:cubicBezTo>
                  <a:cubicBezTo>
                    <a:pt x="22571" y="188596"/>
                    <a:pt x="37811" y="68580"/>
                    <a:pt x="56861" y="50483"/>
                  </a:cubicBezTo>
                  <a:cubicBezTo>
                    <a:pt x="57813" y="49530"/>
                    <a:pt x="72101" y="38100"/>
                    <a:pt x="141633" y="32385"/>
                  </a:cubicBezTo>
                  <a:cubicBezTo>
                    <a:pt x="185448" y="28575"/>
                    <a:pt x="232121" y="28575"/>
                    <a:pt x="259743" y="28575"/>
                  </a:cubicBezTo>
                  <a:moveTo>
                    <a:pt x="259743" y="0"/>
                  </a:moveTo>
                  <a:cubicBezTo>
                    <a:pt x="204498" y="0"/>
                    <a:pt x="69243" y="0"/>
                    <a:pt x="37811" y="29528"/>
                  </a:cubicBezTo>
                  <a:cubicBezTo>
                    <a:pt x="6378" y="59055"/>
                    <a:pt x="-6957" y="197169"/>
                    <a:pt x="3521" y="223839"/>
                  </a:cubicBezTo>
                  <a:cubicBezTo>
                    <a:pt x="13046" y="248604"/>
                    <a:pt x="70196" y="291467"/>
                    <a:pt x="123536" y="291467"/>
                  </a:cubicBezTo>
                  <a:cubicBezTo>
                    <a:pt x="127346" y="291467"/>
                    <a:pt x="131156" y="291467"/>
                    <a:pt x="134966" y="290515"/>
                  </a:cubicBezTo>
                  <a:cubicBezTo>
                    <a:pt x="191163" y="282895"/>
                    <a:pt x="221643" y="250509"/>
                    <a:pt x="259743" y="250509"/>
                  </a:cubicBezTo>
                  <a:cubicBezTo>
                    <a:pt x="297843" y="250509"/>
                    <a:pt x="328323" y="282895"/>
                    <a:pt x="384521" y="290515"/>
                  </a:cubicBezTo>
                  <a:cubicBezTo>
                    <a:pt x="388331" y="291467"/>
                    <a:pt x="392141" y="291467"/>
                    <a:pt x="395951" y="291467"/>
                  </a:cubicBezTo>
                  <a:cubicBezTo>
                    <a:pt x="449291" y="291467"/>
                    <a:pt x="506441" y="248604"/>
                    <a:pt x="515966" y="223839"/>
                  </a:cubicBezTo>
                  <a:cubicBezTo>
                    <a:pt x="526444" y="197169"/>
                    <a:pt x="513108" y="59055"/>
                    <a:pt x="481676" y="29528"/>
                  </a:cubicBezTo>
                  <a:cubicBezTo>
                    <a:pt x="450243" y="0"/>
                    <a:pt x="314988" y="0"/>
                    <a:pt x="259743" y="0"/>
                  </a:cubicBezTo>
                  <a:lnTo>
                    <a:pt x="259743" y="0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E97AE052-4938-4A74-098A-9A74023BF67D}"/>
                </a:ext>
              </a:extLst>
            </p:cNvPr>
            <p:cNvSpPr/>
            <p:nvPr/>
          </p:nvSpPr>
          <p:spPr>
            <a:xfrm>
              <a:off x="3557620" y="2461126"/>
              <a:ext cx="278129" cy="17145"/>
            </a:xfrm>
            <a:custGeom>
              <a:avLst/>
              <a:gdLst>
                <a:gd name="connsiteX0" fmla="*/ 0 w 278129"/>
                <a:gd name="connsiteY0" fmla="*/ 8573 h 17145"/>
                <a:gd name="connsiteX1" fmla="*/ 8572 w 278129"/>
                <a:gd name="connsiteY1" fmla="*/ 0 h 17145"/>
                <a:gd name="connsiteX2" fmla="*/ 269558 w 278129"/>
                <a:gd name="connsiteY2" fmla="*/ 0 h 17145"/>
                <a:gd name="connsiteX3" fmla="*/ 278130 w 278129"/>
                <a:gd name="connsiteY3" fmla="*/ 8573 h 17145"/>
                <a:gd name="connsiteX4" fmla="*/ 278130 w 278129"/>
                <a:gd name="connsiteY4" fmla="*/ 8573 h 17145"/>
                <a:gd name="connsiteX5" fmla="*/ 269558 w 278129"/>
                <a:gd name="connsiteY5" fmla="*/ 17145 h 17145"/>
                <a:gd name="connsiteX6" fmla="*/ 7620 w 278129"/>
                <a:gd name="connsiteY6" fmla="*/ 17145 h 17145"/>
                <a:gd name="connsiteX7" fmla="*/ 0 w 278129"/>
                <a:gd name="connsiteY7" fmla="*/ 8573 h 17145"/>
                <a:gd name="connsiteX8" fmla="*/ 0 w 278129"/>
                <a:gd name="connsiteY8" fmla="*/ 8573 h 1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8129" h="17145">
                  <a:moveTo>
                    <a:pt x="0" y="8573"/>
                  </a:moveTo>
                  <a:cubicBezTo>
                    <a:pt x="0" y="3810"/>
                    <a:pt x="3810" y="0"/>
                    <a:pt x="8572" y="0"/>
                  </a:cubicBezTo>
                  <a:lnTo>
                    <a:pt x="269558" y="0"/>
                  </a:lnTo>
                  <a:cubicBezTo>
                    <a:pt x="274320" y="0"/>
                    <a:pt x="278130" y="3810"/>
                    <a:pt x="278130" y="8573"/>
                  </a:cubicBezTo>
                  <a:lnTo>
                    <a:pt x="278130" y="8573"/>
                  </a:lnTo>
                  <a:cubicBezTo>
                    <a:pt x="278130" y="13335"/>
                    <a:pt x="274320" y="17145"/>
                    <a:pt x="269558" y="17145"/>
                  </a:cubicBezTo>
                  <a:lnTo>
                    <a:pt x="7620" y="17145"/>
                  </a:lnTo>
                  <a:cubicBezTo>
                    <a:pt x="3810" y="17145"/>
                    <a:pt x="0" y="13335"/>
                    <a:pt x="0" y="8573"/>
                  </a:cubicBezTo>
                  <a:lnTo>
                    <a:pt x="0" y="857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24BCE853-FD9F-5F4C-3F54-92C409C7F57E}"/>
                </a:ext>
              </a:extLst>
            </p:cNvPr>
            <p:cNvSpPr/>
            <p:nvPr/>
          </p:nvSpPr>
          <p:spPr>
            <a:xfrm>
              <a:off x="3846228" y="2463031"/>
              <a:ext cx="15239" cy="15240"/>
            </a:xfrm>
            <a:custGeom>
              <a:avLst/>
              <a:gdLst>
                <a:gd name="connsiteX0" fmla="*/ 7620 w 15239"/>
                <a:gd name="connsiteY0" fmla="*/ 15240 h 15240"/>
                <a:gd name="connsiteX1" fmla="*/ 0 w 15239"/>
                <a:gd name="connsiteY1" fmla="*/ 7620 h 15240"/>
                <a:gd name="connsiteX2" fmla="*/ 7620 w 15239"/>
                <a:gd name="connsiteY2" fmla="*/ 0 h 15240"/>
                <a:gd name="connsiteX3" fmla="*/ 15240 w 15239"/>
                <a:gd name="connsiteY3" fmla="*/ 7620 h 15240"/>
                <a:gd name="connsiteX4" fmla="*/ 7620 w 15239"/>
                <a:gd name="connsiteY4" fmla="*/ 15240 h 1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39" h="15240">
                  <a:moveTo>
                    <a:pt x="7620" y="15240"/>
                  </a:moveTo>
                  <a:cubicBezTo>
                    <a:pt x="2857" y="15240"/>
                    <a:pt x="0" y="11430"/>
                    <a:pt x="0" y="7620"/>
                  </a:cubicBezTo>
                  <a:cubicBezTo>
                    <a:pt x="0" y="2858"/>
                    <a:pt x="3810" y="0"/>
                    <a:pt x="7620" y="0"/>
                  </a:cubicBezTo>
                  <a:cubicBezTo>
                    <a:pt x="12382" y="0"/>
                    <a:pt x="15240" y="3810"/>
                    <a:pt x="15240" y="7620"/>
                  </a:cubicBezTo>
                  <a:cubicBezTo>
                    <a:pt x="15240" y="11430"/>
                    <a:pt x="11430" y="15240"/>
                    <a:pt x="7620" y="1524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9" name="Text Placeholder 81">
            <a:extLst>
              <a:ext uri="{FF2B5EF4-FFF2-40B4-BE49-F238E27FC236}">
                <a16:creationId xmlns:a16="http://schemas.microsoft.com/office/drawing/2014/main" id="{D0D504B7-BC24-B764-E9E1-A225192BD5B8}"/>
              </a:ext>
            </a:extLst>
          </p:cNvPr>
          <p:cNvSpPr txBox="1">
            <a:spLocks/>
          </p:cNvSpPr>
          <p:nvPr/>
        </p:nvSpPr>
        <p:spPr>
          <a:xfrm>
            <a:off x="486757" y="1783509"/>
            <a:ext cx="1491419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omputer Aided Design </a:t>
            </a:r>
          </a:p>
        </p:txBody>
      </p:sp>
      <p:sp>
        <p:nvSpPr>
          <p:cNvPr id="10" name="Text Placeholder 81">
            <a:extLst>
              <a:ext uri="{FF2B5EF4-FFF2-40B4-BE49-F238E27FC236}">
                <a16:creationId xmlns:a16="http://schemas.microsoft.com/office/drawing/2014/main" id="{98E7553C-E4EE-9D73-B70B-30A873C997B8}"/>
              </a:ext>
            </a:extLst>
          </p:cNvPr>
          <p:cNvSpPr txBox="1">
            <a:spLocks/>
          </p:cNvSpPr>
          <p:nvPr/>
        </p:nvSpPr>
        <p:spPr>
          <a:xfrm>
            <a:off x="5794563" y="1721954"/>
            <a:ext cx="1913709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Internet of Things </a:t>
            </a:r>
            <a:br>
              <a:rPr lang="en-US" dirty="0"/>
            </a:br>
            <a:r>
              <a:rPr lang="en-US" dirty="0"/>
              <a:t>Industrial Internet of Things</a:t>
            </a:r>
          </a:p>
        </p:txBody>
      </p:sp>
      <p:grpSp>
        <p:nvGrpSpPr>
          <p:cNvPr id="316" name="Graphic 349">
            <a:extLst>
              <a:ext uri="{FF2B5EF4-FFF2-40B4-BE49-F238E27FC236}">
                <a16:creationId xmlns:a16="http://schemas.microsoft.com/office/drawing/2014/main" id="{7C0505B8-AD79-C4AB-9829-774CB320E539}"/>
              </a:ext>
            </a:extLst>
          </p:cNvPr>
          <p:cNvGrpSpPr/>
          <p:nvPr/>
        </p:nvGrpSpPr>
        <p:grpSpPr>
          <a:xfrm>
            <a:off x="6446617" y="2006631"/>
            <a:ext cx="609600" cy="610552"/>
            <a:chOff x="6775747" y="2276972"/>
            <a:chExt cx="609600" cy="610552"/>
          </a:xfrm>
        </p:grpSpPr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DBFD68F-40B8-85F0-79DC-23F63EC929A0}"/>
                </a:ext>
              </a:extLst>
            </p:cNvPr>
            <p:cNvSpPr/>
            <p:nvPr/>
          </p:nvSpPr>
          <p:spPr>
            <a:xfrm>
              <a:off x="6775747" y="2276972"/>
              <a:ext cx="609600" cy="371475"/>
            </a:xfrm>
            <a:custGeom>
              <a:avLst/>
              <a:gdLst>
                <a:gd name="connsiteX0" fmla="*/ 528638 w 609600"/>
                <a:gd name="connsiteY0" fmla="*/ 186690 h 371475"/>
                <a:gd name="connsiteX1" fmla="*/ 529590 w 609600"/>
                <a:gd name="connsiteY1" fmla="*/ 171450 h 371475"/>
                <a:gd name="connsiteX2" fmla="*/ 427673 w 609600"/>
                <a:gd name="connsiteY2" fmla="*/ 69533 h 371475"/>
                <a:gd name="connsiteX3" fmla="*/ 390525 w 609600"/>
                <a:gd name="connsiteY3" fmla="*/ 77153 h 371475"/>
                <a:gd name="connsiteX4" fmla="*/ 260985 w 609600"/>
                <a:gd name="connsiteY4" fmla="*/ 0 h 371475"/>
                <a:gd name="connsiteX5" fmla="*/ 119063 w 609600"/>
                <a:gd name="connsiteY5" fmla="*/ 109538 h 371475"/>
                <a:gd name="connsiteX6" fmla="*/ 0 w 609600"/>
                <a:gd name="connsiteY6" fmla="*/ 240030 h 371475"/>
                <a:gd name="connsiteX7" fmla="*/ 130493 w 609600"/>
                <a:gd name="connsiteY7" fmla="*/ 371475 h 371475"/>
                <a:gd name="connsiteX8" fmla="*/ 181928 w 609600"/>
                <a:gd name="connsiteY8" fmla="*/ 371475 h 371475"/>
                <a:gd name="connsiteX9" fmla="*/ 181928 w 609600"/>
                <a:gd name="connsiteY9" fmla="*/ 243840 h 371475"/>
                <a:gd name="connsiteX10" fmla="*/ 303848 w 609600"/>
                <a:gd name="connsiteY10" fmla="*/ 173355 h 371475"/>
                <a:gd name="connsiteX11" fmla="*/ 425768 w 609600"/>
                <a:gd name="connsiteY11" fmla="*/ 243840 h 371475"/>
                <a:gd name="connsiteX12" fmla="*/ 425768 w 609600"/>
                <a:gd name="connsiteY12" fmla="*/ 371475 h 371475"/>
                <a:gd name="connsiteX13" fmla="*/ 517208 w 609600"/>
                <a:gd name="connsiteY13" fmla="*/ 370523 h 371475"/>
                <a:gd name="connsiteX14" fmla="*/ 609600 w 609600"/>
                <a:gd name="connsiteY14" fmla="*/ 278130 h 371475"/>
                <a:gd name="connsiteX15" fmla="*/ 528638 w 609600"/>
                <a:gd name="connsiteY15" fmla="*/ 186690 h 371475"/>
                <a:gd name="connsiteX16" fmla="*/ 517208 w 609600"/>
                <a:gd name="connsiteY16" fmla="*/ 341948 h 371475"/>
                <a:gd name="connsiteX17" fmla="*/ 454343 w 609600"/>
                <a:gd name="connsiteY17" fmla="*/ 341948 h 371475"/>
                <a:gd name="connsiteX18" fmla="*/ 454343 w 609600"/>
                <a:gd name="connsiteY18" fmla="*/ 227648 h 371475"/>
                <a:gd name="connsiteX19" fmla="*/ 303848 w 609600"/>
                <a:gd name="connsiteY19" fmla="*/ 140970 h 371475"/>
                <a:gd name="connsiteX20" fmla="*/ 153353 w 609600"/>
                <a:gd name="connsiteY20" fmla="*/ 227648 h 371475"/>
                <a:gd name="connsiteX21" fmla="*/ 153353 w 609600"/>
                <a:gd name="connsiteY21" fmla="*/ 342900 h 371475"/>
                <a:gd name="connsiteX22" fmla="*/ 130493 w 609600"/>
                <a:gd name="connsiteY22" fmla="*/ 342900 h 371475"/>
                <a:gd name="connsiteX23" fmla="*/ 28575 w 609600"/>
                <a:gd name="connsiteY23" fmla="*/ 240030 h 371475"/>
                <a:gd name="connsiteX24" fmla="*/ 121920 w 609600"/>
                <a:gd name="connsiteY24" fmla="*/ 138113 h 371475"/>
                <a:gd name="connsiteX25" fmla="*/ 141923 w 609600"/>
                <a:gd name="connsiteY25" fmla="*/ 136208 h 371475"/>
                <a:gd name="connsiteX26" fmla="*/ 146685 w 609600"/>
                <a:gd name="connsiteY26" fmla="*/ 117158 h 371475"/>
                <a:gd name="connsiteX27" fmla="*/ 260985 w 609600"/>
                <a:gd name="connsiteY27" fmla="*/ 28575 h 371475"/>
                <a:gd name="connsiteX28" fmla="*/ 364808 w 609600"/>
                <a:gd name="connsiteY28" fmla="*/ 90488 h 371475"/>
                <a:gd name="connsiteX29" fmla="*/ 377190 w 609600"/>
                <a:gd name="connsiteY29" fmla="*/ 112395 h 371475"/>
                <a:gd name="connsiteX30" fmla="*/ 401003 w 609600"/>
                <a:gd name="connsiteY30" fmla="*/ 102870 h 371475"/>
                <a:gd name="connsiteX31" fmla="*/ 427673 w 609600"/>
                <a:gd name="connsiteY31" fmla="*/ 98108 h 371475"/>
                <a:gd name="connsiteX32" fmla="*/ 501015 w 609600"/>
                <a:gd name="connsiteY32" fmla="*/ 171450 h 371475"/>
                <a:gd name="connsiteX33" fmla="*/ 500063 w 609600"/>
                <a:gd name="connsiteY33" fmla="*/ 182880 h 371475"/>
                <a:gd name="connsiteX34" fmla="*/ 495300 w 609600"/>
                <a:gd name="connsiteY34" fmla="*/ 211455 h 371475"/>
                <a:gd name="connsiteX35" fmla="*/ 524828 w 609600"/>
                <a:gd name="connsiteY35" fmla="*/ 215265 h 371475"/>
                <a:gd name="connsiteX36" fmla="*/ 581025 w 609600"/>
                <a:gd name="connsiteY36" fmla="*/ 278130 h 371475"/>
                <a:gd name="connsiteX37" fmla="*/ 517208 w 609600"/>
                <a:gd name="connsiteY37" fmla="*/ 34194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9600" h="371475">
                  <a:moveTo>
                    <a:pt x="528638" y="186690"/>
                  </a:moveTo>
                  <a:cubicBezTo>
                    <a:pt x="529590" y="181928"/>
                    <a:pt x="529590" y="176213"/>
                    <a:pt x="529590" y="171450"/>
                  </a:cubicBezTo>
                  <a:cubicBezTo>
                    <a:pt x="529590" y="115253"/>
                    <a:pt x="483870" y="69533"/>
                    <a:pt x="427673" y="69533"/>
                  </a:cubicBezTo>
                  <a:cubicBezTo>
                    <a:pt x="414338" y="69533"/>
                    <a:pt x="401955" y="72390"/>
                    <a:pt x="390525" y="77153"/>
                  </a:cubicBezTo>
                  <a:cubicBezTo>
                    <a:pt x="365760" y="30480"/>
                    <a:pt x="317183" y="0"/>
                    <a:pt x="260985" y="0"/>
                  </a:cubicBezTo>
                  <a:cubicBezTo>
                    <a:pt x="192405" y="0"/>
                    <a:pt x="135255" y="46673"/>
                    <a:pt x="119063" y="109538"/>
                  </a:cubicBezTo>
                  <a:cubicBezTo>
                    <a:pt x="52388" y="115253"/>
                    <a:pt x="0" y="171450"/>
                    <a:pt x="0" y="240030"/>
                  </a:cubicBezTo>
                  <a:cubicBezTo>
                    <a:pt x="0" y="312420"/>
                    <a:pt x="58103" y="371475"/>
                    <a:pt x="130493" y="371475"/>
                  </a:cubicBezTo>
                  <a:cubicBezTo>
                    <a:pt x="130493" y="371475"/>
                    <a:pt x="181928" y="371475"/>
                    <a:pt x="181928" y="371475"/>
                  </a:cubicBezTo>
                  <a:lnTo>
                    <a:pt x="181928" y="243840"/>
                  </a:lnTo>
                  <a:lnTo>
                    <a:pt x="303848" y="173355"/>
                  </a:lnTo>
                  <a:lnTo>
                    <a:pt x="425768" y="243840"/>
                  </a:lnTo>
                  <a:lnTo>
                    <a:pt x="425768" y="371475"/>
                  </a:lnTo>
                  <a:lnTo>
                    <a:pt x="517208" y="370523"/>
                  </a:lnTo>
                  <a:cubicBezTo>
                    <a:pt x="568643" y="370523"/>
                    <a:pt x="609600" y="329565"/>
                    <a:pt x="609600" y="278130"/>
                  </a:cubicBezTo>
                  <a:cubicBezTo>
                    <a:pt x="609600" y="230505"/>
                    <a:pt x="574358" y="191453"/>
                    <a:pt x="528638" y="186690"/>
                  </a:cubicBezTo>
                  <a:close/>
                  <a:moveTo>
                    <a:pt x="517208" y="341948"/>
                  </a:moveTo>
                  <a:cubicBezTo>
                    <a:pt x="517208" y="341948"/>
                    <a:pt x="492443" y="341948"/>
                    <a:pt x="454343" y="341948"/>
                  </a:cubicBezTo>
                  <a:lnTo>
                    <a:pt x="454343" y="227648"/>
                  </a:lnTo>
                  <a:lnTo>
                    <a:pt x="303848" y="140970"/>
                  </a:lnTo>
                  <a:lnTo>
                    <a:pt x="153353" y="227648"/>
                  </a:lnTo>
                  <a:lnTo>
                    <a:pt x="153353" y="342900"/>
                  </a:lnTo>
                  <a:cubicBezTo>
                    <a:pt x="139065" y="342900"/>
                    <a:pt x="130493" y="342900"/>
                    <a:pt x="130493" y="342900"/>
                  </a:cubicBezTo>
                  <a:cubicBezTo>
                    <a:pt x="74295" y="342900"/>
                    <a:pt x="28575" y="296228"/>
                    <a:pt x="28575" y="240030"/>
                  </a:cubicBezTo>
                  <a:cubicBezTo>
                    <a:pt x="28575" y="187643"/>
                    <a:pt x="69533" y="142875"/>
                    <a:pt x="121920" y="138113"/>
                  </a:cubicBezTo>
                  <a:lnTo>
                    <a:pt x="141923" y="136208"/>
                  </a:lnTo>
                  <a:lnTo>
                    <a:pt x="146685" y="117158"/>
                  </a:lnTo>
                  <a:cubicBezTo>
                    <a:pt x="160020" y="64770"/>
                    <a:pt x="207645" y="28575"/>
                    <a:pt x="260985" y="28575"/>
                  </a:cubicBezTo>
                  <a:cubicBezTo>
                    <a:pt x="304800" y="28575"/>
                    <a:pt x="344805" y="52388"/>
                    <a:pt x="364808" y="90488"/>
                  </a:cubicBezTo>
                  <a:lnTo>
                    <a:pt x="377190" y="112395"/>
                  </a:lnTo>
                  <a:lnTo>
                    <a:pt x="401003" y="102870"/>
                  </a:lnTo>
                  <a:cubicBezTo>
                    <a:pt x="409575" y="99060"/>
                    <a:pt x="419100" y="98108"/>
                    <a:pt x="427673" y="98108"/>
                  </a:cubicBezTo>
                  <a:cubicBezTo>
                    <a:pt x="467678" y="98108"/>
                    <a:pt x="501015" y="130493"/>
                    <a:pt x="501015" y="171450"/>
                  </a:cubicBezTo>
                  <a:cubicBezTo>
                    <a:pt x="501015" y="175260"/>
                    <a:pt x="501015" y="179070"/>
                    <a:pt x="500063" y="182880"/>
                  </a:cubicBezTo>
                  <a:lnTo>
                    <a:pt x="495300" y="211455"/>
                  </a:lnTo>
                  <a:lnTo>
                    <a:pt x="524828" y="215265"/>
                  </a:lnTo>
                  <a:cubicBezTo>
                    <a:pt x="557213" y="219075"/>
                    <a:pt x="581025" y="245745"/>
                    <a:pt x="581025" y="278130"/>
                  </a:cubicBezTo>
                  <a:cubicBezTo>
                    <a:pt x="581025" y="313373"/>
                    <a:pt x="552450" y="341948"/>
                    <a:pt x="517208" y="341948"/>
                  </a:cubicBez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C3307DC1-B89F-0AC1-2FB0-D1AD9875BF2C}"/>
                </a:ext>
              </a:extLst>
            </p:cNvPr>
            <p:cNvSpPr/>
            <p:nvPr/>
          </p:nvSpPr>
          <p:spPr>
            <a:xfrm>
              <a:off x="6941481" y="2324043"/>
              <a:ext cx="115252" cy="91040"/>
            </a:xfrm>
            <a:custGeom>
              <a:avLst/>
              <a:gdLst>
                <a:gd name="connsiteX0" fmla="*/ 36195 w 115252"/>
                <a:gd name="connsiteY0" fmla="*/ 19603 h 91040"/>
                <a:gd name="connsiteX1" fmla="*/ 0 w 115252"/>
                <a:gd name="connsiteY1" fmla="*/ 90088 h 91040"/>
                <a:gd name="connsiteX2" fmla="*/ 19050 w 115252"/>
                <a:gd name="connsiteY2" fmla="*/ 91041 h 91040"/>
                <a:gd name="connsiteX3" fmla="*/ 47625 w 115252"/>
                <a:gd name="connsiteY3" fmla="*/ 34843 h 91040"/>
                <a:gd name="connsiteX4" fmla="*/ 111443 w 115252"/>
                <a:gd name="connsiteY4" fmla="*/ 20556 h 91040"/>
                <a:gd name="connsiteX5" fmla="*/ 115253 w 115252"/>
                <a:gd name="connsiteY5" fmla="*/ 1506 h 91040"/>
                <a:gd name="connsiteX6" fmla="*/ 36195 w 115252"/>
                <a:gd name="connsiteY6" fmla="*/ 19603 h 9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52" h="91040">
                  <a:moveTo>
                    <a:pt x="36195" y="19603"/>
                  </a:moveTo>
                  <a:cubicBezTo>
                    <a:pt x="15240" y="35796"/>
                    <a:pt x="1905" y="60561"/>
                    <a:pt x="0" y="90088"/>
                  </a:cubicBezTo>
                  <a:lnTo>
                    <a:pt x="19050" y="91041"/>
                  </a:lnTo>
                  <a:cubicBezTo>
                    <a:pt x="20955" y="68181"/>
                    <a:pt x="31433" y="48178"/>
                    <a:pt x="47625" y="34843"/>
                  </a:cubicBezTo>
                  <a:cubicBezTo>
                    <a:pt x="64770" y="21508"/>
                    <a:pt x="87630" y="16746"/>
                    <a:pt x="111443" y="20556"/>
                  </a:cubicBezTo>
                  <a:lnTo>
                    <a:pt x="115253" y="1506"/>
                  </a:lnTo>
                  <a:cubicBezTo>
                    <a:pt x="85725" y="-3257"/>
                    <a:pt x="58103" y="3411"/>
                    <a:pt x="36195" y="19603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F19AEC9E-CE6B-1252-D8D2-EB5D424E75B3}"/>
                </a:ext>
              </a:extLst>
            </p:cNvPr>
            <p:cNvSpPr/>
            <p:nvPr/>
          </p:nvSpPr>
          <p:spPr>
            <a:xfrm>
              <a:off x="6857662" y="2488427"/>
              <a:ext cx="443865" cy="399097"/>
            </a:xfrm>
            <a:custGeom>
              <a:avLst/>
              <a:gdLst>
                <a:gd name="connsiteX0" fmla="*/ 359093 w 443865"/>
                <a:gd name="connsiteY0" fmla="*/ 241935 h 399097"/>
                <a:gd name="connsiteX1" fmla="*/ 288608 w 443865"/>
                <a:gd name="connsiteY1" fmla="*/ 166688 h 399097"/>
                <a:gd name="connsiteX2" fmla="*/ 310515 w 443865"/>
                <a:gd name="connsiteY2" fmla="*/ 154305 h 399097"/>
                <a:gd name="connsiteX3" fmla="*/ 310515 w 443865"/>
                <a:gd name="connsiteY3" fmla="*/ 51435 h 399097"/>
                <a:gd name="connsiteX4" fmla="*/ 220980 w 443865"/>
                <a:gd name="connsiteY4" fmla="*/ 0 h 399097"/>
                <a:gd name="connsiteX5" fmla="*/ 131445 w 443865"/>
                <a:gd name="connsiteY5" fmla="*/ 51435 h 399097"/>
                <a:gd name="connsiteX6" fmla="*/ 131445 w 443865"/>
                <a:gd name="connsiteY6" fmla="*/ 154305 h 399097"/>
                <a:gd name="connsiteX7" fmla="*/ 156210 w 443865"/>
                <a:gd name="connsiteY7" fmla="*/ 168593 h 399097"/>
                <a:gd name="connsiteX8" fmla="*/ 85725 w 443865"/>
                <a:gd name="connsiteY8" fmla="*/ 242888 h 399097"/>
                <a:gd name="connsiteX9" fmla="*/ 53340 w 443865"/>
                <a:gd name="connsiteY9" fmla="*/ 224790 h 399097"/>
                <a:gd name="connsiteX10" fmla="*/ 0 w 443865"/>
                <a:gd name="connsiteY10" fmla="*/ 255270 h 399097"/>
                <a:gd name="connsiteX11" fmla="*/ 0 w 443865"/>
                <a:gd name="connsiteY11" fmla="*/ 316230 h 399097"/>
                <a:gd name="connsiteX12" fmla="*/ 53340 w 443865"/>
                <a:gd name="connsiteY12" fmla="*/ 346710 h 399097"/>
                <a:gd name="connsiteX13" fmla="*/ 106680 w 443865"/>
                <a:gd name="connsiteY13" fmla="*/ 316230 h 399097"/>
                <a:gd name="connsiteX14" fmla="*/ 106680 w 443865"/>
                <a:gd name="connsiteY14" fmla="*/ 261938 h 399097"/>
                <a:gd name="connsiteX15" fmla="*/ 181928 w 443865"/>
                <a:gd name="connsiteY15" fmla="*/ 183833 h 399097"/>
                <a:gd name="connsiteX16" fmla="*/ 206692 w 443865"/>
                <a:gd name="connsiteY16" fmla="*/ 198120 h 399097"/>
                <a:gd name="connsiteX17" fmla="*/ 207645 w 443865"/>
                <a:gd name="connsiteY17" fmla="*/ 199072 h 399097"/>
                <a:gd name="connsiteX18" fmla="*/ 207645 w 443865"/>
                <a:gd name="connsiteY18" fmla="*/ 284797 h 399097"/>
                <a:gd name="connsiteX19" fmla="*/ 207645 w 443865"/>
                <a:gd name="connsiteY19" fmla="*/ 284797 h 399097"/>
                <a:gd name="connsiteX20" fmla="*/ 168592 w 443865"/>
                <a:gd name="connsiteY20" fmla="*/ 307658 h 399097"/>
                <a:gd name="connsiteX21" fmla="*/ 168592 w 443865"/>
                <a:gd name="connsiteY21" fmla="*/ 368618 h 399097"/>
                <a:gd name="connsiteX22" fmla="*/ 221933 w 443865"/>
                <a:gd name="connsiteY22" fmla="*/ 399097 h 399097"/>
                <a:gd name="connsiteX23" fmla="*/ 275273 w 443865"/>
                <a:gd name="connsiteY23" fmla="*/ 368618 h 399097"/>
                <a:gd name="connsiteX24" fmla="*/ 275273 w 443865"/>
                <a:gd name="connsiteY24" fmla="*/ 307658 h 399097"/>
                <a:gd name="connsiteX25" fmla="*/ 236220 w 443865"/>
                <a:gd name="connsiteY25" fmla="*/ 283845 h 399097"/>
                <a:gd name="connsiteX26" fmla="*/ 236220 w 443865"/>
                <a:gd name="connsiteY26" fmla="*/ 197168 h 399097"/>
                <a:gd name="connsiteX27" fmla="*/ 262890 w 443865"/>
                <a:gd name="connsiteY27" fmla="*/ 181927 h 399097"/>
                <a:gd name="connsiteX28" fmla="*/ 337185 w 443865"/>
                <a:gd name="connsiteY28" fmla="*/ 261938 h 399097"/>
                <a:gd name="connsiteX29" fmla="*/ 337185 w 443865"/>
                <a:gd name="connsiteY29" fmla="*/ 316230 h 399097"/>
                <a:gd name="connsiteX30" fmla="*/ 390525 w 443865"/>
                <a:gd name="connsiteY30" fmla="*/ 346710 h 399097"/>
                <a:gd name="connsiteX31" fmla="*/ 443865 w 443865"/>
                <a:gd name="connsiteY31" fmla="*/ 316230 h 399097"/>
                <a:gd name="connsiteX32" fmla="*/ 443865 w 443865"/>
                <a:gd name="connsiteY32" fmla="*/ 255270 h 399097"/>
                <a:gd name="connsiteX33" fmla="*/ 390525 w 443865"/>
                <a:gd name="connsiteY33" fmla="*/ 224790 h 399097"/>
                <a:gd name="connsiteX34" fmla="*/ 359093 w 443865"/>
                <a:gd name="connsiteY34" fmla="*/ 241935 h 399097"/>
                <a:gd name="connsiteX35" fmla="*/ 78105 w 443865"/>
                <a:gd name="connsiteY35" fmla="*/ 299085 h 399097"/>
                <a:gd name="connsiteX36" fmla="*/ 53340 w 443865"/>
                <a:gd name="connsiteY36" fmla="*/ 313372 h 399097"/>
                <a:gd name="connsiteX37" fmla="*/ 28575 w 443865"/>
                <a:gd name="connsiteY37" fmla="*/ 299085 h 399097"/>
                <a:gd name="connsiteX38" fmla="*/ 28575 w 443865"/>
                <a:gd name="connsiteY38" fmla="*/ 270510 h 399097"/>
                <a:gd name="connsiteX39" fmla="*/ 53340 w 443865"/>
                <a:gd name="connsiteY39" fmla="*/ 256222 h 399097"/>
                <a:gd name="connsiteX40" fmla="*/ 78105 w 443865"/>
                <a:gd name="connsiteY40" fmla="*/ 270510 h 399097"/>
                <a:gd name="connsiteX41" fmla="*/ 78105 w 443865"/>
                <a:gd name="connsiteY41" fmla="*/ 270510 h 399097"/>
                <a:gd name="connsiteX42" fmla="*/ 78105 w 443865"/>
                <a:gd name="connsiteY42" fmla="*/ 299085 h 399097"/>
                <a:gd name="connsiteX43" fmla="*/ 246698 w 443865"/>
                <a:gd name="connsiteY43" fmla="*/ 322897 h 399097"/>
                <a:gd name="connsiteX44" fmla="*/ 246698 w 443865"/>
                <a:gd name="connsiteY44" fmla="*/ 351472 h 399097"/>
                <a:gd name="connsiteX45" fmla="*/ 221933 w 443865"/>
                <a:gd name="connsiteY45" fmla="*/ 365760 h 399097"/>
                <a:gd name="connsiteX46" fmla="*/ 197167 w 443865"/>
                <a:gd name="connsiteY46" fmla="*/ 351472 h 399097"/>
                <a:gd name="connsiteX47" fmla="*/ 197167 w 443865"/>
                <a:gd name="connsiteY47" fmla="*/ 322897 h 399097"/>
                <a:gd name="connsiteX48" fmla="*/ 221933 w 443865"/>
                <a:gd name="connsiteY48" fmla="*/ 308610 h 399097"/>
                <a:gd name="connsiteX49" fmla="*/ 246698 w 443865"/>
                <a:gd name="connsiteY49" fmla="*/ 322897 h 399097"/>
                <a:gd name="connsiteX50" fmla="*/ 281940 w 443865"/>
                <a:gd name="connsiteY50" fmla="*/ 138113 h 399097"/>
                <a:gd name="connsiteX51" fmla="*/ 220980 w 443865"/>
                <a:gd name="connsiteY51" fmla="*/ 173355 h 399097"/>
                <a:gd name="connsiteX52" fmla="*/ 160020 w 443865"/>
                <a:gd name="connsiteY52" fmla="*/ 138113 h 399097"/>
                <a:gd name="connsiteX53" fmla="*/ 160020 w 443865"/>
                <a:gd name="connsiteY53" fmla="*/ 67627 h 399097"/>
                <a:gd name="connsiteX54" fmla="*/ 220980 w 443865"/>
                <a:gd name="connsiteY54" fmla="*/ 32385 h 399097"/>
                <a:gd name="connsiteX55" fmla="*/ 281940 w 443865"/>
                <a:gd name="connsiteY55" fmla="*/ 67627 h 399097"/>
                <a:gd name="connsiteX56" fmla="*/ 281940 w 443865"/>
                <a:gd name="connsiteY56" fmla="*/ 138113 h 399097"/>
                <a:gd name="connsiteX57" fmla="*/ 415290 w 443865"/>
                <a:gd name="connsiteY57" fmla="*/ 299085 h 399097"/>
                <a:gd name="connsiteX58" fmla="*/ 390525 w 443865"/>
                <a:gd name="connsiteY58" fmla="*/ 313372 h 399097"/>
                <a:gd name="connsiteX59" fmla="*/ 365760 w 443865"/>
                <a:gd name="connsiteY59" fmla="*/ 299085 h 399097"/>
                <a:gd name="connsiteX60" fmla="*/ 365760 w 443865"/>
                <a:gd name="connsiteY60" fmla="*/ 270510 h 399097"/>
                <a:gd name="connsiteX61" fmla="*/ 390525 w 443865"/>
                <a:gd name="connsiteY61" fmla="*/ 256222 h 399097"/>
                <a:gd name="connsiteX62" fmla="*/ 415290 w 443865"/>
                <a:gd name="connsiteY62" fmla="*/ 270510 h 399097"/>
                <a:gd name="connsiteX63" fmla="*/ 415290 w 443865"/>
                <a:gd name="connsiteY63" fmla="*/ 299085 h 399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43865" h="399097">
                  <a:moveTo>
                    <a:pt x="359093" y="241935"/>
                  </a:moveTo>
                  <a:lnTo>
                    <a:pt x="288608" y="166688"/>
                  </a:lnTo>
                  <a:lnTo>
                    <a:pt x="310515" y="154305"/>
                  </a:lnTo>
                  <a:lnTo>
                    <a:pt x="310515" y="51435"/>
                  </a:lnTo>
                  <a:lnTo>
                    <a:pt x="220980" y="0"/>
                  </a:lnTo>
                  <a:lnTo>
                    <a:pt x="131445" y="51435"/>
                  </a:lnTo>
                  <a:lnTo>
                    <a:pt x="131445" y="154305"/>
                  </a:lnTo>
                  <a:lnTo>
                    <a:pt x="156210" y="168593"/>
                  </a:lnTo>
                  <a:lnTo>
                    <a:pt x="85725" y="242888"/>
                  </a:lnTo>
                  <a:lnTo>
                    <a:pt x="53340" y="224790"/>
                  </a:lnTo>
                  <a:lnTo>
                    <a:pt x="0" y="255270"/>
                  </a:lnTo>
                  <a:lnTo>
                    <a:pt x="0" y="316230"/>
                  </a:lnTo>
                  <a:lnTo>
                    <a:pt x="53340" y="346710"/>
                  </a:lnTo>
                  <a:lnTo>
                    <a:pt x="106680" y="316230"/>
                  </a:lnTo>
                  <a:lnTo>
                    <a:pt x="106680" y="261938"/>
                  </a:lnTo>
                  <a:lnTo>
                    <a:pt x="181928" y="183833"/>
                  </a:lnTo>
                  <a:lnTo>
                    <a:pt x="206692" y="198120"/>
                  </a:lnTo>
                  <a:lnTo>
                    <a:pt x="207645" y="199072"/>
                  </a:lnTo>
                  <a:lnTo>
                    <a:pt x="207645" y="284797"/>
                  </a:lnTo>
                  <a:lnTo>
                    <a:pt x="207645" y="284797"/>
                  </a:lnTo>
                  <a:lnTo>
                    <a:pt x="168592" y="307658"/>
                  </a:lnTo>
                  <a:lnTo>
                    <a:pt x="168592" y="368618"/>
                  </a:lnTo>
                  <a:lnTo>
                    <a:pt x="221933" y="399097"/>
                  </a:lnTo>
                  <a:lnTo>
                    <a:pt x="275273" y="368618"/>
                  </a:lnTo>
                  <a:lnTo>
                    <a:pt x="275273" y="307658"/>
                  </a:lnTo>
                  <a:lnTo>
                    <a:pt x="236220" y="283845"/>
                  </a:lnTo>
                  <a:lnTo>
                    <a:pt x="236220" y="197168"/>
                  </a:lnTo>
                  <a:lnTo>
                    <a:pt x="262890" y="181927"/>
                  </a:lnTo>
                  <a:lnTo>
                    <a:pt x="337185" y="261938"/>
                  </a:lnTo>
                  <a:lnTo>
                    <a:pt x="337185" y="316230"/>
                  </a:lnTo>
                  <a:lnTo>
                    <a:pt x="390525" y="346710"/>
                  </a:lnTo>
                  <a:lnTo>
                    <a:pt x="443865" y="316230"/>
                  </a:lnTo>
                  <a:lnTo>
                    <a:pt x="443865" y="255270"/>
                  </a:lnTo>
                  <a:lnTo>
                    <a:pt x="390525" y="224790"/>
                  </a:lnTo>
                  <a:lnTo>
                    <a:pt x="359093" y="241935"/>
                  </a:lnTo>
                  <a:close/>
                  <a:moveTo>
                    <a:pt x="78105" y="299085"/>
                  </a:moveTo>
                  <a:lnTo>
                    <a:pt x="53340" y="313372"/>
                  </a:lnTo>
                  <a:lnTo>
                    <a:pt x="28575" y="299085"/>
                  </a:lnTo>
                  <a:lnTo>
                    <a:pt x="28575" y="270510"/>
                  </a:lnTo>
                  <a:lnTo>
                    <a:pt x="53340" y="256222"/>
                  </a:lnTo>
                  <a:lnTo>
                    <a:pt x="78105" y="270510"/>
                  </a:lnTo>
                  <a:lnTo>
                    <a:pt x="78105" y="270510"/>
                  </a:lnTo>
                  <a:lnTo>
                    <a:pt x="78105" y="299085"/>
                  </a:lnTo>
                  <a:close/>
                  <a:moveTo>
                    <a:pt x="246698" y="322897"/>
                  </a:moveTo>
                  <a:lnTo>
                    <a:pt x="246698" y="351472"/>
                  </a:lnTo>
                  <a:lnTo>
                    <a:pt x="221933" y="365760"/>
                  </a:lnTo>
                  <a:lnTo>
                    <a:pt x="197167" y="351472"/>
                  </a:lnTo>
                  <a:lnTo>
                    <a:pt x="197167" y="322897"/>
                  </a:lnTo>
                  <a:lnTo>
                    <a:pt x="221933" y="308610"/>
                  </a:lnTo>
                  <a:lnTo>
                    <a:pt x="246698" y="322897"/>
                  </a:lnTo>
                  <a:close/>
                  <a:moveTo>
                    <a:pt x="281940" y="138113"/>
                  </a:moveTo>
                  <a:lnTo>
                    <a:pt x="220980" y="173355"/>
                  </a:lnTo>
                  <a:lnTo>
                    <a:pt x="160020" y="138113"/>
                  </a:lnTo>
                  <a:lnTo>
                    <a:pt x="160020" y="67627"/>
                  </a:lnTo>
                  <a:lnTo>
                    <a:pt x="220980" y="32385"/>
                  </a:lnTo>
                  <a:lnTo>
                    <a:pt x="281940" y="67627"/>
                  </a:lnTo>
                  <a:lnTo>
                    <a:pt x="281940" y="138113"/>
                  </a:lnTo>
                  <a:close/>
                  <a:moveTo>
                    <a:pt x="415290" y="299085"/>
                  </a:moveTo>
                  <a:lnTo>
                    <a:pt x="390525" y="313372"/>
                  </a:lnTo>
                  <a:lnTo>
                    <a:pt x="365760" y="299085"/>
                  </a:lnTo>
                  <a:lnTo>
                    <a:pt x="365760" y="270510"/>
                  </a:lnTo>
                  <a:lnTo>
                    <a:pt x="390525" y="256222"/>
                  </a:lnTo>
                  <a:lnTo>
                    <a:pt x="415290" y="270510"/>
                  </a:lnTo>
                  <a:lnTo>
                    <a:pt x="415290" y="299085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3" name="Text Placeholder 81">
            <a:extLst>
              <a:ext uri="{FF2B5EF4-FFF2-40B4-BE49-F238E27FC236}">
                <a16:creationId xmlns:a16="http://schemas.microsoft.com/office/drawing/2014/main" id="{1A4886FE-A0DD-F87A-93D2-15AB9F79A5C1}"/>
              </a:ext>
            </a:extLst>
          </p:cNvPr>
          <p:cNvSpPr txBox="1">
            <a:spLocks/>
          </p:cNvSpPr>
          <p:nvPr/>
        </p:nvSpPr>
        <p:spPr>
          <a:xfrm>
            <a:off x="4273875" y="1706565"/>
            <a:ext cx="1278297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roduct Lifecycle Management </a:t>
            </a:r>
          </a:p>
        </p:txBody>
      </p:sp>
      <p:sp>
        <p:nvSpPr>
          <p:cNvPr id="327" name="Text Placeholder 81">
            <a:extLst>
              <a:ext uri="{FF2B5EF4-FFF2-40B4-BE49-F238E27FC236}">
                <a16:creationId xmlns:a16="http://schemas.microsoft.com/office/drawing/2014/main" id="{2905111F-947B-932C-6298-03A839BE4A03}"/>
              </a:ext>
            </a:extLst>
          </p:cNvPr>
          <p:cNvSpPr txBox="1">
            <a:spLocks/>
          </p:cNvSpPr>
          <p:nvPr/>
        </p:nvSpPr>
        <p:spPr>
          <a:xfrm>
            <a:off x="8071996" y="1783509"/>
            <a:ext cx="1008097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ervice</a:t>
            </a:r>
          </a:p>
        </p:txBody>
      </p:sp>
      <p:grpSp>
        <p:nvGrpSpPr>
          <p:cNvPr id="329" name="Graphic 367">
            <a:extLst>
              <a:ext uri="{FF2B5EF4-FFF2-40B4-BE49-F238E27FC236}">
                <a16:creationId xmlns:a16="http://schemas.microsoft.com/office/drawing/2014/main" id="{95B44C38-2549-DA90-1973-57D24331A437}"/>
              </a:ext>
            </a:extLst>
          </p:cNvPr>
          <p:cNvGrpSpPr/>
          <p:nvPr/>
        </p:nvGrpSpPr>
        <p:grpSpPr>
          <a:xfrm>
            <a:off x="8295057" y="2007107"/>
            <a:ext cx="561975" cy="609600"/>
            <a:chOff x="9950711" y="2276972"/>
            <a:chExt cx="561975" cy="609600"/>
          </a:xfrm>
        </p:grpSpPr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BE1F1A31-F8B3-D30C-3324-569859DF08AF}"/>
                </a:ext>
              </a:extLst>
            </p:cNvPr>
            <p:cNvSpPr/>
            <p:nvPr/>
          </p:nvSpPr>
          <p:spPr>
            <a:xfrm>
              <a:off x="9950711" y="2276972"/>
              <a:ext cx="561975" cy="609600"/>
            </a:xfrm>
            <a:custGeom>
              <a:avLst/>
              <a:gdLst>
                <a:gd name="connsiteX0" fmla="*/ 518160 w 561975"/>
                <a:gd name="connsiteY0" fmla="*/ 360045 h 609600"/>
                <a:gd name="connsiteX1" fmla="*/ 518160 w 561975"/>
                <a:gd name="connsiteY1" fmla="*/ 249555 h 609600"/>
                <a:gd name="connsiteX2" fmla="*/ 561975 w 561975"/>
                <a:gd name="connsiteY2" fmla="*/ 182880 h 609600"/>
                <a:gd name="connsiteX3" fmla="*/ 526733 w 561975"/>
                <a:gd name="connsiteY3" fmla="*/ 120968 h 609600"/>
                <a:gd name="connsiteX4" fmla="*/ 447675 w 561975"/>
                <a:gd name="connsiteY4" fmla="*/ 125730 h 609600"/>
                <a:gd name="connsiteX5" fmla="*/ 402908 w 561975"/>
                <a:gd name="connsiteY5" fmla="*/ 92393 h 609600"/>
                <a:gd name="connsiteX6" fmla="*/ 351473 w 561975"/>
                <a:gd name="connsiteY6" fmla="*/ 70485 h 609600"/>
                <a:gd name="connsiteX7" fmla="*/ 316230 w 561975"/>
                <a:gd name="connsiteY7" fmla="*/ 0 h 609600"/>
                <a:gd name="connsiteX8" fmla="*/ 244793 w 561975"/>
                <a:gd name="connsiteY8" fmla="*/ 0 h 609600"/>
                <a:gd name="connsiteX9" fmla="*/ 209550 w 561975"/>
                <a:gd name="connsiteY9" fmla="*/ 71438 h 609600"/>
                <a:gd name="connsiteX10" fmla="*/ 114300 w 561975"/>
                <a:gd name="connsiteY10" fmla="*/ 126683 h 609600"/>
                <a:gd name="connsiteX11" fmla="*/ 35243 w 561975"/>
                <a:gd name="connsiteY11" fmla="*/ 121920 h 609600"/>
                <a:gd name="connsiteX12" fmla="*/ 0 w 561975"/>
                <a:gd name="connsiteY12" fmla="*/ 183833 h 609600"/>
                <a:gd name="connsiteX13" fmla="*/ 43815 w 561975"/>
                <a:gd name="connsiteY13" fmla="*/ 250508 h 609600"/>
                <a:gd name="connsiteX14" fmla="*/ 43815 w 561975"/>
                <a:gd name="connsiteY14" fmla="*/ 360045 h 609600"/>
                <a:gd name="connsiteX15" fmla="*/ 0 w 561975"/>
                <a:gd name="connsiteY15" fmla="*/ 426720 h 609600"/>
                <a:gd name="connsiteX16" fmla="*/ 35243 w 561975"/>
                <a:gd name="connsiteY16" fmla="*/ 488633 h 609600"/>
                <a:gd name="connsiteX17" fmla="*/ 94298 w 561975"/>
                <a:gd name="connsiteY17" fmla="*/ 484823 h 609600"/>
                <a:gd name="connsiteX18" fmla="*/ 114300 w 561975"/>
                <a:gd name="connsiteY18" fmla="*/ 455295 h 609600"/>
                <a:gd name="connsiteX19" fmla="*/ 112395 w 561975"/>
                <a:gd name="connsiteY19" fmla="*/ 455295 h 609600"/>
                <a:gd name="connsiteX20" fmla="*/ 50483 w 561975"/>
                <a:gd name="connsiteY20" fmla="*/ 459105 h 609600"/>
                <a:gd name="connsiteX21" fmla="*/ 32385 w 561975"/>
                <a:gd name="connsiteY21" fmla="*/ 428625 h 609600"/>
                <a:gd name="connsiteX22" fmla="*/ 73343 w 561975"/>
                <a:gd name="connsiteY22" fmla="*/ 366713 h 609600"/>
                <a:gd name="connsiteX23" fmla="*/ 71438 w 561975"/>
                <a:gd name="connsiteY23" fmla="*/ 353378 h 609600"/>
                <a:gd name="connsiteX24" fmla="*/ 71438 w 561975"/>
                <a:gd name="connsiteY24" fmla="*/ 256223 h 609600"/>
                <a:gd name="connsiteX25" fmla="*/ 74295 w 561975"/>
                <a:gd name="connsiteY25" fmla="*/ 243840 h 609600"/>
                <a:gd name="connsiteX26" fmla="*/ 67628 w 561975"/>
                <a:gd name="connsiteY26" fmla="*/ 233363 h 609600"/>
                <a:gd name="connsiteX27" fmla="*/ 33338 w 561975"/>
                <a:gd name="connsiteY27" fmla="*/ 181928 h 609600"/>
                <a:gd name="connsiteX28" fmla="*/ 51435 w 561975"/>
                <a:gd name="connsiteY28" fmla="*/ 151448 h 609600"/>
                <a:gd name="connsiteX29" fmla="*/ 113348 w 561975"/>
                <a:gd name="connsiteY29" fmla="*/ 155258 h 609600"/>
                <a:gd name="connsiteX30" fmla="*/ 125730 w 561975"/>
                <a:gd name="connsiteY30" fmla="*/ 156210 h 609600"/>
                <a:gd name="connsiteX31" fmla="*/ 134303 w 561975"/>
                <a:gd name="connsiteY31" fmla="*/ 147638 h 609600"/>
                <a:gd name="connsiteX32" fmla="*/ 219075 w 561975"/>
                <a:gd name="connsiteY32" fmla="*/ 99060 h 609600"/>
                <a:gd name="connsiteX33" fmla="*/ 230505 w 561975"/>
                <a:gd name="connsiteY33" fmla="*/ 95250 h 609600"/>
                <a:gd name="connsiteX34" fmla="*/ 236220 w 561975"/>
                <a:gd name="connsiteY34" fmla="*/ 83820 h 609600"/>
                <a:gd name="connsiteX35" fmla="*/ 262890 w 561975"/>
                <a:gd name="connsiteY35" fmla="*/ 28575 h 609600"/>
                <a:gd name="connsiteX36" fmla="*/ 298133 w 561975"/>
                <a:gd name="connsiteY36" fmla="*/ 28575 h 609600"/>
                <a:gd name="connsiteX37" fmla="*/ 325755 w 561975"/>
                <a:gd name="connsiteY37" fmla="*/ 83820 h 609600"/>
                <a:gd name="connsiteX38" fmla="*/ 331470 w 561975"/>
                <a:gd name="connsiteY38" fmla="*/ 95250 h 609600"/>
                <a:gd name="connsiteX39" fmla="*/ 342900 w 561975"/>
                <a:gd name="connsiteY39" fmla="*/ 99060 h 609600"/>
                <a:gd name="connsiteX40" fmla="*/ 387668 w 561975"/>
                <a:gd name="connsiteY40" fmla="*/ 119063 h 609600"/>
                <a:gd name="connsiteX41" fmla="*/ 426720 w 561975"/>
                <a:gd name="connsiteY41" fmla="*/ 148590 h 609600"/>
                <a:gd name="connsiteX42" fmla="*/ 435293 w 561975"/>
                <a:gd name="connsiteY42" fmla="*/ 157163 h 609600"/>
                <a:gd name="connsiteX43" fmla="*/ 447675 w 561975"/>
                <a:gd name="connsiteY43" fmla="*/ 156210 h 609600"/>
                <a:gd name="connsiteX44" fmla="*/ 509588 w 561975"/>
                <a:gd name="connsiteY44" fmla="*/ 152400 h 609600"/>
                <a:gd name="connsiteX45" fmla="*/ 527685 w 561975"/>
                <a:gd name="connsiteY45" fmla="*/ 182880 h 609600"/>
                <a:gd name="connsiteX46" fmla="*/ 493395 w 561975"/>
                <a:gd name="connsiteY46" fmla="*/ 234315 h 609600"/>
                <a:gd name="connsiteX47" fmla="*/ 486728 w 561975"/>
                <a:gd name="connsiteY47" fmla="*/ 244793 h 609600"/>
                <a:gd name="connsiteX48" fmla="*/ 489585 w 561975"/>
                <a:gd name="connsiteY48" fmla="*/ 257175 h 609600"/>
                <a:gd name="connsiteX49" fmla="*/ 489585 w 561975"/>
                <a:gd name="connsiteY49" fmla="*/ 354330 h 609600"/>
                <a:gd name="connsiteX50" fmla="*/ 486728 w 561975"/>
                <a:gd name="connsiteY50" fmla="*/ 366713 h 609600"/>
                <a:gd name="connsiteX51" fmla="*/ 493395 w 561975"/>
                <a:gd name="connsiteY51" fmla="*/ 377190 h 609600"/>
                <a:gd name="connsiteX52" fmla="*/ 527685 w 561975"/>
                <a:gd name="connsiteY52" fmla="*/ 428625 h 609600"/>
                <a:gd name="connsiteX53" fmla="*/ 509588 w 561975"/>
                <a:gd name="connsiteY53" fmla="*/ 459105 h 609600"/>
                <a:gd name="connsiteX54" fmla="*/ 447675 w 561975"/>
                <a:gd name="connsiteY54" fmla="*/ 455295 h 609600"/>
                <a:gd name="connsiteX55" fmla="*/ 435293 w 561975"/>
                <a:gd name="connsiteY55" fmla="*/ 454343 h 609600"/>
                <a:gd name="connsiteX56" fmla="*/ 426720 w 561975"/>
                <a:gd name="connsiteY56" fmla="*/ 462915 h 609600"/>
                <a:gd name="connsiteX57" fmla="*/ 341948 w 561975"/>
                <a:gd name="connsiteY57" fmla="*/ 511493 h 609600"/>
                <a:gd name="connsiteX58" fmla="*/ 331470 w 561975"/>
                <a:gd name="connsiteY58" fmla="*/ 514350 h 609600"/>
                <a:gd name="connsiteX59" fmla="*/ 298133 w 561975"/>
                <a:gd name="connsiteY59" fmla="*/ 581025 h 609600"/>
                <a:gd name="connsiteX60" fmla="*/ 262890 w 561975"/>
                <a:gd name="connsiteY60" fmla="*/ 581025 h 609600"/>
                <a:gd name="connsiteX61" fmla="*/ 226695 w 561975"/>
                <a:gd name="connsiteY61" fmla="*/ 513398 h 609600"/>
                <a:gd name="connsiteX62" fmla="*/ 209550 w 561975"/>
                <a:gd name="connsiteY62" fmla="*/ 539115 h 609600"/>
                <a:gd name="connsiteX63" fmla="*/ 244793 w 561975"/>
                <a:gd name="connsiteY63" fmla="*/ 609600 h 609600"/>
                <a:gd name="connsiteX64" fmla="*/ 316230 w 561975"/>
                <a:gd name="connsiteY64" fmla="*/ 609600 h 609600"/>
                <a:gd name="connsiteX65" fmla="*/ 351473 w 561975"/>
                <a:gd name="connsiteY65" fmla="*/ 538163 h 609600"/>
                <a:gd name="connsiteX66" fmla="*/ 446723 w 561975"/>
                <a:gd name="connsiteY66" fmla="*/ 482918 h 609600"/>
                <a:gd name="connsiteX67" fmla="*/ 525780 w 561975"/>
                <a:gd name="connsiteY67" fmla="*/ 487680 h 609600"/>
                <a:gd name="connsiteX68" fmla="*/ 561023 w 561975"/>
                <a:gd name="connsiteY68" fmla="*/ 425768 h 609600"/>
                <a:gd name="connsiteX69" fmla="*/ 518160 w 561975"/>
                <a:gd name="connsiteY69" fmla="*/ 360045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561975" h="609600">
                  <a:moveTo>
                    <a:pt x="518160" y="360045"/>
                  </a:moveTo>
                  <a:cubicBezTo>
                    <a:pt x="526733" y="323850"/>
                    <a:pt x="526733" y="285750"/>
                    <a:pt x="518160" y="249555"/>
                  </a:cubicBezTo>
                  <a:lnTo>
                    <a:pt x="561975" y="182880"/>
                  </a:lnTo>
                  <a:lnTo>
                    <a:pt x="526733" y="120968"/>
                  </a:lnTo>
                  <a:lnTo>
                    <a:pt x="447675" y="125730"/>
                  </a:lnTo>
                  <a:cubicBezTo>
                    <a:pt x="434340" y="113348"/>
                    <a:pt x="419100" y="101918"/>
                    <a:pt x="402908" y="92393"/>
                  </a:cubicBezTo>
                  <a:cubicBezTo>
                    <a:pt x="386715" y="82868"/>
                    <a:pt x="369570" y="75248"/>
                    <a:pt x="351473" y="70485"/>
                  </a:cubicBezTo>
                  <a:lnTo>
                    <a:pt x="316230" y="0"/>
                  </a:lnTo>
                  <a:lnTo>
                    <a:pt x="244793" y="0"/>
                  </a:lnTo>
                  <a:lnTo>
                    <a:pt x="209550" y="71438"/>
                  </a:lnTo>
                  <a:cubicBezTo>
                    <a:pt x="173355" y="81915"/>
                    <a:pt x="140970" y="100965"/>
                    <a:pt x="114300" y="126683"/>
                  </a:cubicBezTo>
                  <a:lnTo>
                    <a:pt x="35243" y="121920"/>
                  </a:lnTo>
                  <a:lnTo>
                    <a:pt x="0" y="183833"/>
                  </a:lnTo>
                  <a:lnTo>
                    <a:pt x="43815" y="250508"/>
                  </a:lnTo>
                  <a:cubicBezTo>
                    <a:pt x="35243" y="285750"/>
                    <a:pt x="35243" y="323850"/>
                    <a:pt x="43815" y="360045"/>
                  </a:cubicBezTo>
                  <a:lnTo>
                    <a:pt x="0" y="426720"/>
                  </a:lnTo>
                  <a:lnTo>
                    <a:pt x="35243" y="488633"/>
                  </a:lnTo>
                  <a:lnTo>
                    <a:pt x="94298" y="484823"/>
                  </a:lnTo>
                  <a:lnTo>
                    <a:pt x="114300" y="455295"/>
                  </a:lnTo>
                  <a:lnTo>
                    <a:pt x="112395" y="455295"/>
                  </a:lnTo>
                  <a:lnTo>
                    <a:pt x="50483" y="459105"/>
                  </a:lnTo>
                  <a:lnTo>
                    <a:pt x="32385" y="428625"/>
                  </a:lnTo>
                  <a:lnTo>
                    <a:pt x="73343" y="366713"/>
                  </a:lnTo>
                  <a:lnTo>
                    <a:pt x="71438" y="353378"/>
                  </a:lnTo>
                  <a:cubicBezTo>
                    <a:pt x="63818" y="320993"/>
                    <a:pt x="63818" y="287655"/>
                    <a:pt x="71438" y="256223"/>
                  </a:cubicBezTo>
                  <a:lnTo>
                    <a:pt x="74295" y="243840"/>
                  </a:lnTo>
                  <a:lnTo>
                    <a:pt x="67628" y="233363"/>
                  </a:lnTo>
                  <a:lnTo>
                    <a:pt x="33338" y="181928"/>
                  </a:lnTo>
                  <a:lnTo>
                    <a:pt x="51435" y="151448"/>
                  </a:lnTo>
                  <a:lnTo>
                    <a:pt x="113348" y="155258"/>
                  </a:lnTo>
                  <a:lnTo>
                    <a:pt x="125730" y="156210"/>
                  </a:lnTo>
                  <a:lnTo>
                    <a:pt x="134303" y="147638"/>
                  </a:lnTo>
                  <a:cubicBezTo>
                    <a:pt x="158115" y="125730"/>
                    <a:pt x="187643" y="108585"/>
                    <a:pt x="219075" y="99060"/>
                  </a:cubicBezTo>
                  <a:lnTo>
                    <a:pt x="230505" y="95250"/>
                  </a:lnTo>
                  <a:lnTo>
                    <a:pt x="236220" y="83820"/>
                  </a:lnTo>
                  <a:lnTo>
                    <a:pt x="262890" y="28575"/>
                  </a:lnTo>
                  <a:lnTo>
                    <a:pt x="298133" y="28575"/>
                  </a:lnTo>
                  <a:lnTo>
                    <a:pt x="325755" y="83820"/>
                  </a:lnTo>
                  <a:lnTo>
                    <a:pt x="331470" y="95250"/>
                  </a:lnTo>
                  <a:lnTo>
                    <a:pt x="342900" y="99060"/>
                  </a:lnTo>
                  <a:cubicBezTo>
                    <a:pt x="358140" y="103823"/>
                    <a:pt x="373380" y="110490"/>
                    <a:pt x="387668" y="119063"/>
                  </a:cubicBezTo>
                  <a:cubicBezTo>
                    <a:pt x="401955" y="127635"/>
                    <a:pt x="415290" y="137160"/>
                    <a:pt x="426720" y="148590"/>
                  </a:cubicBezTo>
                  <a:lnTo>
                    <a:pt x="435293" y="157163"/>
                  </a:lnTo>
                  <a:lnTo>
                    <a:pt x="447675" y="156210"/>
                  </a:lnTo>
                  <a:lnTo>
                    <a:pt x="509588" y="152400"/>
                  </a:lnTo>
                  <a:lnTo>
                    <a:pt x="527685" y="182880"/>
                  </a:lnTo>
                  <a:lnTo>
                    <a:pt x="493395" y="234315"/>
                  </a:lnTo>
                  <a:lnTo>
                    <a:pt x="486728" y="244793"/>
                  </a:lnTo>
                  <a:lnTo>
                    <a:pt x="489585" y="257175"/>
                  </a:lnTo>
                  <a:cubicBezTo>
                    <a:pt x="497205" y="289560"/>
                    <a:pt x="497205" y="322898"/>
                    <a:pt x="489585" y="354330"/>
                  </a:cubicBezTo>
                  <a:lnTo>
                    <a:pt x="486728" y="366713"/>
                  </a:lnTo>
                  <a:lnTo>
                    <a:pt x="493395" y="377190"/>
                  </a:lnTo>
                  <a:lnTo>
                    <a:pt x="527685" y="428625"/>
                  </a:lnTo>
                  <a:lnTo>
                    <a:pt x="509588" y="459105"/>
                  </a:lnTo>
                  <a:lnTo>
                    <a:pt x="447675" y="455295"/>
                  </a:lnTo>
                  <a:lnTo>
                    <a:pt x="435293" y="454343"/>
                  </a:lnTo>
                  <a:lnTo>
                    <a:pt x="426720" y="462915"/>
                  </a:lnTo>
                  <a:cubicBezTo>
                    <a:pt x="402908" y="484823"/>
                    <a:pt x="373380" y="501968"/>
                    <a:pt x="341948" y="511493"/>
                  </a:cubicBezTo>
                  <a:lnTo>
                    <a:pt x="331470" y="514350"/>
                  </a:lnTo>
                  <a:lnTo>
                    <a:pt x="298133" y="581025"/>
                  </a:lnTo>
                  <a:lnTo>
                    <a:pt x="262890" y="581025"/>
                  </a:lnTo>
                  <a:lnTo>
                    <a:pt x="226695" y="513398"/>
                  </a:lnTo>
                  <a:lnTo>
                    <a:pt x="209550" y="539115"/>
                  </a:lnTo>
                  <a:lnTo>
                    <a:pt x="244793" y="609600"/>
                  </a:lnTo>
                  <a:lnTo>
                    <a:pt x="316230" y="609600"/>
                  </a:lnTo>
                  <a:lnTo>
                    <a:pt x="351473" y="538163"/>
                  </a:lnTo>
                  <a:cubicBezTo>
                    <a:pt x="387668" y="527685"/>
                    <a:pt x="420053" y="508635"/>
                    <a:pt x="446723" y="482918"/>
                  </a:cubicBezTo>
                  <a:lnTo>
                    <a:pt x="525780" y="487680"/>
                  </a:lnTo>
                  <a:lnTo>
                    <a:pt x="561023" y="425768"/>
                  </a:lnTo>
                  <a:lnTo>
                    <a:pt x="518160" y="360045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BC2BCEE7-9F3B-D60B-E98F-623F84467DA4}"/>
                </a:ext>
              </a:extLst>
            </p:cNvPr>
            <p:cNvSpPr/>
            <p:nvPr/>
          </p:nvSpPr>
          <p:spPr>
            <a:xfrm>
              <a:off x="10064552" y="2414131"/>
              <a:ext cx="334224" cy="335279"/>
            </a:xfrm>
            <a:custGeom>
              <a:avLst/>
              <a:gdLst>
                <a:gd name="connsiteX0" fmla="*/ 167147 w 334224"/>
                <a:gd name="connsiteY0" fmla="*/ 306705 h 335279"/>
                <a:gd name="connsiteX1" fmla="*/ 160479 w 334224"/>
                <a:gd name="connsiteY1" fmla="*/ 306705 h 335279"/>
                <a:gd name="connsiteX2" fmla="*/ 142382 w 334224"/>
                <a:gd name="connsiteY2" fmla="*/ 333375 h 335279"/>
                <a:gd name="connsiteX3" fmla="*/ 167147 w 334224"/>
                <a:gd name="connsiteY3" fmla="*/ 335280 h 335279"/>
                <a:gd name="connsiteX4" fmla="*/ 311927 w 334224"/>
                <a:gd name="connsiteY4" fmla="*/ 251460 h 335279"/>
                <a:gd name="connsiteX5" fmla="*/ 250967 w 334224"/>
                <a:gd name="connsiteY5" fmla="*/ 22860 h 335279"/>
                <a:gd name="connsiteX6" fmla="*/ 167147 w 334224"/>
                <a:gd name="connsiteY6" fmla="*/ 0 h 335279"/>
                <a:gd name="connsiteX7" fmla="*/ 22367 w 334224"/>
                <a:gd name="connsiteY7" fmla="*/ 83820 h 335279"/>
                <a:gd name="connsiteX8" fmla="*/ 6174 w 334224"/>
                <a:gd name="connsiteY8" fmla="*/ 210503 h 335279"/>
                <a:gd name="connsiteX9" fmla="*/ 33797 w 334224"/>
                <a:gd name="connsiteY9" fmla="*/ 267653 h 335279"/>
                <a:gd name="connsiteX10" fmla="*/ 50942 w 334224"/>
                <a:gd name="connsiteY10" fmla="*/ 241935 h 335279"/>
                <a:gd name="connsiteX11" fmla="*/ 48084 w 334224"/>
                <a:gd name="connsiteY11" fmla="*/ 98108 h 335279"/>
                <a:gd name="connsiteX12" fmla="*/ 167147 w 334224"/>
                <a:gd name="connsiteY12" fmla="*/ 28575 h 335279"/>
                <a:gd name="connsiteX13" fmla="*/ 236679 w 334224"/>
                <a:gd name="connsiteY13" fmla="*/ 47625 h 335279"/>
                <a:gd name="connsiteX14" fmla="*/ 287162 w 334224"/>
                <a:gd name="connsiteY14" fmla="*/ 237173 h 335279"/>
                <a:gd name="connsiteX15" fmla="*/ 167147 w 334224"/>
                <a:gd name="connsiteY15" fmla="*/ 306705 h 335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34224" h="335279">
                  <a:moveTo>
                    <a:pt x="167147" y="306705"/>
                  </a:moveTo>
                  <a:cubicBezTo>
                    <a:pt x="165242" y="306705"/>
                    <a:pt x="162384" y="306705"/>
                    <a:pt x="160479" y="306705"/>
                  </a:cubicBezTo>
                  <a:lnTo>
                    <a:pt x="142382" y="333375"/>
                  </a:lnTo>
                  <a:cubicBezTo>
                    <a:pt x="150954" y="334328"/>
                    <a:pt x="158574" y="335280"/>
                    <a:pt x="167147" y="335280"/>
                  </a:cubicBezTo>
                  <a:cubicBezTo>
                    <a:pt x="227154" y="335280"/>
                    <a:pt x="282399" y="302895"/>
                    <a:pt x="311927" y="251460"/>
                  </a:cubicBezTo>
                  <a:cubicBezTo>
                    <a:pt x="357647" y="171450"/>
                    <a:pt x="330977" y="68580"/>
                    <a:pt x="250967" y="22860"/>
                  </a:cubicBezTo>
                  <a:cubicBezTo>
                    <a:pt x="225249" y="8573"/>
                    <a:pt x="196674" y="0"/>
                    <a:pt x="167147" y="0"/>
                  </a:cubicBezTo>
                  <a:cubicBezTo>
                    <a:pt x="107139" y="0"/>
                    <a:pt x="51894" y="32385"/>
                    <a:pt x="22367" y="83820"/>
                  </a:cubicBezTo>
                  <a:cubicBezTo>
                    <a:pt x="459" y="122873"/>
                    <a:pt x="-6208" y="167640"/>
                    <a:pt x="6174" y="210503"/>
                  </a:cubicBezTo>
                  <a:cubicBezTo>
                    <a:pt x="11889" y="231458"/>
                    <a:pt x="21414" y="250508"/>
                    <a:pt x="33797" y="267653"/>
                  </a:cubicBezTo>
                  <a:lnTo>
                    <a:pt x="50942" y="241935"/>
                  </a:lnTo>
                  <a:cubicBezTo>
                    <a:pt x="24272" y="200025"/>
                    <a:pt x="21414" y="143828"/>
                    <a:pt x="48084" y="98108"/>
                  </a:cubicBezTo>
                  <a:cubicBezTo>
                    <a:pt x="72849" y="53340"/>
                    <a:pt x="119522" y="28575"/>
                    <a:pt x="167147" y="28575"/>
                  </a:cubicBezTo>
                  <a:cubicBezTo>
                    <a:pt x="190959" y="28575"/>
                    <a:pt x="214772" y="34290"/>
                    <a:pt x="236679" y="47625"/>
                  </a:cubicBezTo>
                  <a:cubicBezTo>
                    <a:pt x="303354" y="85725"/>
                    <a:pt x="326214" y="171450"/>
                    <a:pt x="287162" y="237173"/>
                  </a:cubicBezTo>
                  <a:cubicBezTo>
                    <a:pt x="261444" y="281940"/>
                    <a:pt x="214772" y="306705"/>
                    <a:pt x="167147" y="306705"/>
                  </a:cubicBez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6E54242F-BEC4-921C-0141-9CCC30504B2D}"/>
                </a:ext>
              </a:extLst>
            </p:cNvPr>
            <p:cNvSpPr/>
            <p:nvPr/>
          </p:nvSpPr>
          <p:spPr>
            <a:xfrm>
              <a:off x="10056293" y="2507477"/>
              <a:ext cx="262384" cy="336232"/>
            </a:xfrm>
            <a:custGeom>
              <a:avLst/>
              <a:gdLst>
                <a:gd name="connsiteX0" fmla="*/ 155403 w 262384"/>
                <a:gd name="connsiteY0" fmla="*/ 180975 h 336232"/>
                <a:gd name="connsiteX1" fmla="*/ 183978 w 262384"/>
                <a:gd name="connsiteY1" fmla="*/ 160972 h 336232"/>
                <a:gd name="connsiteX2" fmla="*/ 248748 w 262384"/>
                <a:gd name="connsiteY2" fmla="*/ 124777 h 336232"/>
                <a:gd name="connsiteX3" fmla="*/ 258273 w 262384"/>
                <a:gd name="connsiteY3" fmla="*/ 54292 h 336232"/>
                <a:gd name="connsiteX4" fmla="*/ 226840 w 262384"/>
                <a:gd name="connsiteY4" fmla="*/ 101918 h 336232"/>
                <a:gd name="connsiteX5" fmla="*/ 169690 w 262384"/>
                <a:gd name="connsiteY5" fmla="*/ 98107 h 336232"/>
                <a:gd name="connsiteX6" fmla="*/ 143973 w 262384"/>
                <a:gd name="connsiteY6" fmla="*/ 46672 h 336232"/>
                <a:gd name="connsiteX7" fmla="*/ 175405 w 262384"/>
                <a:gd name="connsiteY7" fmla="*/ 0 h 336232"/>
                <a:gd name="connsiteX8" fmla="*/ 114445 w 262384"/>
                <a:gd name="connsiteY8" fmla="*/ 35242 h 336232"/>
                <a:gd name="connsiteX9" fmla="*/ 104920 w 262384"/>
                <a:gd name="connsiteY9" fmla="*/ 105727 h 336232"/>
                <a:gd name="connsiteX10" fmla="*/ 98253 w 262384"/>
                <a:gd name="connsiteY10" fmla="*/ 142875 h 336232"/>
                <a:gd name="connsiteX11" fmla="*/ 5860 w 262384"/>
                <a:gd name="connsiteY11" fmla="*/ 281940 h 336232"/>
                <a:gd name="connsiteX12" fmla="*/ 15385 w 262384"/>
                <a:gd name="connsiteY12" fmla="*/ 330518 h 336232"/>
                <a:gd name="connsiteX13" fmla="*/ 34435 w 262384"/>
                <a:gd name="connsiteY13" fmla="*/ 336233 h 336232"/>
                <a:gd name="connsiteX14" fmla="*/ 63963 w 262384"/>
                <a:gd name="connsiteY14" fmla="*/ 320993 h 336232"/>
                <a:gd name="connsiteX15" fmla="*/ 155403 w 262384"/>
                <a:gd name="connsiteY15" fmla="*/ 180975 h 33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2384" h="336232">
                  <a:moveTo>
                    <a:pt x="155403" y="180975"/>
                  </a:moveTo>
                  <a:cubicBezTo>
                    <a:pt x="163975" y="166688"/>
                    <a:pt x="179215" y="160972"/>
                    <a:pt x="183978" y="160972"/>
                  </a:cubicBezTo>
                  <a:cubicBezTo>
                    <a:pt x="208743" y="160020"/>
                    <a:pt x="233508" y="147638"/>
                    <a:pt x="248748" y="124777"/>
                  </a:cubicBezTo>
                  <a:cubicBezTo>
                    <a:pt x="263035" y="102870"/>
                    <a:pt x="265893" y="77152"/>
                    <a:pt x="258273" y="54292"/>
                  </a:cubicBezTo>
                  <a:lnTo>
                    <a:pt x="226840" y="101918"/>
                  </a:lnTo>
                  <a:lnTo>
                    <a:pt x="169690" y="98107"/>
                  </a:lnTo>
                  <a:lnTo>
                    <a:pt x="143973" y="46672"/>
                  </a:lnTo>
                  <a:lnTo>
                    <a:pt x="175405" y="0"/>
                  </a:lnTo>
                  <a:cubicBezTo>
                    <a:pt x="151593" y="1905"/>
                    <a:pt x="128733" y="14288"/>
                    <a:pt x="114445" y="35242"/>
                  </a:cubicBezTo>
                  <a:cubicBezTo>
                    <a:pt x="100158" y="57150"/>
                    <a:pt x="97300" y="82868"/>
                    <a:pt x="104920" y="105727"/>
                  </a:cubicBezTo>
                  <a:cubicBezTo>
                    <a:pt x="106825" y="111443"/>
                    <a:pt x="110635" y="123825"/>
                    <a:pt x="98253" y="142875"/>
                  </a:cubicBezTo>
                  <a:cubicBezTo>
                    <a:pt x="98253" y="142875"/>
                    <a:pt x="5860" y="280988"/>
                    <a:pt x="5860" y="281940"/>
                  </a:cubicBezTo>
                  <a:cubicBezTo>
                    <a:pt x="-4617" y="298133"/>
                    <a:pt x="-807" y="320040"/>
                    <a:pt x="15385" y="330518"/>
                  </a:cubicBezTo>
                  <a:cubicBezTo>
                    <a:pt x="21100" y="334328"/>
                    <a:pt x="27768" y="336233"/>
                    <a:pt x="34435" y="336233"/>
                  </a:cubicBezTo>
                  <a:cubicBezTo>
                    <a:pt x="45865" y="336233"/>
                    <a:pt x="57295" y="330518"/>
                    <a:pt x="63963" y="320993"/>
                  </a:cubicBezTo>
                  <a:cubicBezTo>
                    <a:pt x="63010" y="319088"/>
                    <a:pt x="155403" y="180975"/>
                    <a:pt x="155403" y="18097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7" name="Title 26">
            <a:extLst>
              <a:ext uri="{FF2B5EF4-FFF2-40B4-BE49-F238E27FC236}">
                <a16:creationId xmlns:a16="http://schemas.microsoft.com/office/drawing/2014/main" id="{5B7B7B85-6583-7B24-0EE2-2006B8371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ICO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FF076D-8277-A21B-56F5-A0F73851AFF5}"/>
              </a:ext>
            </a:extLst>
          </p:cNvPr>
          <p:cNvSpPr/>
          <p:nvPr/>
        </p:nvSpPr>
        <p:spPr>
          <a:xfrm>
            <a:off x="502478" y="1189579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Core Segmen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8B0E878-05A6-74AD-AD12-F4313DEE531D}"/>
              </a:ext>
            </a:extLst>
          </p:cNvPr>
          <p:cNvSpPr/>
          <p:nvPr/>
        </p:nvSpPr>
        <p:spPr>
          <a:xfrm>
            <a:off x="500699" y="2703900"/>
            <a:ext cx="11247120" cy="2220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>
                <a:solidFill>
                  <a:schemeClr val="bg1"/>
                </a:solidFill>
              </a:rPr>
              <a:t>Industry Verticals</a:t>
            </a:r>
          </a:p>
        </p:txBody>
      </p:sp>
      <p:sp>
        <p:nvSpPr>
          <p:cNvPr id="28" name="Text Placeholder 81">
            <a:extLst>
              <a:ext uri="{FF2B5EF4-FFF2-40B4-BE49-F238E27FC236}">
                <a16:creationId xmlns:a16="http://schemas.microsoft.com/office/drawing/2014/main" id="{DB4E8D8C-1883-1E88-D5A2-FD7F98E04395}"/>
              </a:ext>
            </a:extLst>
          </p:cNvPr>
          <p:cNvSpPr txBox="1">
            <a:spLocks/>
          </p:cNvSpPr>
          <p:nvPr/>
        </p:nvSpPr>
        <p:spPr>
          <a:xfrm>
            <a:off x="9661407" y="3033946"/>
            <a:ext cx="210312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Med Dev</a:t>
            </a:r>
          </a:p>
        </p:txBody>
      </p:sp>
      <p:sp>
        <p:nvSpPr>
          <p:cNvPr id="29" name="Text Placeholder 81">
            <a:extLst>
              <a:ext uri="{FF2B5EF4-FFF2-40B4-BE49-F238E27FC236}">
                <a16:creationId xmlns:a16="http://schemas.microsoft.com/office/drawing/2014/main" id="{B8D0E009-6823-EC22-AF1B-87F545F4C2AA}"/>
              </a:ext>
            </a:extLst>
          </p:cNvPr>
          <p:cNvSpPr txBox="1">
            <a:spLocks/>
          </p:cNvSpPr>
          <p:nvPr/>
        </p:nvSpPr>
        <p:spPr>
          <a:xfrm>
            <a:off x="7622810" y="3024695"/>
            <a:ext cx="1737360" cy="1523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nergy</a:t>
            </a:r>
          </a:p>
        </p:txBody>
      </p:sp>
      <p:sp>
        <p:nvSpPr>
          <p:cNvPr id="30" name="Text Placeholder 81">
            <a:extLst>
              <a:ext uri="{FF2B5EF4-FFF2-40B4-BE49-F238E27FC236}">
                <a16:creationId xmlns:a16="http://schemas.microsoft.com/office/drawing/2014/main" id="{8DF91A93-5714-20A1-8B40-52E1D636ABD4}"/>
              </a:ext>
            </a:extLst>
          </p:cNvPr>
          <p:cNvSpPr txBox="1">
            <a:spLocks/>
          </p:cNvSpPr>
          <p:nvPr/>
        </p:nvSpPr>
        <p:spPr>
          <a:xfrm>
            <a:off x="5080146" y="3033946"/>
            <a:ext cx="228600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FA&amp;D</a:t>
            </a:r>
          </a:p>
        </p:txBody>
      </p:sp>
      <p:sp>
        <p:nvSpPr>
          <p:cNvPr id="31" name="Text Placeholder 81">
            <a:extLst>
              <a:ext uri="{FF2B5EF4-FFF2-40B4-BE49-F238E27FC236}">
                <a16:creationId xmlns:a16="http://schemas.microsoft.com/office/drawing/2014/main" id="{2C856717-A3EF-0CC6-3F83-5610C4167317}"/>
              </a:ext>
            </a:extLst>
          </p:cNvPr>
          <p:cNvSpPr txBox="1">
            <a:spLocks/>
          </p:cNvSpPr>
          <p:nvPr/>
        </p:nvSpPr>
        <p:spPr>
          <a:xfrm>
            <a:off x="3629946" y="3033946"/>
            <a:ext cx="109728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utomotive</a:t>
            </a:r>
          </a:p>
        </p:txBody>
      </p:sp>
      <p:sp>
        <p:nvSpPr>
          <p:cNvPr id="32" name="Text Placeholder 81">
            <a:extLst>
              <a:ext uri="{FF2B5EF4-FFF2-40B4-BE49-F238E27FC236}">
                <a16:creationId xmlns:a16="http://schemas.microsoft.com/office/drawing/2014/main" id="{DF052D19-A77B-0D06-FBE1-B158DAB348A8}"/>
              </a:ext>
            </a:extLst>
          </p:cNvPr>
          <p:cNvSpPr txBox="1">
            <a:spLocks/>
          </p:cNvSpPr>
          <p:nvPr/>
        </p:nvSpPr>
        <p:spPr>
          <a:xfrm>
            <a:off x="2271186" y="3033946"/>
            <a:ext cx="100584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High Tech</a:t>
            </a:r>
          </a:p>
        </p:txBody>
      </p:sp>
      <p:sp>
        <p:nvSpPr>
          <p:cNvPr id="33" name="Text Placeholder 81">
            <a:extLst>
              <a:ext uri="{FF2B5EF4-FFF2-40B4-BE49-F238E27FC236}">
                <a16:creationId xmlns:a16="http://schemas.microsoft.com/office/drawing/2014/main" id="{CA93D8AE-18D8-58A5-FEC5-F356DA3BC828}"/>
              </a:ext>
            </a:extLst>
          </p:cNvPr>
          <p:cNvSpPr txBox="1">
            <a:spLocks/>
          </p:cNvSpPr>
          <p:nvPr/>
        </p:nvSpPr>
        <p:spPr>
          <a:xfrm>
            <a:off x="546666" y="3024695"/>
            <a:ext cx="137160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Industria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C1A6976-19C7-FAF3-5471-30A6B099441C}"/>
              </a:ext>
            </a:extLst>
          </p:cNvPr>
          <p:cNvGrpSpPr/>
          <p:nvPr/>
        </p:nvGrpSpPr>
        <p:grpSpPr>
          <a:xfrm>
            <a:off x="2550158" y="3327485"/>
            <a:ext cx="541972" cy="609600"/>
            <a:chOff x="7424292" y="3859685"/>
            <a:chExt cx="541972" cy="609600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FA32E54-D7DE-6FD2-CEB6-234246082F96}"/>
                </a:ext>
              </a:extLst>
            </p:cNvPr>
            <p:cNvSpPr/>
            <p:nvPr/>
          </p:nvSpPr>
          <p:spPr>
            <a:xfrm>
              <a:off x="7424292" y="3859685"/>
              <a:ext cx="353377" cy="609600"/>
            </a:xfrm>
            <a:custGeom>
              <a:avLst/>
              <a:gdLst>
                <a:gd name="connsiteX0" fmla="*/ 325755 w 353377"/>
                <a:gd name="connsiteY0" fmla="*/ 548640 h 609600"/>
                <a:gd name="connsiteX1" fmla="*/ 26670 w 353377"/>
                <a:gd name="connsiteY1" fmla="*/ 548640 h 609600"/>
                <a:gd name="connsiteX2" fmla="*/ 26670 w 353377"/>
                <a:gd name="connsiteY2" fmla="*/ 81915 h 609600"/>
                <a:gd name="connsiteX3" fmla="*/ 324803 w 353377"/>
                <a:gd name="connsiteY3" fmla="*/ 81915 h 609600"/>
                <a:gd name="connsiteX4" fmla="*/ 324803 w 353377"/>
                <a:gd name="connsiteY4" fmla="*/ 149543 h 609600"/>
                <a:gd name="connsiteX5" fmla="*/ 353378 w 353377"/>
                <a:gd name="connsiteY5" fmla="*/ 149543 h 609600"/>
                <a:gd name="connsiteX6" fmla="*/ 353378 w 353377"/>
                <a:gd name="connsiteY6" fmla="*/ 38100 h 609600"/>
                <a:gd name="connsiteX7" fmla="*/ 340043 w 353377"/>
                <a:gd name="connsiteY7" fmla="*/ 8573 h 609600"/>
                <a:gd name="connsiteX8" fmla="*/ 317183 w 353377"/>
                <a:gd name="connsiteY8" fmla="*/ 0 h 609600"/>
                <a:gd name="connsiteX9" fmla="*/ 38100 w 353377"/>
                <a:gd name="connsiteY9" fmla="*/ 0 h 609600"/>
                <a:gd name="connsiteX10" fmla="*/ 0 w 353377"/>
                <a:gd name="connsiteY10" fmla="*/ 38100 h 609600"/>
                <a:gd name="connsiteX11" fmla="*/ 0 w 353377"/>
                <a:gd name="connsiteY11" fmla="*/ 571500 h 609600"/>
                <a:gd name="connsiteX12" fmla="*/ 38100 w 353377"/>
                <a:gd name="connsiteY12" fmla="*/ 609600 h 609600"/>
                <a:gd name="connsiteX13" fmla="*/ 315278 w 353377"/>
                <a:gd name="connsiteY13" fmla="*/ 609600 h 609600"/>
                <a:gd name="connsiteX14" fmla="*/ 353378 w 353377"/>
                <a:gd name="connsiteY14" fmla="*/ 571500 h 609600"/>
                <a:gd name="connsiteX15" fmla="*/ 353378 w 353377"/>
                <a:gd name="connsiteY15" fmla="*/ 481013 h 609600"/>
                <a:gd name="connsiteX16" fmla="*/ 324803 w 353377"/>
                <a:gd name="connsiteY16" fmla="*/ 481013 h 609600"/>
                <a:gd name="connsiteX17" fmla="*/ 324803 w 353377"/>
                <a:gd name="connsiteY17" fmla="*/ 548640 h 609600"/>
                <a:gd name="connsiteX18" fmla="*/ 143828 w 353377"/>
                <a:gd name="connsiteY18" fmla="*/ 35243 h 609600"/>
                <a:gd name="connsiteX19" fmla="*/ 143828 w 353377"/>
                <a:gd name="connsiteY19" fmla="*/ 35243 h 609600"/>
                <a:gd name="connsiteX20" fmla="*/ 209550 w 353377"/>
                <a:gd name="connsiteY20" fmla="*/ 35243 h 609600"/>
                <a:gd name="connsiteX21" fmla="*/ 209550 w 353377"/>
                <a:gd name="connsiteY21" fmla="*/ 35243 h 609600"/>
                <a:gd name="connsiteX22" fmla="*/ 209550 w 353377"/>
                <a:gd name="connsiteY22" fmla="*/ 54293 h 609600"/>
                <a:gd name="connsiteX23" fmla="*/ 209550 w 353377"/>
                <a:gd name="connsiteY23" fmla="*/ 54293 h 609600"/>
                <a:gd name="connsiteX24" fmla="*/ 143828 w 353377"/>
                <a:gd name="connsiteY24" fmla="*/ 54293 h 609600"/>
                <a:gd name="connsiteX25" fmla="*/ 143828 w 353377"/>
                <a:gd name="connsiteY25" fmla="*/ 54293 h 609600"/>
                <a:gd name="connsiteX26" fmla="*/ 143828 w 353377"/>
                <a:gd name="connsiteY26" fmla="*/ 35243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53377" h="609600">
                  <a:moveTo>
                    <a:pt x="325755" y="548640"/>
                  </a:moveTo>
                  <a:lnTo>
                    <a:pt x="26670" y="548640"/>
                  </a:lnTo>
                  <a:lnTo>
                    <a:pt x="26670" y="81915"/>
                  </a:lnTo>
                  <a:lnTo>
                    <a:pt x="324803" y="81915"/>
                  </a:lnTo>
                  <a:lnTo>
                    <a:pt x="324803" y="149543"/>
                  </a:lnTo>
                  <a:lnTo>
                    <a:pt x="353378" y="149543"/>
                  </a:lnTo>
                  <a:lnTo>
                    <a:pt x="353378" y="38100"/>
                  </a:lnTo>
                  <a:cubicBezTo>
                    <a:pt x="353378" y="26670"/>
                    <a:pt x="348615" y="15240"/>
                    <a:pt x="340043" y="8573"/>
                  </a:cubicBezTo>
                  <a:cubicBezTo>
                    <a:pt x="334328" y="2858"/>
                    <a:pt x="325755" y="0"/>
                    <a:pt x="317183" y="0"/>
                  </a:cubicBezTo>
                  <a:lnTo>
                    <a:pt x="38100" y="0"/>
                  </a:lnTo>
                  <a:cubicBezTo>
                    <a:pt x="17145" y="0"/>
                    <a:pt x="0" y="17145"/>
                    <a:pt x="0" y="38100"/>
                  </a:cubicBezTo>
                  <a:lnTo>
                    <a:pt x="0" y="571500"/>
                  </a:lnTo>
                  <a:cubicBezTo>
                    <a:pt x="0" y="592455"/>
                    <a:pt x="17145" y="609600"/>
                    <a:pt x="38100" y="609600"/>
                  </a:cubicBezTo>
                  <a:lnTo>
                    <a:pt x="315278" y="609600"/>
                  </a:lnTo>
                  <a:cubicBezTo>
                    <a:pt x="336233" y="609600"/>
                    <a:pt x="353378" y="592455"/>
                    <a:pt x="353378" y="571500"/>
                  </a:cubicBezTo>
                  <a:lnTo>
                    <a:pt x="353378" y="481013"/>
                  </a:lnTo>
                  <a:lnTo>
                    <a:pt x="324803" y="481013"/>
                  </a:lnTo>
                  <a:lnTo>
                    <a:pt x="324803" y="548640"/>
                  </a:lnTo>
                  <a:close/>
                  <a:moveTo>
                    <a:pt x="143828" y="35243"/>
                  </a:moveTo>
                  <a:lnTo>
                    <a:pt x="143828" y="35243"/>
                  </a:lnTo>
                  <a:lnTo>
                    <a:pt x="209550" y="35243"/>
                  </a:lnTo>
                  <a:lnTo>
                    <a:pt x="209550" y="35243"/>
                  </a:lnTo>
                  <a:lnTo>
                    <a:pt x="209550" y="54293"/>
                  </a:lnTo>
                  <a:lnTo>
                    <a:pt x="209550" y="54293"/>
                  </a:lnTo>
                  <a:lnTo>
                    <a:pt x="143828" y="54293"/>
                  </a:lnTo>
                  <a:lnTo>
                    <a:pt x="143828" y="54293"/>
                  </a:lnTo>
                  <a:lnTo>
                    <a:pt x="143828" y="35243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F95D459A-4774-1173-6531-86836AF3CBC0}"/>
                </a:ext>
              </a:extLst>
            </p:cNvPr>
            <p:cNvGrpSpPr/>
            <p:nvPr/>
          </p:nvGrpSpPr>
          <p:grpSpPr>
            <a:xfrm>
              <a:off x="7565262" y="3974937"/>
              <a:ext cx="401002" cy="400050"/>
              <a:chOff x="7565262" y="3974937"/>
              <a:chExt cx="401002" cy="400050"/>
            </a:xfrm>
          </p:grpSpPr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D4883176-46E7-4490-9EBA-4A37AB7C91B8}"/>
                  </a:ext>
                </a:extLst>
              </p:cNvPr>
              <p:cNvSpPr/>
              <p:nvPr/>
            </p:nvSpPr>
            <p:spPr>
              <a:xfrm>
                <a:off x="7628127" y="4037802"/>
                <a:ext cx="275272" cy="274319"/>
              </a:xfrm>
              <a:custGeom>
                <a:avLst/>
                <a:gdLst>
                  <a:gd name="connsiteX0" fmla="*/ 0 w 275272"/>
                  <a:gd name="connsiteY0" fmla="*/ 274320 h 274319"/>
                  <a:gd name="connsiteX1" fmla="*/ 275273 w 275272"/>
                  <a:gd name="connsiteY1" fmla="*/ 274320 h 274319"/>
                  <a:gd name="connsiteX2" fmla="*/ 275273 w 275272"/>
                  <a:gd name="connsiteY2" fmla="*/ 0 h 274319"/>
                  <a:gd name="connsiteX3" fmla="*/ 0 w 275272"/>
                  <a:gd name="connsiteY3" fmla="*/ 0 h 274319"/>
                  <a:gd name="connsiteX4" fmla="*/ 0 w 275272"/>
                  <a:gd name="connsiteY4" fmla="*/ 274320 h 274319"/>
                  <a:gd name="connsiteX5" fmla="*/ 47625 w 275272"/>
                  <a:gd name="connsiteY5" fmla="*/ 46672 h 274319"/>
                  <a:gd name="connsiteX6" fmla="*/ 228600 w 275272"/>
                  <a:gd name="connsiteY6" fmla="*/ 46672 h 274319"/>
                  <a:gd name="connsiteX7" fmla="*/ 228600 w 275272"/>
                  <a:gd name="connsiteY7" fmla="*/ 227647 h 274319"/>
                  <a:gd name="connsiteX8" fmla="*/ 47625 w 275272"/>
                  <a:gd name="connsiteY8" fmla="*/ 227647 h 274319"/>
                  <a:gd name="connsiteX9" fmla="*/ 47625 w 275272"/>
                  <a:gd name="connsiteY9" fmla="*/ 46672 h 274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5272" h="274319">
                    <a:moveTo>
                      <a:pt x="0" y="274320"/>
                    </a:moveTo>
                    <a:lnTo>
                      <a:pt x="275273" y="274320"/>
                    </a:lnTo>
                    <a:lnTo>
                      <a:pt x="275273" y="0"/>
                    </a:lnTo>
                    <a:lnTo>
                      <a:pt x="0" y="0"/>
                    </a:lnTo>
                    <a:lnTo>
                      <a:pt x="0" y="274320"/>
                    </a:lnTo>
                    <a:close/>
                    <a:moveTo>
                      <a:pt x="47625" y="46672"/>
                    </a:moveTo>
                    <a:lnTo>
                      <a:pt x="228600" y="46672"/>
                    </a:lnTo>
                    <a:lnTo>
                      <a:pt x="228600" y="227647"/>
                    </a:lnTo>
                    <a:lnTo>
                      <a:pt x="47625" y="227647"/>
                    </a:lnTo>
                    <a:lnTo>
                      <a:pt x="47625" y="4667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5C7B7380-DA61-CDF1-63D2-930F408DEF5D}"/>
                  </a:ext>
                </a:extLst>
              </p:cNvPr>
              <p:cNvSpPr/>
              <p:nvPr/>
            </p:nvSpPr>
            <p:spPr>
              <a:xfrm>
                <a:off x="7809102" y="3974937"/>
                <a:ext cx="28575" cy="33337"/>
              </a:xfrm>
              <a:custGeom>
                <a:avLst/>
                <a:gdLst>
                  <a:gd name="connsiteX0" fmla="*/ 0 w 28575"/>
                  <a:gd name="connsiteY0" fmla="*/ 0 h 33337"/>
                  <a:gd name="connsiteX1" fmla="*/ 28575 w 28575"/>
                  <a:gd name="connsiteY1" fmla="*/ 0 h 33337"/>
                  <a:gd name="connsiteX2" fmla="*/ 28575 w 28575"/>
                  <a:gd name="connsiteY2" fmla="*/ 33338 h 33337"/>
                  <a:gd name="connsiteX3" fmla="*/ 0 w 28575"/>
                  <a:gd name="connsiteY3" fmla="*/ 33338 h 33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3337">
                    <a:moveTo>
                      <a:pt x="0" y="0"/>
                    </a:moveTo>
                    <a:lnTo>
                      <a:pt x="28575" y="0"/>
                    </a:lnTo>
                    <a:lnTo>
                      <a:pt x="28575" y="33338"/>
                    </a:lnTo>
                    <a:lnTo>
                      <a:pt x="0" y="3333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656F4D0F-E005-9B5E-97D0-C839DFE9D1CC}"/>
                  </a:ext>
                </a:extLst>
              </p:cNvPr>
              <p:cNvSpPr/>
              <p:nvPr/>
            </p:nvSpPr>
            <p:spPr>
              <a:xfrm>
                <a:off x="7693850" y="3974937"/>
                <a:ext cx="28575" cy="33337"/>
              </a:xfrm>
              <a:custGeom>
                <a:avLst/>
                <a:gdLst>
                  <a:gd name="connsiteX0" fmla="*/ 0 w 28575"/>
                  <a:gd name="connsiteY0" fmla="*/ 0 h 33337"/>
                  <a:gd name="connsiteX1" fmla="*/ 28575 w 28575"/>
                  <a:gd name="connsiteY1" fmla="*/ 0 h 33337"/>
                  <a:gd name="connsiteX2" fmla="*/ 28575 w 28575"/>
                  <a:gd name="connsiteY2" fmla="*/ 33338 h 33337"/>
                  <a:gd name="connsiteX3" fmla="*/ 0 w 28575"/>
                  <a:gd name="connsiteY3" fmla="*/ 33338 h 33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3337">
                    <a:moveTo>
                      <a:pt x="0" y="0"/>
                    </a:moveTo>
                    <a:lnTo>
                      <a:pt x="28575" y="0"/>
                    </a:lnTo>
                    <a:lnTo>
                      <a:pt x="28575" y="33338"/>
                    </a:lnTo>
                    <a:lnTo>
                      <a:pt x="0" y="3333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C1977D51-805A-BA08-5057-60649684BFB5}"/>
                  </a:ext>
                </a:extLst>
              </p:cNvPr>
              <p:cNvSpPr/>
              <p:nvPr/>
            </p:nvSpPr>
            <p:spPr>
              <a:xfrm>
                <a:off x="7809102" y="4341650"/>
                <a:ext cx="28575" cy="33337"/>
              </a:xfrm>
              <a:custGeom>
                <a:avLst/>
                <a:gdLst>
                  <a:gd name="connsiteX0" fmla="*/ 0 w 28575"/>
                  <a:gd name="connsiteY0" fmla="*/ 0 h 33337"/>
                  <a:gd name="connsiteX1" fmla="*/ 28575 w 28575"/>
                  <a:gd name="connsiteY1" fmla="*/ 0 h 33337"/>
                  <a:gd name="connsiteX2" fmla="*/ 28575 w 28575"/>
                  <a:gd name="connsiteY2" fmla="*/ 33337 h 33337"/>
                  <a:gd name="connsiteX3" fmla="*/ 0 w 28575"/>
                  <a:gd name="connsiteY3" fmla="*/ 33337 h 33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3337">
                    <a:moveTo>
                      <a:pt x="0" y="0"/>
                    </a:moveTo>
                    <a:lnTo>
                      <a:pt x="28575" y="0"/>
                    </a:lnTo>
                    <a:lnTo>
                      <a:pt x="28575" y="33337"/>
                    </a:lnTo>
                    <a:lnTo>
                      <a:pt x="0" y="33337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FFB163C-7CC0-BCC0-82AF-8F58D38FD42B}"/>
                  </a:ext>
                </a:extLst>
              </p:cNvPr>
              <p:cNvSpPr/>
              <p:nvPr/>
            </p:nvSpPr>
            <p:spPr>
              <a:xfrm>
                <a:off x="7693850" y="4341650"/>
                <a:ext cx="28575" cy="33337"/>
              </a:xfrm>
              <a:custGeom>
                <a:avLst/>
                <a:gdLst>
                  <a:gd name="connsiteX0" fmla="*/ 0 w 28575"/>
                  <a:gd name="connsiteY0" fmla="*/ 0 h 33337"/>
                  <a:gd name="connsiteX1" fmla="*/ 28575 w 28575"/>
                  <a:gd name="connsiteY1" fmla="*/ 0 h 33337"/>
                  <a:gd name="connsiteX2" fmla="*/ 28575 w 28575"/>
                  <a:gd name="connsiteY2" fmla="*/ 33337 h 33337"/>
                  <a:gd name="connsiteX3" fmla="*/ 0 w 28575"/>
                  <a:gd name="connsiteY3" fmla="*/ 33337 h 33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3337">
                    <a:moveTo>
                      <a:pt x="0" y="0"/>
                    </a:moveTo>
                    <a:lnTo>
                      <a:pt x="28575" y="0"/>
                    </a:lnTo>
                    <a:lnTo>
                      <a:pt x="28575" y="33337"/>
                    </a:lnTo>
                    <a:lnTo>
                      <a:pt x="0" y="33337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C6E5D0E8-A9C7-1170-1BEE-DE006E916EFA}"/>
                  </a:ext>
                </a:extLst>
              </p:cNvPr>
              <p:cNvSpPr/>
              <p:nvPr/>
            </p:nvSpPr>
            <p:spPr>
              <a:xfrm>
                <a:off x="7565262" y="4218777"/>
                <a:ext cx="33337" cy="28575"/>
              </a:xfrm>
              <a:custGeom>
                <a:avLst/>
                <a:gdLst>
                  <a:gd name="connsiteX0" fmla="*/ 0 w 33337"/>
                  <a:gd name="connsiteY0" fmla="*/ 0 h 28575"/>
                  <a:gd name="connsiteX1" fmla="*/ 33337 w 33337"/>
                  <a:gd name="connsiteY1" fmla="*/ 0 h 28575"/>
                  <a:gd name="connsiteX2" fmla="*/ 33337 w 33337"/>
                  <a:gd name="connsiteY2" fmla="*/ 28575 h 28575"/>
                  <a:gd name="connsiteX3" fmla="*/ 0 w 33337"/>
                  <a:gd name="connsiteY3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37" h="28575">
                    <a:moveTo>
                      <a:pt x="0" y="0"/>
                    </a:moveTo>
                    <a:lnTo>
                      <a:pt x="33337" y="0"/>
                    </a:lnTo>
                    <a:lnTo>
                      <a:pt x="33337" y="28575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8E1A45-F96A-2A8B-A588-E02CD8455B3C}"/>
                  </a:ext>
                </a:extLst>
              </p:cNvPr>
              <p:cNvSpPr/>
              <p:nvPr/>
            </p:nvSpPr>
            <p:spPr>
              <a:xfrm>
                <a:off x="7565262" y="4102572"/>
                <a:ext cx="33337" cy="28575"/>
              </a:xfrm>
              <a:custGeom>
                <a:avLst/>
                <a:gdLst>
                  <a:gd name="connsiteX0" fmla="*/ 0 w 33337"/>
                  <a:gd name="connsiteY0" fmla="*/ 0 h 28575"/>
                  <a:gd name="connsiteX1" fmla="*/ 33337 w 33337"/>
                  <a:gd name="connsiteY1" fmla="*/ 0 h 28575"/>
                  <a:gd name="connsiteX2" fmla="*/ 33337 w 33337"/>
                  <a:gd name="connsiteY2" fmla="*/ 28575 h 28575"/>
                  <a:gd name="connsiteX3" fmla="*/ 0 w 33337"/>
                  <a:gd name="connsiteY3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37" h="28575">
                    <a:moveTo>
                      <a:pt x="0" y="0"/>
                    </a:moveTo>
                    <a:lnTo>
                      <a:pt x="33337" y="0"/>
                    </a:lnTo>
                    <a:lnTo>
                      <a:pt x="33337" y="28575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DBC4DA5A-BC33-83AF-B023-64E2821B9FD4}"/>
                  </a:ext>
                </a:extLst>
              </p:cNvPr>
              <p:cNvSpPr/>
              <p:nvPr/>
            </p:nvSpPr>
            <p:spPr>
              <a:xfrm>
                <a:off x="7565262" y="4160675"/>
                <a:ext cx="33337" cy="28575"/>
              </a:xfrm>
              <a:custGeom>
                <a:avLst/>
                <a:gdLst>
                  <a:gd name="connsiteX0" fmla="*/ 0 w 33337"/>
                  <a:gd name="connsiteY0" fmla="*/ 0 h 28575"/>
                  <a:gd name="connsiteX1" fmla="*/ 33337 w 33337"/>
                  <a:gd name="connsiteY1" fmla="*/ 0 h 28575"/>
                  <a:gd name="connsiteX2" fmla="*/ 33337 w 33337"/>
                  <a:gd name="connsiteY2" fmla="*/ 28575 h 28575"/>
                  <a:gd name="connsiteX3" fmla="*/ 0 w 33337"/>
                  <a:gd name="connsiteY3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37" h="28575">
                    <a:moveTo>
                      <a:pt x="0" y="0"/>
                    </a:moveTo>
                    <a:lnTo>
                      <a:pt x="33337" y="0"/>
                    </a:lnTo>
                    <a:lnTo>
                      <a:pt x="33337" y="28575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8449901D-B959-1338-EFDB-01BA18471077}"/>
                  </a:ext>
                </a:extLst>
              </p:cNvPr>
              <p:cNvSpPr/>
              <p:nvPr/>
            </p:nvSpPr>
            <p:spPr>
              <a:xfrm>
                <a:off x="7932927" y="4218777"/>
                <a:ext cx="33337" cy="28575"/>
              </a:xfrm>
              <a:custGeom>
                <a:avLst/>
                <a:gdLst>
                  <a:gd name="connsiteX0" fmla="*/ 0 w 33337"/>
                  <a:gd name="connsiteY0" fmla="*/ 0 h 28575"/>
                  <a:gd name="connsiteX1" fmla="*/ 33338 w 33337"/>
                  <a:gd name="connsiteY1" fmla="*/ 0 h 28575"/>
                  <a:gd name="connsiteX2" fmla="*/ 33338 w 33337"/>
                  <a:gd name="connsiteY2" fmla="*/ 28575 h 28575"/>
                  <a:gd name="connsiteX3" fmla="*/ 0 w 33337"/>
                  <a:gd name="connsiteY3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37" h="28575">
                    <a:moveTo>
                      <a:pt x="0" y="0"/>
                    </a:moveTo>
                    <a:lnTo>
                      <a:pt x="33338" y="0"/>
                    </a:lnTo>
                    <a:lnTo>
                      <a:pt x="33338" y="28575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F4ED8BCC-5506-09FA-851E-C1844FB95D9E}"/>
                  </a:ext>
                </a:extLst>
              </p:cNvPr>
              <p:cNvSpPr/>
              <p:nvPr/>
            </p:nvSpPr>
            <p:spPr>
              <a:xfrm>
                <a:off x="7932927" y="4102572"/>
                <a:ext cx="33337" cy="28575"/>
              </a:xfrm>
              <a:custGeom>
                <a:avLst/>
                <a:gdLst>
                  <a:gd name="connsiteX0" fmla="*/ 0 w 33337"/>
                  <a:gd name="connsiteY0" fmla="*/ 0 h 28575"/>
                  <a:gd name="connsiteX1" fmla="*/ 33338 w 33337"/>
                  <a:gd name="connsiteY1" fmla="*/ 0 h 28575"/>
                  <a:gd name="connsiteX2" fmla="*/ 33338 w 33337"/>
                  <a:gd name="connsiteY2" fmla="*/ 28575 h 28575"/>
                  <a:gd name="connsiteX3" fmla="*/ 0 w 33337"/>
                  <a:gd name="connsiteY3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37" h="28575">
                    <a:moveTo>
                      <a:pt x="0" y="0"/>
                    </a:moveTo>
                    <a:lnTo>
                      <a:pt x="33338" y="0"/>
                    </a:lnTo>
                    <a:lnTo>
                      <a:pt x="33338" y="28575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498B9DA4-8184-E72A-E508-C4F678419D67}"/>
                  </a:ext>
                </a:extLst>
              </p:cNvPr>
              <p:cNvSpPr/>
              <p:nvPr/>
            </p:nvSpPr>
            <p:spPr>
              <a:xfrm>
                <a:off x="7932927" y="4160675"/>
                <a:ext cx="33337" cy="28575"/>
              </a:xfrm>
              <a:custGeom>
                <a:avLst/>
                <a:gdLst>
                  <a:gd name="connsiteX0" fmla="*/ 0 w 33337"/>
                  <a:gd name="connsiteY0" fmla="*/ 0 h 28575"/>
                  <a:gd name="connsiteX1" fmla="*/ 33338 w 33337"/>
                  <a:gd name="connsiteY1" fmla="*/ 0 h 28575"/>
                  <a:gd name="connsiteX2" fmla="*/ 33338 w 33337"/>
                  <a:gd name="connsiteY2" fmla="*/ 28575 h 28575"/>
                  <a:gd name="connsiteX3" fmla="*/ 0 w 33337"/>
                  <a:gd name="connsiteY3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37" h="28575">
                    <a:moveTo>
                      <a:pt x="0" y="0"/>
                    </a:moveTo>
                    <a:lnTo>
                      <a:pt x="33338" y="0"/>
                    </a:lnTo>
                    <a:lnTo>
                      <a:pt x="33338" y="28575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61" name="Text Placeholder 81">
            <a:extLst>
              <a:ext uri="{FF2B5EF4-FFF2-40B4-BE49-F238E27FC236}">
                <a16:creationId xmlns:a16="http://schemas.microsoft.com/office/drawing/2014/main" id="{952696B9-A7E7-547C-9EDE-1B1100A9E87A}"/>
              </a:ext>
            </a:extLst>
          </p:cNvPr>
          <p:cNvSpPr txBox="1">
            <a:spLocks/>
          </p:cNvSpPr>
          <p:nvPr/>
        </p:nvSpPr>
        <p:spPr>
          <a:xfrm>
            <a:off x="9754317" y="3325150"/>
            <a:ext cx="372974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dirty="0">
                <a:ea typeface="+mn-lt"/>
                <a:cs typeface="+mn-lt"/>
              </a:rPr>
              <a:t>MRI</a:t>
            </a:r>
          </a:p>
        </p:txBody>
      </p:sp>
      <p:pic>
        <p:nvPicPr>
          <p:cNvPr id="262" name="Graphic 261">
            <a:extLst>
              <a:ext uri="{FF2B5EF4-FFF2-40B4-BE49-F238E27FC236}">
                <a16:creationId xmlns:a16="http://schemas.microsoft.com/office/drawing/2014/main" id="{DFC612E5-F4EE-2B36-6E55-4DC465843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84819" y="3544802"/>
            <a:ext cx="609600" cy="609600"/>
          </a:xfrm>
          <a:prstGeom prst="rect">
            <a:avLst/>
          </a:prstGeom>
        </p:spPr>
      </p:pic>
      <p:sp>
        <p:nvSpPr>
          <p:cNvPr id="263" name="Text Placeholder 81">
            <a:extLst>
              <a:ext uri="{FF2B5EF4-FFF2-40B4-BE49-F238E27FC236}">
                <a16:creationId xmlns:a16="http://schemas.microsoft.com/office/drawing/2014/main" id="{E3F1F1E5-59B5-A3E4-9AED-AE2882A00189}"/>
              </a:ext>
            </a:extLst>
          </p:cNvPr>
          <p:cNvSpPr txBox="1">
            <a:spLocks/>
          </p:cNvSpPr>
          <p:nvPr/>
        </p:nvSpPr>
        <p:spPr>
          <a:xfrm>
            <a:off x="10279813" y="3325150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dirty="0">
                <a:ea typeface="+mn-lt"/>
                <a:cs typeface="+mn-lt"/>
              </a:rPr>
              <a:t>Life Sciences</a:t>
            </a:r>
          </a:p>
        </p:txBody>
      </p:sp>
      <p:pic>
        <p:nvPicPr>
          <p:cNvPr id="264" name="Graphic 263">
            <a:extLst>
              <a:ext uri="{FF2B5EF4-FFF2-40B4-BE49-F238E27FC236}">
                <a16:creationId xmlns:a16="http://schemas.microsoft.com/office/drawing/2014/main" id="{AA94FC6C-B9FD-1FA9-B12A-8E788CAC31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29880" y="3544802"/>
            <a:ext cx="609600" cy="609600"/>
          </a:xfrm>
          <a:prstGeom prst="rect">
            <a:avLst/>
          </a:prstGeom>
        </p:spPr>
      </p:pic>
      <p:sp>
        <p:nvSpPr>
          <p:cNvPr id="265" name="Text Placeholder 81">
            <a:extLst>
              <a:ext uri="{FF2B5EF4-FFF2-40B4-BE49-F238E27FC236}">
                <a16:creationId xmlns:a16="http://schemas.microsoft.com/office/drawing/2014/main" id="{967BF6B3-ADAB-B859-EC2E-924FF2E45B48}"/>
              </a:ext>
            </a:extLst>
          </p:cNvPr>
          <p:cNvSpPr txBox="1">
            <a:spLocks/>
          </p:cNvSpPr>
          <p:nvPr/>
        </p:nvSpPr>
        <p:spPr>
          <a:xfrm>
            <a:off x="5110049" y="3257239"/>
            <a:ext cx="1097280" cy="27432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dirty="0">
                <a:ea typeface="+mn-lt"/>
                <a:cs typeface="+mn-lt"/>
              </a:rPr>
              <a:t>Aerospace &amp; Defense, Satellite</a:t>
            </a:r>
          </a:p>
        </p:txBody>
      </p:sp>
      <p:grpSp>
        <p:nvGrpSpPr>
          <p:cNvPr id="291" name="Graphic 373">
            <a:extLst>
              <a:ext uri="{FF2B5EF4-FFF2-40B4-BE49-F238E27FC236}">
                <a16:creationId xmlns:a16="http://schemas.microsoft.com/office/drawing/2014/main" id="{FE4C3610-3F10-57A6-DB64-B8D1FDC33DFA}"/>
              </a:ext>
            </a:extLst>
          </p:cNvPr>
          <p:cNvGrpSpPr/>
          <p:nvPr/>
        </p:nvGrpSpPr>
        <p:grpSpPr>
          <a:xfrm>
            <a:off x="5366843" y="3673350"/>
            <a:ext cx="583691" cy="494797"/>
            <a:chOff x="2787432" y="3937340"/>
            <a:chExt cx="583691" cy="494797"/>
          </a:xfrm>
        </p:grpSpPr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EF71EC07-D948-C8B6-6C0A-DCCF636180E6}"/>
                </a:ext>
              </a:extLst>
            </p:cNvPr>
            <p:cNvSpPr/>
            <p:nvPr/>
          </p:nvSpPr>
          <p:spPr>
            <a:xfrm rot="-3599956">
              <a:off x="2828389" y="3896383"/>
              <a:ext cx="99057" cy="180971"/>
            </a:xfrm>
            <a:custGeom>
              <a:avLst/>
              <a:gdLst>
                <a:gd name="connsiteX0" fmla="*/ 0 w 99057"/>
                <a:gd name="connsiteY0" fmla="*/ 0 h 180971"/>
                <a:gd name="connsiteX1" fmla="*/ 99058 w 99057"/>
                <a:gd name="connsiteY1" fmla="*/ 0 h 180971"/>
                <a:gd name="connsiteX2" fmla="*/ 99058 w 99057"/>
                <a:gd name="connsiteY2" fmla="*/ 180971 h 180971"/>
                <a:gd name="connsiteX3" fmla="*/ 0 w 99057"/>
                <a:gd name="connsiteY3" fmla="*/ 180971 h 180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057" h="180971">
                  <a:moveTo>
                    <a:pt x="0" y="0"/>
                  </a:moveTo>
                  <a:lnTo>
                    <a:pt x="99058" y="0"/>
                  </a:lnTo>
                  <a:lnTo>
                    <a:pt x="99058" y="180971"/>
                  </a:lnTo>
                  <a:lnTo>
                    <a:pt x="0" y="180971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B0419A2F-D856-8602-8F37-34A1C1DD2C64}"/>
                </a:ext>
              </a:extLst>
            </p:cNvPr>
            <p:cNvSpPr/>
            <p:nvPr/>
          </p:nvSpPr>
          <p:spPr>
            <a:xfrm rot="-3599956">
              <a:off x="3231109" y="4128882"/>
              <a:ext cx="99057" cy="180971"/>
            </a:xfrm>
            <a:custGeom>
              <a:avLst/>
              <a:gdLst>
                <a:gd name="connsiteX0" fmla="*/ 0 w 99057"/>
                <a:gd name="connsiteY0" fmla="*/ 0 h 180971"/>
                <a:gd name="connsiteX1" fmla="*/ 99058 w 99057"/>
                <a:gd name="connsiteY1" fmla="*/ 0 h 180971"/>
                <a:gd name="connsiteX2" fmla="*/ 99058 w 99057"/>
                <a:gd name="connsiteY2" fmla="*/ 180971 h 180971"/>
                <a:gd name="connsiteX3" fmla="*/ 0 w 99057"/>
                <a:gd name="connsiteY3" fmla="*/ 180971 h 180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057" h="180971">
                  <a:moveTo>
                    <a:pt x="0" y="0"/>
                  </a:moveTo>
                  <a:lnTo>
                    <a:pt x="99058" y="0"/>
                  </a:lnTo>
                  <a:lnTo>
                    <a:pt x="99058" y="180971"/>
                  </a:lnTo>
                  <a:lnTo>
                    <a:pt x="0" y="180971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B800FDB3-FF86-8520-A485-13195CF2E7BA}"/>
                </a:ext>
              </a:extLst>
            </p:cNvPr>
            <p:cNvSpPr/>
            <p:nvPr/>
          </p:nvSpPr>
          <p:spPr>
            <a:xfrm>
              <a:off x="2946476" y="3993987"/>
              <a:ext cx="261937" cy="226695"/>
            </a:xfrm>
            <a:custGeom>
              <a:avLst/>
              <a:gdLst>
                <a:gd name="connsiteX0" fmla="*/ 261938 w 261937"/>
                <a:gd name="connsiteY0" fmla="*/ 113348 h 226695"/>
                <a:gd name="connsiteX1" fmla="*/ 196215 w 261937"/>
                <a:gd name="connsiteY1" fmla="*/ 0 h 226695"/>
                <a:gd name="connsiteX2" fmla="*/ 65723 w 261937"/>
                <a:gd name="connsiteY2" fmla="*/ 0 h 226695"/>
                <a:gd name="connsiteX3" fmla="*/ 60007 w 261937"/>
                <a:gd name="connsiteY3" fmla="*/ 9525 h 226695"/>
                <a:gd name="connsiteX4" fmla="*/ 10478 w 261937"/>
                <a:gd name="connsiteY4" fmla="*/ 95250 h 226695"/>
                <a:gd name="connsiteX5" fmla="*/ 0 w 261937"/>
                <a:gd name="connsiteY5" fmla="*/ 113348 h 226695"/>
                <a:gd name="connsiteX6" fmla="*/ 65723 w 261937"/>
                <a:gd name="connsiteY6" fmla="*/ 226695 h 226695"/>
                <a:gd name="connsiteX7" fmla="*/ 196215 w 261937"/>
                <a:gd name="connsiteY7" fmla="*/ 226695 h 226695"/>
                <a:gd name="connsiteX8" fmla="*/ 206693 w 261937"/>
                <a:gd name="connsiteY8" fmla="*/ 208598 h 226695"/>
                <a:gd name="connsiteX9" fmla="*/ 256223 w 261937"/>
                <a:gd name="connsiteY9" fmla="*/ 122873 h 22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1937" h="226695">
                  <a:moveTo>
                    <a:pt x="261938" y="113348"/>
                  </a:moveTo>
                  <a:lnTo>
                    <a:pt x="196215" y="0"/>
                  </a:lnTo>
                  <a:lnTo>
                    <a:pt x="65723" y="0"/>
                  </a:lnTo>
                  <a:lnTo>
                    <a:pt x="60007" y="9525"/>
                  </a:lnTo>
                  <a:lnTo>
                    <a:pt x="10478" y="95250"/>
                  </a:lnTo>
                  <a:lnTo>
                    <a:pt x="0" y="113348"/>
                  </a:lnTo>
                  <a:lnTo>
                    <a:pt x="65723" y="226695"/>
                  </a:lnTo>
                  <a:lnTo>
                    <a:pt x="196215" y="226695"/>
                  </a:lnTo>
                  <a:lnTo>
                    <a:pt x="206693" y="208598"/>
                  </a:lnTo>
                  <a:lnTo>
                    <a:pt x="256223" y="122873"/>
                  </a:ln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B8147D17-EB52-D8EE-1480-AE5861CC8A81}"/>
                </a:ext>
              </a:extLst>
            </p:cNvPr>
            <p:cNvSpPr/>
            <p:nvPr/>
          </p:nvSpPr>
          <p:spPr>
            <a:xfrm>
              <a:off x="2810268" y="4259735"/>
              <a:ext cx="235267" cy="172402"/>
            </a:xfrm>
            <a:custGeom>
              <a:avLst/>
              <a:gdLst>
                <a:gd name="connsiteX0" fmla="*/ 100013 w 235267"/>
                <a:gd name="connsiteY0" fmla="*/ 113348 h 172402"/>
                <a:gd name="connsiteX1" fmla="*/ 28575 w 235267"/>
                <a:gd name="connsiteY1" fmla="*/ 0 h 172402"/>
                <a:gd name="connsiteX2" fmla="*/ 0 w 235267"/>
                <a:gd name="connsiteY2" fmla="*/ 4763 h 172402"/>
                <a:gd name="connsiteX3" fmla="*/ 82867 w 235267"/>
                <a:gd name="connsiteY3" fmla="*/ 137160 h 172402"/>
                <a:gd name="connsiteX4" fmla="*/ 196215 w 235267"/>
                <a:gd name="connsiteY4" fmla="*/ 172402 h 172402"/>
                <a:gd name="connsiteX5" fmla="*/ 235268 w 235267"/>
                <a:gd name="connsiteY5" fmla="*/ 168593 h 172402"/>
                <a:gd name="connsiteX6" fmla="*/ 231458 w 235267"/>
                <a:gd name="connsiteY6" fmla="*/ 140970 h 172402"/>
                <a:gd name="connsiteX7" fmla="*/ 100013 w 235267"/>
                <a:gd name="connsiteY7" fmla="*/ 113348 h 17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5267" h="172402">
                  <a:moveTo>
                    <a:pt x="100013" y="113348"/>
                  </a:moveTo>
                  <a:cubicBezTo>
                    <a:pt x="61912" y="86677"/>
                    <a:pt x="37148" y="46673"/>
                    <a:pt x="28575" y="0"/>
                  </a:cubicBezTo>
                  <a:lnTo>
                    <a:pt x="0" y="4763"/>
                  </a:lnTo>
                  <a:cubicBezTo>
                    <a:pt x="9525" y="59055"/>
                    <a:pt x="38100" y="105727"/>
                    <a:pt x="82867" y="137160"/>
                  </a:cubicBezTo>
                  <a:cubicBezTo>
                    <a:pt x="116205" y="160973"/>
                    <a:pt x="155258" y="172402"/>
                    <a:pt x="196215" y="172402"/>
                  </a:cubicBezTo>
                  <a:cubicBezTo>
                    <a:pt x="209550" y="172402"/>
                    <a:pt x="221933" y="171450"/>
                    <a:pt x="235268" y="168593"/>
                  </a:cubicBezTo>
                  <a:lnTo>
                    <a:pt x="231458" y="140970"/>
                  </a:lnTo>
                  <a:cubicBezTo>
                    <a:pt x="184785" y="149543"/>
                    <a:pt x="138113" y="140018"/>
                    <a:pt x="100013" y="11334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50D0DB80-B891-ED26-DEC6-184B902902C9}"/>
                </a:ext>
              </a:extLst>
            </p:cNvPr>
            <p:cNvSpPr/>
            <p:nvPr/>
          </p:nvSpPr>
          <p:spPr>
            <a:xfrm>
              <a:off x="2873133" y="4247352"/>
              <a:ext cx="160020" cy="119062"/>
            </a:xfrm>
            <a:custGeom>
              <a:avLst/>
              <a:gdLst>
                <a:gd name="connsiteX0" fmla="*/ 73343 w 160020"/>
                <a:gd name="connsiteY0" fmla="*/ 71438 h 119062"/>
                <a:gd name="connsiteX1" fmla="*/ 28575 w 160020"/>
                <a:gd name="connsiteY1" fmla="*/ 0 h 119062"/>
                <a:gd name="connsiteX2" fmla="*/ 0 w 160020"/>
                <a:gd name="connsiteY2" fmla="*/ 4763 h 119062"/>
                <a:gd name="connsiteX3" fmla="*/ 56198 w 160020"/>
                <a:gd name="connsiteY3" fmla="*/ 95250 h 119062"/>
                <a:gd name="connsiteX4" fmla="*/ 133350 w 160020"/>
                <a:gd name="connsiteY4" fmla="*/ 119063 h 119062"/>
                <a:gd name="connsiteX5" fmla="*/ 160020 w 160020"/>
                <a:gd name="connsiteY5" fmla="*/ 116205 h 119062"/>
                <a:gd name="connsiteX6" fmla="*/ 156210 w 160020"/>
                <a:gd name="connsiteY6" fmla="*/ 88582 h 119062"/>
                <a:gd name="connsiteX7" fmla="*/ 73343 w 160020"/>
                <a:gd name="connsiteY7" fmla="*/ 71438 h 119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20" h="119062">
                  <a:moveTo>
                    <a:pt x="73343" y="71438"/>
                  </a:moveTo>
                  <a:cubicBezTo>
                    <a:pt x="49530" y="55245"/>
                    <a:pt x="33338" y="29527"/>
                    <a:pt x="28575" y="0"/>
                  </a:cubicBezTo>
                  <a:lnTo>
                    <a:pt x="0" y="4763"/>
                  </a:lnTo>
                  <a:cubicBezTo>
                    <a:pt x="6667" y="41910"/>
                    <a:pt x="26670" y="74295"/>
                    <a:pt x="56198" y="95250"/>
                  </a:cubicBezTo>
                  <a:cubicBezTo>
                    <a:pt x="79058" y="111443"/>
                    <a:pt x="105727" y="119063"/>
                    <a:pt x="133350" y="119063"/>
                  </a:cubicBezTo>
                  <a:cubicBezTo>
                    <a:pt x="141923" y="119063"/>
                    <a:pt x="151448" y="118110"/>
                    <a:pt x="160020" y="116205"/>
                  </a:cubicBezTo>
                  <a:lnTo>
                    <a:pt x="156210" y="88582"/>
                  </a:lnTo>
                  <a:cubicBezTo>
                    <a:pt x="126683" y="93345"/>
                    <a:pt x="97155" y="87630"/>
                    <a:pt x="73343" y="7143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0099A815-4DDB-CA6B-1F3F-DD319797CB7B}"/>
                </a:ext>
              </a:extLst>
            </p:cNvPr>
            <p:cNvSpPr/>
            <p:nvPr/>
          </p:nvSpPr>
          <p:spPr>
            <a:xfrm>
              <a:off x="2934093" y="4236874"/>
              <a:ext cx="89534" cy="68580"/>
            </a:xfrm>
            <a:custGeom>
              <a:avLst/>
              <a:gdLst>
                <a:gd name="connsiteX0" fmla="*/ 48577 w 89534"/>
                <a:gd name="connsiteY0" fmla="*/ 31433 h 68580"/>
                <a:gd name="connsiteX1" fmla="*/ 28575 w 89534"/>
                <a:gd name="connsiteY1" fmla="*/ 0 h 68580"/>
                <a:gd name="connsiteX2" fmla="*/ 0 w 89534"/>
                <a:gd name="connsiteY2" fmla="*/ 4763 h 68580"/>
                <a:gd name="connsiteX3" fmla="*/ 31432 w 89534"/>
                <a:gd name="connsiteY3" fmla="*/ 55245 h 68580"/>
                <a:gd name="connsiteX4" fmla="*/ 74295 w 89534"/>
                <a:gd name="connsiteY4" fmla="*/ 68580 h 68580"/>
                <a:gd name="connsiteX5" fmla="*/ 89535 w 89534"/>
                <a:gd name="connsiteY5" fmla="*/ 67628 h 68580"/>
                <a:gd name="connsiteX6" fmla="*/ 83820 w 89534"/>
                <a:gd name="connsiteY6" fmla="*/ 40005 h 68580"/>
                <a:gd name="connsiteX7" fmla="*/ 48577 w 89534"/>
                <a:gd name="connsiteY7" fmla="*/ 31433 h 6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534" h="68580">
                  <a:moveTo>
                    <a:pt x="48577" y="31433"/>
                  </a:moveTo>
                  <a:cubicBezTo>
                    <a:pt x="38100" y="23813"/>
                    <a:pt x="31432" y="13335"/>
                    <a:pt x="28575" y="0"/>
                  </a:cubicBezTo>
                  <a:lnTo>
                    <a:pt x="0" y="4763"/>
                  </a:lnTo>
                  <a:cubicBezTo>
                    <a:pt x="3810" y="25718"/>
                    <a:pt x="14288" y="42863"/>
                    <a:pt x="31432" y="55245"/>
                  </a:cubicBezTo>
                  <a:cubicBezTo>
                    <a:pt x="43815" y="63818"/>
                    <a:pt x="59055" y="68580"/>
                    <a:pt x="74295" y="68580"/>
                  </a:cubicBezTo>
                  <a:cubicBezTo>
                    <a:pt x="79057" y="68580"/>
                    <a:pt x="83820" y="68580"/>
                    <a:pt x="89535" y="67628"/>
                  </a:cubicBezTo>
                  <a:lnTo>
                    <a:pt x="83820" y="40005"/>
                  </a:lnTo>
                  <a:cubicBezTo>
                    <a:pt x="71438" y="40958"/>
                    <a:pt x="59055" y="39053"/>
                    <a:pt x="48577" y="31433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317" name="Text Placeholder 81">
            <a:extLst>
              <a:ext uri="{FF2B5EF4-FFF2-40B4-BE49-F238E27FC236}">
                <a16:creationId xmlns:a16="http://schemas.microsoft.com/office/drawing/2014/main" id="{B639EE22-E74A-0431-518D-E69EACAB7172}"/>
              </a:ext>
            </a:extLst>
          </p:cNvPr>
          <p:cNvSpPr txBox="1">
            <a:spLocks/>
          </p:cNvSpPr>
          <p:nvPr/>
        </p:nvSpPr>
        <p:spPr>
          <a:xfrm>
            <a:off x="6290631" y="3257239"/>
            <a:ext cx="1097280" cy="27432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dirty="0">
                <a:ea typeface="+mn-lt"/>
                <a:cs typeface="+mn-lt"/>
              </a:rPr>
              <a:t>Aerospace &amp; Defense, Rocket</a:t>
            </a:r>
          </a:p>
        </p:txBody>
      </p:sp>
      <p:grpSp>
        <p:nvGrpSpPr>
          <p:cNvPr id="321" name="Graphic 377">
            <a:extLst>
              <a:ext uri="{FF2B5EF4-FFF2-40B4-BE49-F238E27FC236}">
                <a16:creationId xmlns:a16="http://schemas.microsoft.com/office/drawing/2014/main" id="{9C5F9C25-7F07-E475-DFE9-C0A291AC19B2}"/>
              </a:ext>
            </a:extLst>
          </p:cNvPr>
          <p:cNvGrpSpPr/>
          <p:nvPr/>
        </p:nvGrpSpPr>
        <p:grpSpPr>
          <a:xfrm>
            <a:off x="6676975" y="3643033"/>
            <a:ext cx="343181" cy="610552"/>
            <a:chOff x="4435133" y="3859685"/>
            <a:chExt cx="343181" cy="610552"/>
          </a:xfrm>
        </p:grpSpPr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E58A8A70-BB33-368E-07C7-DD672F3A0483}"/>
                </a:ext>
              </a:extLst>
            </p:cNvPr>
            <p:cNvSpPr/>
            <p:nvPr/>
          </p:nvSpPr>
          <p:spPr>
            <a:xfrm>
              <a:off x="4435133" y="4182582"/>
              <a:ext cx="63320" cy="192404"/>
            </a:xfrm>
            <a:custGeom>
              <a:avLst/>
              <a:gdLst>
                <a:gd name="connsiteX0" fmla="*/ 37603 w 63320"/>
                <a:gd name="connsiteY0" fmla="*/ 9525 h 192404"/>
                <a:gd name="connsiteX1" fmla="*/ 35698 w 63320"/>
                <a:gd name="connsiteY1" fmla="*/ 0 h 192404"/>
                <a:gd name="connsiteX2" fmla="*/ 29031 w 63320"/>
                <a:gd name="connsiteY2" fmla="*/ 8572 h 192404"/>
                <a:gd name="connsiteX3" fmla="*/ 6171 w 63320"/>
                <a:gd name="connsiteY3" fmla="*/ 135255 h 192404"/>
                <a:gd name="connsiteX4" fmla="*/ 24268 w 63320"/>
                <a:gd name="connsiteY4" fmla="*/ 192405 h 192404"/>
                <a:gd name="connsiteX5" fmla="*/ 63321 w 63320"/>
                <a:gd name="connsiteY5" fmla="*/ 146685 h 192404"/>
                <a:gd name="connsiteX6" fmla="*/ 54748 w 63320"/>
                <a:gd name="connsiteY6" fmla="*/ 102870 h 192404"/>
                <a:gd name="connsiteX7" fmla="*/ 37603 w 63320"/>
                <a:gd name="connsiteY7" fmla="*/ 9525 h 192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320" h="192404">
                  <a:moveTo>
                    <a:pt x="37603" y="9525"/>
                  </a:moveTo>
                  <a:lnTo>
                    <a:pt x="35698" y="0"/>
                  </a:lnTo>
                  <a:lnTo>
                    <a:pt x="29031" y="8572"/>
                  </a:lnTo>
                  <a:cubicBezTo>
                    <a:pt x="1408" y="44767"/>
                    <a:pt x="-7164" y="92392"/>
                    <a:pt x="6171" y="135255"/>
                  </a:cubicBezTo>
                  <a:lnTo>
                    <a:pt x="24268" y="192405"/>
                  </a:lnTo>
                  <a:lnTo>
                    <a:pt x="63321" y="146685"/>
                  </a:lnTo>
                  <a:lnTo>
                    <a:pt x="54748" y="102870"/>
                  </a:lnTo>
                  <a:cubicBezTo>
                    <a:pt x="49033" y="73342"/>
                    <a:pt x="42366" y="41910"/>
                    <a:pt x="37603" y="952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2685D870-C45E-F430-A0C2-02041B683ECB}"/>
                </a:ext>
              </a:extLst>
            </p:cNvPr>
            <p:cNvSpPr/>
            <p:nvPr/>
          </p:nvSpPr>
          <p:spPr>
            <a:xfrm>
              <a:off x="4713719" y="4183535"/>
              <a:ext cx="64595" cy="190500"/>
            </a:xfrm>
            <a:custGeom>
              <a:avLst/>
              <a:gdLst>
                <a:gd name="connsiteX0" fmla="*/ 35243 w 64595"/>
                <a:gd name="connsiteY0" fmla="*/ 6668 h 190500"/>
                <a:gd name="connsiteX1" fmla="*/ 29527 w 64595"/>
                <a:gd name="connsiteY1" fmla="*/ 0 h 190500"/>
                <a:gd name="connsiteX2" fmla="*/ 3810 w 64595"/>
                <a:gd name="connsiteY2" fmla="*/ 126682 h 190500"/>
                <a:gd name="connsiteX3" fmla="*/ 0 w 64595"/>
                <a:gd name="connsiteY3" fmla="*/ 144780 h 190500"/>
                <a:gd name="connsiteX4" fmla="*/ 39052 w 64595"/>
                <a:gd name="connsiteY4" fmla="*/ 190500 h 190500"/>
                <a:gd name="connsiteX5" fmla="*/ 57150 w 64595"/>
                <a:gd name="connsiteY5" fmla="*/ 133350 h 190500"/>
                <a:gd name="connsiteX6" fmla="*/ 35243 w 64595"/>
                <a:gd name="connsiteY6" fmla="*/ 6668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595" h="190500">
                  <a:moveTo>
                    <a:pt x="35243" y="6668"/>
                  </a:moveTo>
                  <a:lnTo>
                    <a:pt x="29527" y="0"/>
                  </a:lnTo>
                  <a:cubicBezTo>
                    <a:pt x="23813" y="46673"/>
                    <a:pt x="13335" y="91440"/>
                    <a:pt x="3810" y="126682"/>
                  </a:cubicBezTo>
                  <a:lnTo>
                    <a:pt x="0" y="144780"/>
                  </a:lnTo>
                  <a:lnTo>
                    <a:pt x="39052" y="190500"/>
                  </a:lnTo>
                  <a:lnTo>
                    <a:pt x="57150" y="133350"/>
                  </a:lnTo>
                  <a:cubicBezTo>
                    <a:pt x="72390" y="90488"/>
                    <a:pt x="63818" y="42863"/>
                    <a:pt x="35243" y="666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51247E5C-DA94-B7EA-CC21-0BF63593AA0D}"/>
                </a:ext>
              </a:extLst>
            </p:cNvPr>
            <p:cNvSpPr/>
            <p:nvPr/>
          </p:nvSpPr>
          <p:spPr>
            <a:xfrm>
              <a:off x="4495596" y="3859685"/>
              <a:ext cx="225742" cy="610552"/>
            </a:xfrm>
            <a:custGeom>
              <a:avLst/>
              <a:gdLst>
                <a:gd name="connsiteX0" fmla="*/ 171450 w 225742"/>
                <a:gd name="connsiteY0" fmla="*/ 66675 h 610552"/>
                <a:gd name="connsiteX1" fmla="*/ 117157 w 225742"/>
                <a:gd name="connsiteY1" fmla="*/ 3810 h 610552"/>
                <a:gd name="connsiteX2" fmla="*/ 112395 w 225742"/>
                <a:gd name="connsiteY2" fmla="*/ 0 h 610552"/>
                <a:gd name="connsiteX3" fmla="*/ 107633 w 225742"/>
                <a:gd name="connsiteY3" fmla="*/ 3810 h 610552"/>
                <a:gd name="connsiteX4" fmla="*/ 53340 w 225742"/>
                <a:gd name="connsiteY4" fmla="*/ 66675 h 610552"/>
                <a:gd name="connsiteX5" fmla="*/ 0 w 225742"/>
                <a:gd name="connsiteY5" fmla="*/ 249555 h 610552"/>
                <a:gd name="connsiteX6" fmla="*/ 36195 w 225742"/>
                <a:gd name="connsiteY6" fmla="*/ 465773 h 610552"/>
                <a:gd name="connsiteX7" fmla="*/ 38100 w 225742"/>
                <a:gd name="connsiteY7" fmla="*/ 471488 h 610552"/>
                <a:gd name="connsiteX8" fmla="*/ 63818 w 225742"/>
                <a:gd name="connsiteY8" fmla="*/ 471488 h 610552"/>
                <a:gd name="connsiteX9" fmla="*/ 59055 w 225742"/>
                <a:gd name="connsiteY9" fmla="*/ 503873 h 610552"/>
                <a:gd name="connsiteX10" fmla="*/ 107633 w 225742"/>
                <a:gd name="connsiteY10" fmla="*/ 603885 h 610552"/>
                <a:gd name="connsiteX11" fmla="*/ 113348 w 225742"/>
                <a:gd name="connsiteY11" fmla="*/ 610553 h 610552"/>
                <a:gd name="connsiteX12" fmla="*/ 119063 w 225742"/>
                <a:gd name="connsiteY12" fmla="*/ 603885 h 610552"/>
                <a:gd name="connsiteX13" fmla="*/ 167640 w 225742"/>
                <a:gd name="connsiteY13" fmla="*/ 503873 h 610552"/>
                <a:gd name="connsiteX14" fmla="*/ 162878 w 225742"/>
                <a:gd name="connsiteY14" fmla="*/ 471488 h 610552"/>
                <a:gd name="connsiteX15" fmla="*/ 187643 w 225742"/>
                <a:gd name="connsiteY15" fmla="*/ 471488 h 610552"/>
                <a:gd name="connsiteX16" fmla="*/ 189548 w 225742"/>
                <a:gd name="connsiteY16" fmla="*/ 465773 h 610552"/>
                <a:gd name="connsiteX17" fmla="*/ 225743 w 225742"/>
                <a:gd name="connsiteY17" fmla="*/ 249555 h 610552"/>
                <a:gd name="connsiteX18" fmla="*/ 171450 w 225742"/>
                <a:gd name="connsiteY18" fmla="*/ 66675 h 610552"/>
                <a:gd name="connsiteX19" fmla="*/ 113348 w 225742"/>
                <a:gd name="connsiteY19" fmla="*/ 563880 h 610552"/>
                <a:gd name="connsiteX20" fmla="*/ 87630 w 225742"/>
                <a:gd name="connsiteY20" fmla="*/ 502920 h 610552"/>
                <a:gd name="connsiteX21" fmla="*/ 91440 w 225742"/>
                <a:gd name="connsiteY21" fmla="*/ 480060 h 610552"/>
                <a:gd name="connsiteX22" fmla="*/ 95250 w 225742"/>
                <a:gd name="connsiteY22" fmla="*/ 469583 h 610552"/>
                <a:gd name="connsiteX23" fmla="*/ 110490 w 225742"/>
                <a:gd name="connsiteY23" fmla="*/ 469583 h 610552"/>
                <a:gd name="connsiteX24" fmla="*/ 117157 w 225742"/>
                <a:gd name="connsiteY24" fmla="*/ 469583 h 610552"/>
                <a:gd name="connsiteX25" fmla="*/ 132398 w 225742"/>
                <a:gd name="connsiteY25" fmla="*/ 469583 h 610552"/>
                <a:gd name="connsiteX26" fmla="*/ 136208 w 225742"/>
                <a:gd name="connsiteY26" fmla="*/ 480060 h 610552"/>
                <a:gd name="connsiteX27" fmla="*/ 140018 w 225742"/>
                <a:gd name="connsiteY27" fmla="*/ 502920 h 610552"/>
                <a:gd name="connsiteX28" fmla="*/ 113348 w 225742"/>
                <a:gd name="connsiteY28" fmla="*/ 563880 h 610552"/>
                <a:gd name="connsiteX29" fmla="*/ 160973 w 225742"/>
                <a:gd name="connsiteY29" fmla="*/ 303848 h 610552"/>
                <a:gd name="connsiteX30" fmla="*/ 112395 w 225742"/>
                <a:gd name="connsiteY30" fmla="*/ 332423 h 610552"/>
                <a:gd name="connsiteX31" fmla="*/ 63818 w 225742"/>
                <a:gd name="connsiteY31" fmla="*/ 303848 h 610552"/>
                <a:gd name="connsiteX32" fmla="*/ 63818 w 225742"/>
                <a:gd name="connsiteY32" fmla="*/ 247650 h 610552"/>
                <a:gd name="connsiteX33" fmla="*/ 112395 w 225742"/>
                <a:gd name="connsiteY33" fmla="*/ 219075 h 610552"/>
                <a:gd name="connsiteX34" fmla="*/ 160973 w 225742"/>
                <a:gd name="connsiteY34" fmla="*/ 247650 h 610552"/>
                <a:gd name="connsiteX35" fmla="*/ 160973 w 225742"/>
                <a:gd name="connsiteY35" fmla="*/ 303848 h 610552"/>
                <a:gd name="connsiteX36" fmla="*/ 152400 w 225742"/>
                <a:gd name="connsiteY36" fmla="*/ 120015 h 610552"/>
                <a:gd name="connsiteX37" fmla="*/ 139065 w 225742"/>
                <a:gd name="connsiteY37" fmla="*/ 124778 h 610552"/>
                <a:gd name="connsiteX38" fmla="*/ 112395 w 225742"/>
                <a:gd name="connsiteY38" fmla="*/ 128588 h 610552"/>
                <a:gd name="connsiteX39" fmla="*/ 85725 w 225742"/>
                <a:gd name="connsiteY39" fmla="*/ 124778 h 610552"/>
                <a:gd name="connsiteX40" fmla="*/ 72390 w 225742"/>
                <a:gd name="connsiteY40" fmla="*/ 120015 h 610552"/>
                <a:gd name="connsiteX41" fmla="*/ 59055 w 225742"/>
                <a:gd name="connsiteY41" fmla="*/ 114300 h 610552"/>
                <a:gd name="connsiteX42" fmla="*/ 64770 w 225742"/>
                <a:gd name="connsiteY42" fmla="*/ 102870 h 610552"/>
                <a:gd name="connsiteX43" fmla="*/ 65723 w 225742"/>
                <a:gd name="connsiteY43" fmla="*/ 100965 h 610552"/>
                <a:gd name="connsiteX44" fmla="*/ 66675 w 225742"/>
                <a:gd name="connsiteY44" fmla="*/ 98108 h 610552"/>
                <a:gd name="connsiteX45" fmla="*/ 68580 w 225742"/>
                <a:gd name="connsiteY45" fmla="*/ 94298 h 610552"/>
                <a:gd name="connsiteX46" fmla="*/ 70485 w 225742"/>
                <a:gd name="connsiteY46" fmla="*/ 91440 h 610552"/>
                <a:gd name="connsiteX47" fmla="*/ 76200 w 225742"/>
                <a:gd name="connsiteY47" fmla="*/ 81915 h 610552"/>
                <a:gd name="connsiteX48" fmla="*/ 112395 w 225742"/>
                <a:gd name="connsiteY48" fmla="*/ 38100 h 610552"/>
                <a:gd name="connsiteX49" fmla="*/ 147638 w 225742"/>
                <a:gd name="connsiteY49" fmla="*/ 81915 h 610552"/>
                <a:gd name="connsiteX50" fmla="*/ 153353 w 225742"/>
                <a:gd name="connsiteY50" fmla="*/ 91440 h 610552"/>
                <a:gd name="connsiteX51" fmla="*/ 157163 w 225742"/>
                <a:gd name="connsiteY51" fmla="*/ 98108 h 610552"/>
                <a:gd name="connsiteX52" fmla="*/ 157163 w 225742"/>
                <a:gd name="connsiteY52" fmla="*/ 98108 h 610552"/>
                <a:gd name="connsiteX53" fmla="*/ 158115 w 225742"/>
                <a:gd name="connsiteY53" fmla="*/ 100013 h 610552"/>
                <a:gd name="connsiteX54" fmla="*/ 159068 w 225742"/>
                <a:gd name="connsiteY54" fmla="*/ 101918 h 610552"/>
                <a:gd name="connsiteX55" fmla="*/ 164783 w 225742"/>
                <a:gd name="connsiteY55" fmla="*/ 113348 h 610552"/>
                <a:gd name="connsiteX56" fmla="*/ 152400 w 225742"/>
                <a:gd name="connsiteY56" fmla="*/ 120015 h 610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25742" h="610552">
                  <a:moveTo>
                    <a:pt x="171450" y="66675"/>
                  </a:moveTo>
                  <a:cubicBezTo>
                    <a:pt x="144780" y="25718"/>
                    <a:pt x="118110" y="4763"/>
                    <a:pt x="117157" y="3810"/>
                  </a:cubicBezTo>
                  <a:lnTo>
                    <a:pt x="112395" y="0"/>
                  </a:lnTo>
                  <a:lnTo>
                    <a:pt x="107633" y="3810"/>
                  </a:lnTo>
                  <a:cubicBezTo>
                    <a:pt x="106680" y="4763"/>
                    <a:pt x="80010" y="25718"/>
                    <a:pt x="53340" y="66675"/>
                  </a:cubicBezTo>
                  <a:cubicBezTo>
                    <a:pt x="28575" y="104775"/>
                    <a:pt x="0" y="166688"/>
                    <a:pt x="0" y="249555"/>
                  </a:cubicBezTo>
                  <a:cubicBezTo>
                    <a:pt x="0" y="329565"/>
                    <a:pt x="20955" y="411480"/>
                    <a:pt x="36195" y="465773"/>
                  </a:cubicBezTo>
                  <a:lnTo>
                    <a:pt x="38100" y="471488"/>
                  </a:lnTo>
                  <a:lnTo>
                    <a:pt x="63818" y="471488"/>
                  </a:lnTo>
                  <a:cubicBezTo>
                    <a:pt x="60960" y="481013"/>
                    <a:pt x="59055" y="491490"/>
                    <a:pt x="59055" y="503873"/>
                  </a:cubicBezTo>
                  <a:cubicBezTo>
                    <a:pt x="59055" y="548640"/>
                    <a:pt x="105728" y="601980"/>
                    <a:pt x="107633" y="603885"/>
                  </a:cubicBezTo>
                  <a:lnTo>
                    <a:pt x="113348" y="610553"/>
                  </a:lnTo>
                  <a:lnTo>
                    <a:pt x="119063" y="603885"/>
                  </a:lnTo>
                  <a:cubicBezTo>
                    <a:pt x="120968" y="601980"/>
                    <a:pt x="167640" y="548640"/>
                    <a:pt x="167640" y="503873"/>
                  </a:cubicBezTo>
                  <a:cubicBezTo>
                    <a:pt x="167640" y="491490"/>
                    <a:pt x="165735" y="481013"/>
                    <a:pt x="162878" y="471488"/>
                  </a:cubicBezTo>
                  <a:lnTo>
                    <a:pt x="187643" y="471488"/>
                  </a:lnTo>
                  <a:lnTo>
                    <a:pt x="189548" y="465773"/>
                  </a:lnTo>
                  <a:cubicBezTo>
                    <a:pt x="204788" y="411480"/>
                    <a:pt x="225743" y="329565"/>
                    <a:pt x="225743" y="249555"/>
                  </a:cubicBezTo>
                  <a:cubicBezTo>
                    <a:pt x="224790" y="166688"/>
                    <a:pt x="195263" y="103823"/>
                    <a:pt x="171450" y="66675"/>
                  </a:cubicBezTo>
                  <a:close/>
                  <a:moveTo>
                    <a:pt x="113348" y="563880"/>
                  </a:moveTo>
                  <a:cubicBezTo>
                    <a:pt x="100013" y="544830"/>
                    <a:pt x="87630" y="520065"/>
                    <a:pt x="87630" y="502920"/>
                  </a:cubicBezTo>
                  <a:cubicBezTo>
                    <a:pt x="87630" y="494348"/>
                    <a:pt x="88583" y="486728"/>
                    <a:pt x="91440" y="480060"/>
                  </a:cubicBezTo>
                  <a:lnTo>
                    <a:pt x="95250" y="469583"/>
                  </a:lnTo>
                  <a:lnTo>
                    <a:pt x="110490" y="469583"/>
                  </a:lnTo>
                  <a:lnTo>
                    <a:pt x="117157" y="469583"/>
                  </a:lnTo>
                  <a:lnTo>
                    <a:pt x="132398" y="469583"/>
                  </a:lnTo>
                  <a:lnTo>
                    <a:pt x="136208" y="480060"/>
                  </a:lnTo>
                  <a:cubicBezTo>
                    <a:pt x="138113" y="486728"/>
                    <a:pt x="140018" y="494348"/>
                    <a:pt x="140018" y="502920"/>
                  </a:cubicBezTo>
                  <a:cubicBezTo>
                    <a:pt x="139065" y="521018"/>
                    <a:pt x="125730" y="544830"/>
                    <a:pt x="113348" y="563880"/>
                  </a:cubicBezTo>
                  <a:close/>
                  <a:moveTo>
                    <a:pt x="160973" y="303848"/>
                  </a:moveTo>
                  <a:lnTo>
                    <a:pt x="112395" y="332423"/>
                  </a:lnTo>
                  <a:lnTo>
                    <a:pt x="63818" y="303848"/>
                  </a:lnTo>
                  <a:lnTo>
                    <a:pt x="63818" y="247650"/>
                  </a:lnTo>
                  <a:lnTo>
                    <a:pt x="112395" y="219075"/>
                  </a:lnTo>
                  <a:lnTo>
                    <a:pt x="160973" y="247650"/>
                  </a:lnTo>
                  <a:lnTo>
                    <a:pt x="160973" y="303848"/>
                  </a:lnTo>
                  <a:close/>
                  <a:moveTo>
                    <a:pt x="152400" y="120015"/>
                  </a:moveTo>
                  <a:cubicBezTo>
                    <a:pt x="147638" y="121920"/>
                    <a:pt x="143828" y="122873"/>
                    <a:pt x="139065" y="124778"/>
                  </a:cubicBezTo>
                  <a:cubicBezTo>
                    <a:pt x="130493" y="126683"/>
                    <a:pt x="121920" y="128588"/>
                    <a:pt x="112395" y="128588"/>
                  </a:cubicBezTo>
                  <a:cubicBezTo>
                    <a:pt x="103823" y="128588"/>
                    <a:pt x="94298" y="127635"/>
                    <a:pt x="85725" y="124778"/>
                  </a:cubicBezTo>
                  <a:cubicBezTo>
                    <a:pt x="80963" y="123825"/>
                    <a:pt x="76200" y="121920"/>
                    <a:pt x="72390" y="120015"/>
                  </a:cubicBezTo>
                  <a:cubicBezTo>
                    <a:pt x="67628" y="118110"/>
                    <a:pt x="63818" y="116205"/>
                    <a:pt x="59055" y="114300"/>
                  </a:cubicBezTo>
                  <a:cubicBezTo>
                    <a:pt x="60960" y="110490"/>
                    <a:pt x="62865" y="106680"/>
                    <a:pt x="64770" y="102870"/>
                  </a:cubicBezTo>
                  <a:cubicBezTo>
                    <a:pt x="64770" y="101918"/>
                    <a:pt x="65723" y="101918"/>
                    <a:pt x="65723" y="100965"/>
                  </a:cubicBezTo>
                  <a:cubicBezTo>
                    <a:pt x="65723" y="100013"/>
                    <a:pt x="66675" y="99060"/>
                    <a:pt x="66675" y="98108"/>
                  </a:cubicBezTo>
                  <a:cubicBezTo>
                    <a:pt x="67628" y="97155"/>
                    <a:pt x="68580" y="95250"/>
                    <a:pt x="68580" y="94298"/>
                  </a:cubicBezTo>
                  <a:cubicBezTo>
                    <a:pt x="69533" y="93345"/>
                    <a:pt x="69533" y="92393"/>
                    <a:pt x="70485" y="91440"/>
                  </a:cubicBezTo>
                  <a:cubicBezTo>
                    <a:pt x="72390" y="88583"/>
                    <a:pt x="74295" y="84773"/>
                    <a:pt x="76200" y="81915"/>
                  </a:cubicBezTo>
                  <a:cubicBezTo>
                    <a:pt x="90488" y="61913"/>
                    <a:pt x="102870" y="47625"/>
                    <a:pt x="112395" y="38100"/>
                  </a:cubicBezTo>
                  <a:cubicBezTo>
                    <a:pt x="121920" y="47625"/>
                    <a:pt x="134303" y="61913"/>
                    <a:pt x="147638" y="81915"/>
                  </a:cubicBezTo>
                  <a:cubicBezTo>
                    <a:pt x="149543" y="84773"/>
                    <a:pt x="151448" y="88583"/>
                    <a:pt x="153353" y="91440"/>
                  </a:cubicBezTo>
                  <a:cubicBezTo>
                    <a:pt x="154305" y="93345"/>
                    <a:pt x="156210" y="95250"/>
                    <a:pt x="157163" y="98108"/>
                  </a:cubicBezTo>
                  <a:cubicBezTo>
                    <a:pt x="157163" y="98108"/>
                    <a:pt x="157163" y="98108"/>
                    <a:pt x="157163" y="98108"/>
                  </a:cubicBezTo>
                  <a:cubicBezTo>
                    <a:pt x="157163" y="99060"/>
                    <a:pt x="158115" y="100013"/>
                    <a:pt x="158115" y="100013"/>
                  </a:cubicBezTo>
                  <a:cubicBezTo>
                    <a:pt x="158115" y="100965"/>
                    <a:pt x="159068" y="100965"/>
                    <a:pt x="159068" y="101918"/>
                  </a:cubicBezTo>
                  <a:cubicBezTo>
                    <a:pt x="160973" y="105728"/>
                    <a:pt x="162878" y="109538"/>
                    <a:pt x="164783" y="113348"/>
                  </a:cubicBezTo>
                  <a:cubicBezTo>
                    <a:pt x="160973" y="116205"/>
                    <a:pt x="157163" y="118110"/>
                    <a:pt x="152400" y="120015"/>
                  </a:cubicBez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339" name="Graphic 338">
            <a:extLst>
              <a:ext uri="{FF2B5EF4-FFF2-40B4-BE49-F238E27FC236}">
                <a16:creationId xmlns:a16="http://schemas.microsoft.com/office/drawing/2014/main" id="{C5414770-6547-742C-8445-6DE4F92E8B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58896" y="3356633"/>
            <a:ext cx="609600" cy="609600"/>
          </a:xfrm>
          <a:prstGeom prst="rect">
            <a:avLst/>
          </a:prstGeom>
        </p:spPr>
      </p:pic>
      <p:pic>
        <p:nvPicPr>
          <p:cNvPr id="341" name="Graphic 340">
            <a:extLst>
              <a:ext uri="{FF2B5EF4-FFF2-40B4-BE49-F238E27FC236}">
                <a16:creationId xmlns:a16="http://schemas.microsoft.com/office/drawing/2014/main" id="{E9E9DF93-23A8-18DC-0D9C-3EC2FA789A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40466" y="3577538"/>
            <a:ext cx="609600" cy="609600"/>
          </a:xfrm>
          <a:prstGeom prst="rect">
            <a:avLst/>
          </a:prstGeom>
        </p:spPr>
      </p:pic>
      <p:sp>
        <p:nvSpPr>
          <p:cNvPr id="343" name="Text Placeholder 81">
            <a:extLst>
              <a:ext uri="{FF2B5EF4-FFF2-40B4-BE49-F238E27FC236}">
                <a16:creationId xmlns:a16="http://schemas.microsoft.com/office/drawing/2014/main" id="{F514BED8-A268-8A2E-919A-40B9DF3CC215}"/>
              </a:ext>
            </a:extLst>
          </p:cNvPr>
          <p:cNvSpPr txBox="1">
            <a:spLocks/>
          </p:cNvSpPr>
          <p:nvPr/>
        </p:nvSpPr>
        <p:spPr>
          <a:xfrm>
            <a:off x="7650319" y="3325150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dirty="0">
                <a:ea typeface="+mn-lt"/>
                <a:cs typeface="+mn-lt"/>
              </a:rPr>
              <a:t>Wind Turbine</a:t>
            </a:r>
          </a:p>
        </p:txBody>
      </p:sp>
      <p:sp>
        <p:nvSpPr>
          <p:cNvPr id="345" name="Text Placeholder 81">
            <a:extLst>
              <a:ext uri="{FF2B5EF4-FFF2-40B4-BE49-F238E27FC236}">
                <a16:creationId xmlns:a16="http://schemas.microsoft.com/office/drawing/2014/main" id="{76BBF776-BCE6-0823-4DB2-98232697CD2C}"/>
              </a:ext>
            </a:extLst>
          </p:cNvPr>
          <p:cNvSpPr txBox="1">
            <a:spLocks/>
          </p:cNvSpPr>
          <p:nvPr/>
        </p:nvSpPr>
        <p:spPr>
          <a:xfrm>
            <a:off x="162479" y="3296685"/>
            <a:ext cx="1136506" cy="3046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Machine,   </a:t>
            </a:r>
            <a:br>
              <a:rPr lang="en-US" dirty="0"/>
            </a:br>
            <a:r>
              <a:rPr lang="en-US" dirty="0"/>
              <a:t>Robot Arm</a:t>
            </a:r>
          </a:p>
        </p:txBody>
      </p:sp>
      <p:pic>
        <p:nvPicPr>
          <p:cNvPr id="346" name="Graphic 345">
            <a:extLst>
              <a:ext uri="{FF2B5EF4-FFF2-40B4-BE49-F238E27FC236}">
                <a16:creationId xmlns:a16="http://schemas.microsoft.com/office/drawing/2014/main" id="{6896AEAE-D027-339A-7B6B-A6C5351C602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5932" y="3672837"/>
            <a:ext cx="609600" cy="6096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DD10E37-152C-2214-5697-0A473EFE9DB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000815" y="2038857"/>
            <a:ext cx="622300" cy="5461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C882F46-D84D-7793-FDB3-17B26835BA0F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6885" r="6265"/>
          <a:stretch/>
        </p:blipFill>
        <p:spPr>
          <a:xfrm>
            <a:off x="967745" y="2007107"/>
            <a:ext cx="529443" cy="6096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B4EAB3AB-6C80-064B-A128-45EE32D2165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788240" y="2007107"/>
            <a:ext cx="609600" cy="6096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8C49EE67-3C5A-B9D1-AB07-D3A31173CF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608223" y="2007107"/>
            <a:ext cx="609600" cy="6096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CC4464D-96CD-F335-78FE-8A1CC36955D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724853" y="3538468"/>
            <a:ext cx="609600" cy="6096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2A796DC7-8EDD-D355-2568-FF2E40B2CB9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278830" y="3549746"/>
            <a:ext cx="609600" cy="609600"/>
          </a:xfrm>
          <a:prstGeom prst="rect">
            <a:avLst/>
          </a:prstGeom>
        </p:spPr>
      </p:pic>
      <p:sp>
        <p:nvSpPr>
          <p:cNvPr id="4" name="Text Placeholder 81">
            <a:extLst>
              <a:ext uri="{FF2B5EF4-FFF2-40B4-BE49-F238E27FC236}">
                <a16:creationId xmlns:a16="http://schemas.microsoft.com/office/drawing/2014/main" id="{101CA84B-F5B0-1659-478A-078694B16D9E}"/>
              </a:ext>
            </a:extLst>
          </p:cNvPr>
          <p:cNvSpPr txBox="1">
            <a:spLocks/>
          </p:cNvSpPr>
          <p:nvPr/>
        </p:nvSpPr>
        <p:spPr>
          <a:xfrm>
            <a:off x="1015377" y="3296685"/>
            <a:ext cx="1136506" cy="1523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igger</a:t>
            </a:r>
          </a:p>
        </p:txBody>
      </p:sp>
      <p:sp>
        <p:nvSpPr>
          <p:cNvPr id="12" name="Text Placeholder 81">
            <a:extLst>
              <a:ext uri="{FF2B5EF4-FFF2-40B4-BE49-F238E27FC236}">
                <a16:creationId xmlns:a16="http://schemas.microsoft.com/office/drawing/2014/main" id="{7E550350-0562-BDEC-FE76-43D637884F55}"/>
              </a:ext>
            </a:extLst>
          </p:cNvPr>
          <p:cNvSpPr txBox="1">
            <a:spLocks/>
          </p:cNvSpPr>
          <p:nvPr/>
        </p:nvSpPr>
        <p:spPr>
          <a:xfrm>
            <a:off x="8801232" y="3325150"/>
            <a:ext cx="566861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dirty="0">
                <a:ea typeface="+mn-lt"/>
                <a:cs typeface="+mn-lt"/>
              </a:rPr>
              <a:t>Oil Rig</a:t>
            </a:r>
          </a:p>
        </p:txBody>
      </p:sp>
      <p:sp>
        <p:nvSpPr>
          <p:cNvPr id="15" name="Text Placeholder 81">
            <a:extLst>
              <a:ext uri="{FF2B5EF4-FFF2-40B4-BE49-F238E27FC236}">
                <a16:creationId xmlns:a16="http://schemas.microsoft.com/office/drawing/2014/main" id="{AB350DE3-456E-AD91-A966-C30B1E2BEDAA}"/>
              </a:ext>
            </a:extLst>
          </p:cNvPr>
          <p:cNvSpPr txBox="1">
            <a:spLocks/>
          </p:cNvSpPr>
          <p:nvPr/>
        </p:nvSpPr>
        <p:spPr>
          <a:xfrm>
            <a:off x="356880" y="585982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igital Twin</a:t>
            </a:r>
          </a:p>
        </p:txBody>
      </p:sp>
      <p:sp>
        <p:nvSpPr>
          <p:cNvPr id="17" name="object 11">
            <a:extLst>
              <a:ext uri="{FF2B5EF4-FFF2-40B4-BE49-F238E27FC236}">
                <a16:creationId xmlns:a16="http://schemas.microsoft.com/office/drawing/2014/main" id="{D3808073-4DBD-A1EC-D667-C6CF4D67B043}"/>
              </a:ext>
            </a:extLst>
          </p:cNvPr>
          <p:cNvSpPr txBox="1"/>
          <p:nvPr/>
        </p:nvSpPr>
        <p:spPr>
          <a:xfrm>
            <a:off x="4610435" y="5859821"/>
            <a:ext cx="66943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Agile</a:t>
            </a:r>
          </a:p>
        </p:txBody>
      </p:sp>
      <p:sp>
        <p:nvSpPr>
          <p:cNvPr id="20" name="object 41">
            <a:extLst>
              <a:ext uri="{FF2B5EF4-FFF2-40B4-BE49-F238E27FC236}">
                <a16:creationId xmlns:a16="http://schemas.microsoft.com/office/drawing/2014/main" id="{A200980B-A98A-5C84-BF6C-28DEB1D25D57}"/>
              </a:ext>
            </a:extLst>
          </p:cNvPr>
          <p:cNvSpPr txBox="1"/>
          <p:nvPr/>
        </p:nvSpPr>
        <p:spPr>
          <a:xfrm>
            <a:off x="1586387" y="5859822"/>
            <a:ext cx="1505743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igital Thread</a:t>
            </a:r>
            <a:endParaRPr dirty="0"/>
          </a:p>
        </p:txBody>
      </p:sp>
      <p:sp>
        <p:nvSpPr>
          <p:cNvPr id="21" name="object 49">
            <a:extLst>
              <a:ext uri="{FF2B5EF4-FFF2-40B4-BE49-F238E27FC236}">
                <a16:creationId xmlns:a16="http://schemas.microsoft.com/office/drawing/2014/main" id="{630F8BAA-4172-CDC0-8B89-F8D1C2BC15F6}"/>
              </a:ext>
            </a:extLst>
          </p:cNvPr>
          <p:cNvSpPr txBox="1"/>
          <p:nvPr/>
        </p:nvSpPr>
        <p:spPr>
          <a:xfrm>
            <a:off x="3258645" y="5859821"/>
            <a:ext cx="998084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V-Model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A2316E4E-39F0-FDEC-4E58-4E66E74E8987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10630" y="5986586"/>
            <a:ext cx="731520" cy="73152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6D721DEA-3D61-5B47-633E-64938DFD76B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412419" y="6078026"/>
            <a:ext cx="697230" cy="54864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77454686-E070-5AA1-148A-00F322CB1DA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4663245" y="6078026"/>
            <a:ext cx="697230" cy="54864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215DE3C1-371F-1E6C-7D07-505519501927}"/>
              </a:ext>
            </a:extLst>
          </p:cNvPr>
          <p:cNvGrpSpPr/>
          <p:nvPr/>
        </p:nvGrpSpPr>
        <p:grpSpPr>
          <a:xfrm>
            <a:off x="1937260" y="6046022"/>
            <a:ext cx="780049" cy="612648"/>
            <a:chOff x="1937260" y="6046022"/>
            <a:chExt cx="780049" cy="61264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A1661B1-C639-A7B6-DB59-AB96D87D1A13}"/>
                </a:ext>
              </a:extLst>
            </p:cNvPr>
            <p:cNvSpPr/>
            <p:nvPr/>
          </p:nvSpPr>
          <p:spPr>
            <a:xfrm flipH="1">
              <a:off x="2306321" y="6046022"/>
              <a:ext cx="404794" cy="125470"/>
            </a:xfrm>
            <a:custGeom>
              <a:avLst/>
              <a:gdLst>
                <a:gd name="connsiteX0" fmla="*/ 209736 w 401332"/>
                <a:gd name="connsiteY0" fmla="*/ 0 h 124397"/>
                <a:gd name="connsiteX1" fmla="*/ 401332 w 401332"/>
                <a:gd name="connsiteY1" fmla="*/ 79724 h 124397"/>
                <a:gd name="connsiteX2" fmla="*/ 381303 w 401332"/>
                <a:gd name="connsiteY2" fmla="*/ 99917 h 124397"/>
                <a:gd name="connsiteX3" fmla="*/ 209736 w 401332"/>
                <a:gd name="connsiteY3" fmla="*/ 28575 h 124397"/>
                <a:gd name="connsiteX4" fmla="*/ 43836 w 401332"/>
                <a:gd name="connsiteY4" fmla="*/ 94393 h 124397"/>
                <a:gd name="connsiteX5" fmla="*/ 63487 w 401332"/>
                <a:gd name="connsiteY5" fmla="*/ 112586 h 124397"/>
                <a:gd name="connsiteX6" fmla="*/ 0 w 401332"/>
                <a:gd name="connsiteY6" fmla="*/ 124397 h 124397"/>
                <a:gd name="connsiteX7" fmla="*/ 6330 w 401332"/>
                <a:gd name="connsiteY7" fmla="*/ 59627 h 124397"/>
                <a:gd name="connsiteX8" fmla="*/ 22863 w 401332"/>
                <a:gd name="connsiteY8" fmla="*/ 74962 h 124397"/>
                <a:gd name="connsiteX9" fmla="*/ 209736 w 401332"/>
                <a:gd name="connsiteY9" fmla="*/ 0 h 124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1332" h="124397">
                  <a:moveTo>
                    <a:pt x="209736" y="0"/>
                  </a:moveTo>
                  <a:cubicBezTo>
                    <a:pt x="277097" y="0"/>
                    <a:pt x="348615" y="26575"/>
                    <a:pt x="401332" y="79724"/>
                  </a:cubicBezTo>
                  <a:lnTo>
                    <a:pt x="381303" y="99917"/>
                  </a:lnTo>
                  <a:cubicBezTo>
                    <a:pt x="334160" y="52388"/>
                    <a:pt x="271900" y="28575"/>
                    <a:pt x="209736" y="28575"/>
                  </a:cubicBezTo>
                  <a:cubicBezTo>
                    <a:pt x="147571" y="28575"/>
                    <a:pt x="90318" y="50483"/>
                    <a:pt x="43836" y="94393"/>
                  </a:cubicBezTo>
                  <a:lnTo>
                    <a:pt x="63487" y="112586"/>
                  </a:lnTo>
                  <a:lnTo>
                    <a:pt x="0" y="124397"/>
                  </a:lnTo>
                  <a:lnTo>
                    <a:pt x="6330" y="59627"/>
                  </a:lnTo>
                  <a:lnTo>
                    <a:pt x="22863" y="74962"/>
                  </a:lnTo>
                  <a:cubicBezTo>
                    <a:pt x="75013" y="25051"/>
                    <a:pt x="142374" y="0"/>
                    <a:pt x="209736" y="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7176F8F-A636-C259-3AE4-6466E613B208}"/>
                </a:ext>
              </a:extLst>
            </p:cNvPr>
            <p:cNvSpPr/>
            <p:nvPr/>
          </p:nvSpPr>
          <p:spPr>
            <a:xfrm>
              <a:off x="2141373" y="6371224"/>
              <a:ext cx="165710" cy="171006"/>
            </a:xfrm>
            <a:custGeom>
              <a:avLst/>
              <a:gdLst>
                <a:gd name="connsiteX0" fmla="*/ 94 w 164293"/>
                <a:gd name="connsiteY0" fmla="*/ 72295 h 169544"/>
                <a:gd name="connsiteX1" fmla="*/ 51773 w 164293"/>
                <a:gd name="connsiteY1" fmla="*/ 46101 h 169544"/>
                <a:gd name="connsiteX2" fmla="*/ 97499 w 164293"/>
                <a:gd name="connsiteY2" fmla="*/ 0 h 169544"/>
                <a:gd name="connsiteX3" fmla="*/ 164293 w 164293"/>
                <a:gd name="connsiteY3" fmla="*/ 67342 h 169544"/>
                <a:gd name="connsiteX4" fmla="*/ 116961 w 164293"/>
                <a:gd name="connsiteY4" fmla="*/ 115062 h 169544"/>
                <a:gd name="connsiteX5" fmla="*/ 0 w 164293"/>
                <a:gd name="connsiteY5" fmla="*/ 169545 h 169544"/>
                <a:gd name="connsiteX6" fmla="*/ 0 w 164293"/>
                <a:gd name="connsiteY6" fmla="*/ 72390 h 16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293" h="169544">
                  <a:moveTo>
                    <a:pt x="94" y="72295"/>
                  </a:moveTo>
                  <a:cubicBezTo>
                    <a:pt x="19084" y="69437"/>
                    <a:pt x="37318" y="60674"/>
                    <a:pt x="51773" y="46101"/>
                  </a:cubicBezTo>
                  <a:lnTo>
                    <a:pt x="97499" y="0"/>
                  </a:lnTo>
                  <a:lnTo>
                    <a:pt x="164293" y="67342"/>
                  </a:lnTo>
                  <a:lnTo>
                    <a:pt x="116961" y="115062"/>
                  </a:lnTo>
                  <a:cubicBezTo>
                    <a:pt x="84461" y="147828"/>
                    <a:pt x="42703" y="166021"/>
                    <a:pt x="0" y="169545"/>
                  </a:cubicBezTo>
                  <a:lnTo>
                    <a:pt x="0" y="72390"/>
                  </a:lnTo>
                  <a:close/>
                </a:path>
              </a:pathLst>
            </a:custGeom>
            <a:solidFill>
              <a:schemeClr val="accent1"/>
            </a:solidFill>
            <a:ln w="94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5E38A15-0927-7EE0-075B-9D5F0E906D2D}"/>
                </a:ext>
              </a:extLst>
            </p:cNvPr>
            <p:cNvSpPr/>
            <p:nvPr/>
          </p:nvSpPr>
          <p:spPr>
            <a:xfrm>
              <a:off x="1937260" y="6366805"/>
              <a:ext cx="175620" cy="175618"/>
            </a:xfrm>
            <a:custGeom>
              <a:avLst/>
              <a:gdLst>
                <a:gd name="connsiteX0" fmla="*/ 96743 w 174118"/>
                <a:gd name="connsiteY0" fmla="*/ 0 h 174116"/>
                <a:gd name="connsiteX1" fmla="*/ 174119 w 174118"/>
                <a:gd name="connsiteY1" fmla="*/ 76676 h 174116"/>
                <a:gd name="connsiteX2" fmla="*/ 174119 w 174118"/>
                <a:gd name="connsiteY2" fmla="*/ 174117 h 174116"/>
                <a:gd name="connsiteX3" fmla="*/ 54229 w 174118"/>
                <a:gd name="connsiteY3" fmla="*/ 119444 h 174116"/>
                <a:gd name="connsiteX4" fmla="*/ 54229 w 174118"/>
                <a:gd name="connsiteY4" fmla="*/ 119444 h 174116"/>
                <a:gd name="connsiteX5" fmla="*/ 0 w 174118"/>
                <a:gd name="connsiteY5" fmla="*/ 0 h 174116"/>
                <a:gd name="connsiteX6" fmla="*/ 96743 w 174118"/>
                <a:gd name="connsiteY6" fmla="*/ 0 h 17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118" h="174116">
                  <a:moveTo>
                    <a:pt x="96743" y="0"/>
                  </a:moveTo>
                  <a:cubicBezTo>
                    <a:pt x="103356" y="39815"/>
                    <a:pt x="134439" y="70675"/>
                    <a:pt x="174119" y="76676"/>
                  </a:cubicBezTo>
                  <a:lnTo>
                    <a:pt x="174119" y="174117"/>
                  </a:lnTo>
                  <a:cubicBezTo>
                    <a:pt x="130376" y="171164"/>
                    <a:pt x="87484" y="152972"/>
                    <a:pt x="54229" y="119444"/>
                  </a:cubicBezTo>
                  <a:lnTo>
                    <a:pt x="54229" y="119444"/>
                  </a:lnTo>
                  <a:cubicBezTo>
                    <a:pt x="21257" y="86201"/>
                    <a:pt x="3212" y="43625"/>
                    <a:pt x="0" y="0"/>
                  </a:cubicBezTo>
                  <a:lnTo>
                    <a:pt x="96743" y="0"/>
                  </a:lnTo>
                  <a:close/>
                </a:path>
              </a:pathLst>
            </a:custGeom>
            <a:solidFill>
              <a:srgbClr val="3FAA48"/>
            </a:solidFill>
            <a:ln w="94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437F0A0-D47D-4DF6-47C5-5C81927CEFC1}"/>
                </a:ext>
              </a:extLst>
            </p:cNvPr>
            <p:cNvSpPr/>
            <p:nvPr/>
          </p:nvSpPr>
          <p:spPr>
            <a:xfrm>
              <a:off x="1937260" y="6162365"/>
              <a:ext cx="175620" cy="175618"/>
            </a:xfrm>
            <a:custGeom>
              <a:avLst/>
              <a:gdLst>
                <a:gd name="connsiteX0" fmla="*/ 174119 w 174118"/>
                <a:gd name="connsiteY0" fmla="*/ 94298 h 174116"/>
                <a:gd name="connsiteX1" fmla="*/ 96271 w 174118"/>
                <a:gd name="connsiteY1" fmla="*/ 174117 h 174116"/>
                <a:gd name="connsiteX2" fmla="*/ 0 w 174118"/>
                <a:gd name="connsiteY2" fmla="*/ 174117 h 174116"/>
                <a:gd name="connsiteX3" fmla="*/ 54135 w 174118"/>
                <a:gd name="connsiteY3" fmla="*/ 54673 h 174116"/>
                <a:gd name="connsiteX4" fmla="*/ 174119 w 174118"/>
                <a:gd name="connsiteY4" fmla="*/ 0 h 174116"/>
                <a:gd name="connsiteX5" fmla="*/ 174119 w 174118"/>
                <a:gd name="connsiteY5" fmla="*/ 94298 h 17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118" h="174116">
                  <a:moveTo>
                    <a:pt x="174119" y="94298"/>
                  </a:moveTo>
                  <a:cubicBezTo>
                    <a:pt x="133400" y="100489"/>
                    <a:pt x="101750" y="132779"/>
                    <a:pt x="96271" y="174117"/>
                  </a:cubicBezTo>
                  <a:lnTo>
                    <a:pt x="0" y="174117"/>
                  </a:lnTo>
                  <a:cubicBezTo>
                    <a:pt x="3212" y="130493"/>
                    <a:pt x="21257" y="87821"/>
                    <a:pt x="54135" y="54673"/>
                  </a:cubicBezTo>
                  <a:cubicBezTo>
                    <a:pt x="87390" y="21145"/>
                    <a:pt x="130282" y="2858"/>
                    <a:pt x="174119" y="0"/>
                  </a:cubicBezTo>
                  <a:lnTo>
                    <a:pt x="174119" y="94298"/>
                  </a:lnTo>
                  <a:close/>
                </a:path>
              </a:pathLst>
            </a:custGeom>
            <a:solidFill>
              <a:schemeClr val="accent1"/>
            </a:solidFill>
            <a:ln w="94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6410F73-3430-892E-5D07-8183BE2F24CC}"/>
                </a:ext>
              </a:extLst>
            </p:cNvPr>
            <p:cNvSpPr/>
            <p:nvPr/>
          </p:nvSpPr>
          <p:spPr>
            <a:xfrm>
              <a:off x="2347486" y="6162653"/>
              <a:ext cx="165615" cy="171006"/>
            </a:xfrm>
            <a:custGeom>
              <a:avLst/>
              <a:gdLst>
                <a:gd name="connsiteX0" fmla="*/ 164199 w 164198"/>
                <a:gd name="connsiteY0" fmla="*/ 97155 h 169544"/>
                <a:gd name="connsiteX1" fmla="*/ 112615 w 164198"/>
                <a:gd name="connsiteY1" fmla="*/ 123349 h 169544"/>
                <a:gd name="connsiteX2" fmla="*/ 66794 w 164198"/>
                <a:gd name="connsiteY2" fmla="*/ 169545 h 169544"/>
                <a:gd name="connsiteX3" fmla="*/ 0 w 164198"/>
                <a:gd name="connsiteY3" fmla="*/ 102203 h 169544"/>
                <a:gd name="connsiteX4" fmla="*/ 47332 w 164198"/>
                <a:gd name="connsiteY4" fmla="*/ 54483 h 169544"/>
                <a:gd name="connsiteX5" fmla="*/ 164199 w 164198"/>
                <a:gd name="connsiteY5" fmla="*/ 0 h 169544"/>
                <a:gd name="connsiteX6" fmla="*/ 164199 w 164198"/>
                <a:gd name="connsiteY6" fmla="*/ 97155 h 16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198" h="169544">
                  <a:moveTo>
                    <a:pt x="164199" y="97155"/>
                  </a:moveTo>
                  <a:cubicBezTo>
                    <a:pt x="145209" y="100013"/>
                    <a:pt x="126975" y="108776"/>
                    <a:pt x="112615" y="123349"/>
                  </a:cubicBezTo>
                  <a:lnTo>
                    <a:pt x="66794" y="169545"/>
                  </a:lnTo>
                  <a:lnTo>
                    <a:pt x="0" y="102203"/>
                  </a:lnTo>
                  <a:lnTo>
                    <a:pt x="47332" y="54483"/>
                  </a:lnTo>
                  <a:cubicBezTo>
                    <a:pt x="79832" y="21717"/>
                    <a:pt x="121496" y="3620"/>
                    <a:pt x="164199" y="0"/>
                  </a:cubicBezTo>
                  <a:lnTo>
                    <a:pt x="164199" y="97155"/>
                  </a:lnTo>
                  <a:close/>
                </a:path>
              </a:pathLst>
            </a:custGeom>
            <a:solidFill>
              <a:schemeClr val="tx1"/>
            </a:solidFill>
            <a:ln w="94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11B0FC-4B07-FD82-0343-E47CDCF91C26}"/>
                </a:ext>
              </a:extLst>
            </p:cNvPr>
            <p:cNvSpPr/>
            <p:nvPr/>
          </p:nvSpPr>
          <p:spPr>
            <a:xfrm>
              <a:off x="2541689" y="6162365"/>
              <a:ext cx="175620" cy="175618"/>
            </a:xfrm>
            <a:custGeom>
              <a:avLst/>
              <a:gdLst>
                <a:gd name="connsiteX0" fmla="*/ 77376 w 174118"/>
                <a:gd name="connsiteY0" fmla="*/ 174117 h 174116"/>
                <a:gd name="connsiteX1" fmla="*/ 0 w 174118"/>
                <a:gd name="connsiteY1" fmla="*/ 97441 h 174116"/>
                <a:gd name="connsiteX2" fmla="*/ 0 w 174118"/>
                <a:gd name="connsiteY2" fmla="*/ 0 h 174116"/>
                <a:gd name="connsiteX3" fmla="*/ 119984 w 174118"/>
                <a:gd name="connsiteY3" fmla="*/ 54673 h 174116"/>
                <a:gd name="connsiteX4" fmla="*/ 174119 w 174118"/>
                <a:gd name="connsiteY4" fmla="*/ 174117 h 174116"/>
                <a:gd name="connsiteX5" fmla="*/ 77376 w 174118"/>
                <a:gd name="connsiteY5" fmla="*/ 174117 h 17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118" h="174116">
                  <a:moveTo>
                    <a:pt x="77376" y="174117"/>
                  </a:moveTo>
                  <a:cubicBezTo>
                    <a:pt x="70762" y="134303"/>
                    <a:pt x="39774" y="103442"/>
                    <a:pt x="0" y="97441"/>
                  </a:cubicBezTo>
                  <a:lnTo>
                    <a:pt x="0" y="0"/>
                  </a:lnTo>
                  <a:cubicBezTo>
                    <a:pt x="43742" y="2953"/>
                    <a:pt x="86729" y="21145"/>
                    <a:pt x="119984" y="54673"/>
                  </a:cubicBezTo>
                  <a:cubicBezTo>
                    <a:pt x="152862" y="87821"/>
                    <a:pt x="170906" y="130493"/>
                    <a:pt x="174119" y="174117"/>
                  </a:cubicBezTo>
                  <a:lnTo>
                    <a:pt x="77376" y="174117"/>
                  </a:lnTo>
                  <a:close/>
                </a:path>
              </a:pathLst>
            </a:custGeom>
            <a:solidFill>
              <a:schemeClr val="tx1"/>
            </a:solidFill>
            <a:ln w="94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5A8B9BA-E089-60FD-DAB8-2633F3FD3F10}"/>
                </a:ext>
              </a:extLst>
            </p:cNvPr>
            <p:cNvSpPr/>
            <p:nvPr/>
          </p:nvSpPr>
          <p:spPr>
            <a:xfrm>
              <a:off x="2541689" y="6366805"/>
              <a:ext cx="175620" cy="175618"/>
            </a:xfrm>
            <a:custGeom>
              <a:avLst/>
              <a:gdLst>
                <a:gd name="connsiteX0" fmla="*/ 0 w 174118"/>
                <a:gd name="connsiteY0" fmla="*/ 79820 h 174116"/>
                <a:gd name="connsiteX1" fmla="*/ 77848 w 174118"/>
                <a:gd name="connsiteY1" fmla="*/ 0 h 174116"/>
                <a:gd name="connsiteX2" fmla="*/ 174119 w 174118"/>
                <a:gd name="connsiteY2" fmla="*/ 0 h 174116"/>
                <a:gd name="connsiteX3" fmla="*/ 119984 w 174118"/>
                <a:gd name="connsiteY3" fmla="*/ 119348 h 174116"/>
                <a:gd name="connsiteX4" fmla="*/ 119984 w 174118"/>
                <a:gd name="connsiteY4" fmla="*/ 119348 h 174116"/>
                <a:gd name="connsiteX5" fmla="*/ 94 w 174118"/>
                <a:gd name="connsiteY5" fmla="*/ 174117 h 174116"/>
                <a:gd name="connsiteX6" fmla="*/ 94 w 174118"/>
                <a:gd name="connsiteY6" fmla="*/ 79820 h 17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118" h="174116">
                  <a:moveTo>
                    <a:pt x="0" y="79820"/>
                  </a:moveTo>
                  <a:cubicBezTo>
                    <a:pt x="40719" y="73628"/>
                    <a:pt x="72368" y="41339"/>
                    <a:pt x="77848" y="0"/>
                  </a:cubicBezTo>
                  <a:lnTo>
                    <a:pt x="174119" y="0"/>
                  </a:lnTo>
                  <a:cubicBezTo>
                    <a:pt x="170906" y="43625"/>
                    <a:pt x="152862" y="86201"/>
                    <a:pt x="119984" y="119348"/>
                  </a:cubicBezTo>
                  <a:lnTo>
                    <a:pt x="119984" y="119348"/>
                  </a:lnTo>
                  <a:cubicBezTo>
                    <a:pt x="86729" y="152876"/>
                    <a:pt x="43837" y="171164"/>
                    <a:pt x="94" y="174117"/>
                  </a:cubicBezTo>
                  <a:lnTo>
                    <a:pt x="94" y="79820"/>
                  </a:lnTo>
                  <a:close/>
                </a:path>
              </a:pathLst>
            </a:custGeom>
            <a:solidFill>
              <a:srgbClr val="3D4647"/>
            </a:solidFill>
            <a:ln w="94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DB8E779-F593-7939-832D-77D56B32AFD5}"/>
                </a:ext>
              </a:extLst>
            </p:cNvPr>
            <p:cNvSpPr/>
            <p:nvPr/>
          </p:nvSpPr>
          <p:spPr>
            <a:xfrm>
              <a:off x="2141277" y="6162461"/>
              <a:ext cx="371823" cy="379675"/>
            </a:xfrm>
            <a:custGeom>
              <a:avLst/>
              <a:gdLst>
                <a:gd name="connsiteX0" fmla="*/ 117055 w 368643"/>
                <a:gd name="connsiteY0" fmla="*/ 54578 h 376428"/>
                <a:gd name="connsiteX1" fmla="*/ 160986 w 368643"/>
                <a:gd name="connsiteY1" fmla="*/ 98870 h 376428"/>
                <a:gd name="connsiteX2" fmla="*/ 184416 w 368643"/>
                <a:gd name="connsiteY2" fmla="*/ 122492 h 376428"/>
                <a:gd name="connsiteX3" fmla="*/ 251211 w 368643"/>
                <a:gd name="connsiteY3" fmla="*/ 189833 h 376428"/>
                <a:gd name="connsiteX4" fmla="*/ 300621 w 368643"/>
                <a:gd name="connsiteY4" fmla="*/ 239649 h 376428"/>
                <a:gd name="connsiteX5" fmla="*/ 316966 w 368643"/>
                <a:gd name="connsiteY5" fmla="*/ 256127 h 376428"/>
                <a:gd name="connsiteX6" fmla="*/ 368644 w 368643"/>
                <a:gd name="connsiteY6" fmla="*/ 282321 h 376428"/>
                <a:gd name="connsiteX7" fmla="*/ 368644 w 368643"/>
                <a:gd name="connsiteY7" fmla="*/ 376428 h 376428"/>
                <a:gd name="connsiteX8" fmla="*/ 251683 w 368643"/>
                <a:gd name="connsiteY8" fmla="*/ 321945 h 376428"/>
                <a:gd name="connsiteX9" fmla="*/ 211247 w 368643"/>
                <a:gd name="connsiteY9" fmla="*/ 281178 h 376428"/>
                <a:gd name="connsiteX10" fmla="*/ 184322 w 368643"/>
                <a:gd name="connsiteY10" fmla="*/ 254032 h 376428"/>
                <a:gd name="connsiteX11" fmla="*/ 117528 w 368643"/>
                <a:gd name="connsiteY11" fmla="*/ 186690 h 376428"/>
                <a:gd name="connsiteX12" fmla="*/ 71518 w 368643"/>
                <a:gd name="connsiteY12" fmla="*/ 140303 h 376428"/>
                <a:gd name="connsiteX13" fmla="*/ 51678 w 368643"/>
                <a:gd name="connsiteY13" fmla="*/ 120301 h 376428"/>
                <a:gd name="connsiteX14" fmla="*/ 0 w 368643"/>
                <a:gd name="connsiteY14" fmla="*/ 94107 h 376428"/>
                <a:gd name="connsiteX15" fmla="*/ 0 w 368643"/>
                <a:gd name="connsiteY15" fmla="*/ 0 h 376428"/>
                <a:gd name="connsiteX16" fmla="*/ 116866 w 368643"/>
                <a:gd name="connsiteY16" fmla="*/ 54483 h 376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8643" h="376428">
                  <a:moveTo>
                    <a:pt x="117055" y="54578"/>
                  </a:moveTo>
                  <a:lnTo>
                    <a:pt x="160986" y="98870"/>
                  </a:lnTo>
                  <a:lnTo>
                    <a:pt x="184416" y="122492"/>
                  </a:lnTo>
                  <a:lnTo>
                    <a:pt x="251211" y="189833"/>
                  </a:lnTo>
                  <a:lnTo>
                    <a:pt x="300621" y="239649"/>
                  </a:lnTo>
                  <a:lnTo>
                    <a:pt x="316966" y="256127"/>
                  </a:lnTo>
                  <a:cubicBezTo>
                    <a:pt x="331420" y="270701"/>
                    <a:pt x="349654" y="279464"/>
                    <a:pt x="368644" y="282321"/>
                  </a:cubicBezTo>
                  <a:lnTo>
                    <a:pt x="368644" y="376428"/>
                  </a:lnTo>
                  <a:cubicBezTo>
                    <a:pt x="325941" y="372904"/>
                    <a:pt x="284183" y="354711"/>
                    <a:pt x="251683" y="321945"/>
                  </a:cubicBezTo>
                  <a:lnTo>
                    <a:pt x="211247" y="281178"/>
                  </a:lnTo>
                  <a:lnTo>
                    <a:pt x="184322" y="254032"/>
                  </a:lnTo>
                  <a:lnTo>
                    <a:pt x="117528" y="186690"/>
                  </a:lnTo>
                  <a:lnTo>
                    <a:pt x="71518" y="140303"/>
                  </a:lnTo>
                  <a:lnTo>
                    <a:pt x="51678" y="120301"/>
                  </a:lnTo>
                  <a:cubicBezTo>
                    <a:pt x="37223" y="105728"/>
                    <a:pt x="18990" y="96965"/>
                    <a:pt x="0" y="94107"/>
                  </a:cubicBezTo>
                  <a:lnTo>
                    <a:pt x="0" y="0"/>
                  </a:lnTo>
                  <a:cubicBezTo>
                    <a:pt x="42703" y="3524"/>
                    <a:pt x="84461" y="21717"/>
                    <a:pt x="116866" y="54483"/>
                  </a:cubicBezTo>
                  <a:close/>
                </a:path>
              </a:pathLst>
            </a:custGeom>
            <a:gradFill>
              <a:gsLst>
                <a:gs pos="80000">
                  <a:schemeClr val="tx1"/>
                </a:gs>
                <a:gs pos="18000">
                  <a:schemeClr val="accent1"/>
                </a:gs>
              </a:gsLst>
              <a:lin ang="3000000" scaled="0"/>
            </a:gradFill>
            <a:ln w="94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932301E-B8EE-0AFF-F2B2-E9C9BFB99EE6}"/>
                </a:ext>
              </a:extLst>
            </p:cNvPr>
            <p:cNvSpPr/>
            <p:nvPr/>
          </p:nvSpPr>
          <p:spPr>
            <a:xfrm>
              <a:off x="1939547" y="6533201"/>
              <a:ext cx="404700" cy="125469"/>
            </a:xfrm>
            <a:custGeom>
              <a:avLst/>
              <a:gdLst>
                <a:gd name="connsiteX0" fmla="*/ 401238 w 401238"/>
                <a:gd name="connsiteY0" fmla="*/ 0 h 124396"/>
                <a:gd name="connsiteX1" fmla="*/ 394908 w 401238"/>
                <a:gd name="connsiteY1" fmla="*/ 64770 h 124396"/>
                <a:gd name="connsiteX2" fmla="*/ 378375 w 401238"/>
                <a:gd name="connsiteY2" fmla="*/ 49435 h 124396"/>
                <a:gd name="connsiteX3" fmla="*/ 191597 w 401238"/>
                <a:gd name="connsiteY3" fmla="*/ 124396 h 124396"/>
                <a:gd name="connsiteX4" fmla="*/ 0 w 401238"/>
                <a:gd name="connsiteY4" fmla="*/ 44672 h 124396"/>
                <a:gd name="connsiteX5" fmla="*/ 20029 w 401238"/>
                <a:gd name="connsiteY5" fmla="*/ 24479 h 124396"/>
                <a:gd name="connsiteX6" fmla="*/ 191597 w 401238"/>
                <a:gd name="connsiteY6" fmla="*/ 95821 h 124396"/>
                <a:gd name="connsiteX7" fmla="*/ 357496 w 401238"/>
                <a:gd name="connsiteY7" fmla="*/ 30004 h 124396"/>
                <a:gd name="connsiteX8" fmla="*/ 337845 w 401238"/>
                <a:gd name="connsiteY8" fmla="*/ 11811 h 124396"/>
                <a:gd name="connsiteX9" fmla="*/ 337750 w 401238"/>
                <a:gd name="connsiteY9" fmla="*/ 11811 h 124396"/>
                <a:gd name="connsiteX10" fmla="*/ 401238 w 401238"/>
                <a:gd name="connsiteY10" fmla="*/ 0 h 12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1238" h="124396">
                  <a:moveTo>
                    <a:pt x="401238" y="0"/>
                  </a:moveTo>
                  <a:lnTo>
                    <a:pt x="394908" y="64770"/>
                  </a:lnTo>
                  <a:lnTo>
                    <a:pt x="378375" y="49435"/>
                  </a:lnTo>
                  <a:cubicBezTo>
                    <a:pt x="326319" y="99441"/>
                    <a:pt x="261036" y="124396"/>
                    <a:pt x="191597" y="124396"/>
                  </a:cubicBezTo>
                  <a:cubicBezTo>
                    <a:pt x="122157" y="124396"/>
                    <a:pt x="52717" y="97822"/>
                    <a:pt x="0" y="44672"/>
                  </a:cubicBezTo>
                  <a:lnTo>
                    <a:pt x="20029" y="24479"/>
                  </a:lnTo>
                  <a:cubicBezTo>
                    <a:pt x="67172" y="72009"/>
                    <a:pt x="131793" y="95821"/>
                    <a:pt x="191597" y="95821"/>
                  </a:cubicBezTo>
                  <a:cubicBezTo>
                    <a:pt x="251400" y="95821"/>
                    <a:pt x="311108" y="73819"/>
                    <a:pt x="357496" y="30004"/>
                  </a:cubicBezTo>
                  <a:lnTo>
                    <a:pt x="337845" y="11811"/>
                  </a:lnTo>
                  <a:lnTo>
                    <a:pt x="337750" y="11811"/>
                  </a:lnTo>
                  <a:lnTo>
                    <a:pt x="401238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B70C6DB1-F60B-FEC1-EBD8-0AD671086436}"/>
              </a:ext>
            </a:extLst>
          </p:cNvPr>
          <p:cNvSpPr/>
          <p:nvPr/>
        </p:nvSpPr>
        <p:spPr>
          <a:xfrm>
            <a:off x="503172" y="5528318"/>
            <a:ext cx="11247120" cy="2194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>
                <a:solidFill>
                  <a:schemeClr val="bg1"/>
                </a:solidFill>
              </a:rPr>
              <a:t>Concepts </a:t>
            </a:r>
          </a:p>
        </p:txBody>
      </p:sp>
      <p:sp>
        <p:nvSpPr>
          <p:cNvPr id="48" name="object 23">
            <a:extLst>
              <a:ext uri="{FF2B5EF4-FFF2-40B4-BE49-F238E27FC236}">
                <a16:creationId xmlns:a16="http://schemas.microsoft.com/office/drawing/2014/main" id="{ECB0E61A-B574-F123-2194-F43C90DC3F21}"/>
              </a:ext>
            </a:extLst>
          </p:cNvPr>
          <p:cNvSpPr txBox="1"/>
          <p:nvPr/>
        </p:nvSpPr>
        <p:spPr>
          <a:xfrm>
            <a:off x="5590035" y="5859821"/>
            <a:ext cx="158369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Agile</a:t>
            </a:r>
            <a:r>
              <a:rPr lang="en-US" dirty="0"/>
              <a:t> </a:t>
            </a:r>
            <a:r>
              <a:rPr dirty="0"/>
              <a:t>Waterfall-Hybri</a:t>
            </a:r>
            <a:r>
              <a:rPr lang="en-US" dirty="0"/>
              <a:t>d</a:t>
            </a:r>
            <a:endParaRPr dirty="0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9029FB17-12CE-AE6E-AF34-2A93FE5A3BF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077354" y="6078026"/>
            <a:ext cx="697230" cy="548640"/>
          </a:xfrm>
          <a:prstGeom prst="rect">
            <a:avLst/>
          </a:prstGeom>
        </p:spPr>
      </p:pic>
      <p:sp>
        <p:nvSpPr>
          <p:cNvPr id="50" name="Text Placeholder 81">
            <a:extLst>
              <a:ext uri="{FF2B5EF4-FFF2-40B4-BE49-F238E27FC236}">
                <a16:creationId xmlns:a16="http://schemas.microsoft.com/office/drawing/2014/main" id="{DD9C4B2C-CA72-AD56-57B3-4241E2C5D816}"/>
              </a:ext>
            </a:extLst>
          </p:cNvPr>
          <p:cNvSpPr txBox="1">
            <a:spLocks/>
          </p:cNvSpPr>
          <p:nvPr/>
        </p:nvSpPr>
        <p:spPr>
          <a:xfrm>
            <a:off x="7473003" y="5859821"/>
            <a:ext cx="9144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aaSIFY PTC</a:t>
            </a:r>
          </a:p>
        </p:txBody>
      </p:sp>
      <p:pic>
        <p:nvPicPr>
          <p:cNvPr id="51" name="Graphic 50">
            <a:extLst>
              <a:ext uri="{FF2B5EF4-FFF2-40B4-BE49-F238E27FC236}">
                <a16:creationId xmlns:a16="http://schemas.microsoft.com/office/drawing/2014/main" id="{73ECD891-B769-68F0-D96B-6B5C2BFC84A2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7589437" y="6032306"/>
            <a:ext cx="556135" cy="640080"/>
          </a:xfrm>
          <a:prstGeom prst="rect">
            <a:avLst/>
          </a:prstGeom>
        </p:spPr>
      </p:pic>
      <p:sp>
        <p:nvSpPr>
          <p:cNvPr id="53" name="Text Placeholder 81">
            <a:extLst>
              <a:ext uri="{FF2B5EF4-FFF2-40B4-BE49-F238E27FC236}">
                <a16:creationId xmlns:a16="http://schemas.microsoft.com/office/drawing/2014/main" id="{4F11C34D-CE4D-E850-AE4A-C641D7AB32C6}"/>
              </a:ext>
            </a:extLst>
          </p:cNvPr>
          <p:cNvSpPr txBox="1">
            <a:spLocks/>
          </p:cNvSpPr>
          <p:nvPr/>
        </p:nvSpPr>
        <p:spPr>
          <a:xfrm>
            <a:off x="7679255" y="4328713"/>
            <a:ext cx="3200400" cy="1523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etail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7DE308E4-D0C7-C9F0-924B-FC674D649129}"/>
              </a:ext>
            </a:extLst>
          </p:cNvPr>
          <p:cNvSpPr txBox="1"/>
          <p:nvPr/>
        </p:nvSpPr>
        <p:spPr>
          <a:xfrm>
            <a:off x="9096305" y="4550018"/>
            <a:ext cx="81191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ag, Price</a:t>
            </a:r>
          </a:p>
        </p:txBody>
      </p:sp>
      <p:sp>
        <p:nvSpPr>
          <p:cNvPr id="259" name="Text Placeholder 81">
            <a:extLst>
              <a:ext uri="{FF2B5EF4-FFF2-40B4-BE49-F238E27FC236}">
                <a16:creationId xmlns:a16="http://schemas.microsoft.com/office/drawing/2014/main" id="{4CED7AA6-9B21-38C4-3A65-C38362F189B3}"/>
              </a:ext>
            </a:extLst>
          </p:cNvPr>
          <p:cNvSpPr txBox="1">
            <a:spLocks/>
          </p:cNvSpPr>
          <p:nvPr/>
        </p:nvSpPr>
        <p:spPr>
          <a:xfrm>
            <a:off x="7670932" y="4540767"/>
            <a:ext cx="1467314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etail, Shopping Cart</a:t>
            </a:r>
          </a:p>
        </p:txBody>
      </p:sp>
      <p:pic>
        <p:nvPicPr>
          <p:cNvPr id="260" name="Graphic 259">
            <a:extLst>
              <a:ext uri="{FF2B5EF4-FFF2-40B4-BE49-F238E27FC236}">
                <a16:creationId xmlns:a16="http://schemas.microsoft.com/office/drawing/2014/main" id="{C1E0A600-C33D-72D2-53FC-800D0B17A7BF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994736" y="4692226"/>
            <a:ext cx="609600" cy="609600"/>
          </a:xfrm>
          <a:prstGeom prst="rect">
            <a:avLst/>
          </a:prstGeom>
        </p:spPr>
      </p:pic>
      <p:pic>
        <p:nvPicPr>
          <p:cNvPr id="266" name="Graphic 265">
            <a:extLst>
              <a:ext uri="{FF2B5EF4-FFF2-40B4-BE49-F238E27FC236}">
                <a16:creationId xmlns:a16="http://schemas.microsoft.com/office/drawing/2014/main" id="{FD7D4365-D2DB-A11E-7DDB-E19971AD5AFB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9314839" y="4759960"/>
            <a:ext cx="609600" cy="609600"/>
          </a:xfrm>
          <a:prstGeom prst="rect">
            <a:avLst/>
          </a:prstGeom>
        </p:spPr>
      </p:pic>
      <p:sp>
        <p:nvSpPr>
          <p:cNvPr id="267" name="TextBox 266">
            <a:extLst>
              <a:ext uri="{FF2B5EF4-FFF2-40B4-BE49-F238E27FC236}">
                <a16:creationId xmlns:a16="http://schemas.microsoft.com/office/drawing/2014/main" id="{A127BE31-834C-CF46-487D-F69B7542921D}"/>
              </a:ext>
            </a:extLst>
          </p:cNvPr>
          <p:cNvSpPr txBox="1"/>
          <p:nvPr/>
        </p:nvSpPr>
        <p:spPr>
          <a:xfrm>
            <a:off x="10119624" y="4550018"/>
            <a:ext cx="70638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ell, Buy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A040911B-EE64-F4E6-8359-09C713099A89}"/>
              </a:ext>
            </a:extLst>
          </p:cNvPr>
          <p:cNvSpPr txBox="1"/>
          <p:nvPr/>
        </p:nvSpPr>
        <p:spPr>
          <a:xfrm>
            <a:off x="5394974" y="4337143"/>
            <a:ext cx="168165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viation Defense Industry</a:t>
            </a:r>
          </a:p>
        </p:txBody>
      </p:sp>
      <p:pic>
        <p:nvPicPr>
          <p:cNvPr id="274" name="Graphic 273">
            <a:extLst>
              <a:ext uri="{FF2B5EF4-FFF2-40B4-BE49-F238E27FC236}">
                <a16:creationId xmlns:a16="http://schemas.microsoft.com/office/drawing/2014/main" id="{C0584897-C44F-C84D-0153-742CFBB2DFAB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3773171" y="4055257"/>
            <a:ext cx="781050" cy="609600"/>
          </a:xfrm>
          <a:prstGeom prst="rect">
            <a:avLst/>
          </a:prstGeom>
        </p:spPr>
      </p:pic>
      <p:pic>
        <p:nvPicPr>
          <p:cNvPr id="276" name="Graphic 275">
            <a:extLst>
              <a:ext uri="{FF2B5EF4-FFF2-40B4-BE49-F238E27FC236}">
                <a16:creationId xmlns:a16="http://schemas.microsoft.com/office/drawing/2014/main" id="{FE888EA7-BD32-0DA4-1C72-978F0FEFE61C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5845277" y="4563079"/>
            <a:ext cx="781050" cy="6096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F9DB5B96-7FF7-AD59-0EBD-8680B3607C9E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0159104" y="4748671"/>
            <a:ext cx="774700" cy="609600"/>
          </a:xfrm>
          <a:prstGeom prst="rect">
            <a:avLst/>
          </a:prstGeom>
        </p:spPr>
      </p:pic>
      <p:sp>
        <p:nvSpPr>
          <p:cNvPr id="270" name="Text Placeholder 81">
            <a:extLst>
              <a:ext uri="{FF2B5EF4-FFF2-40B4-BE49-F238E27FC236}">
                <a16:creationId xmlns:a16="http://schemas.microsoft.com/office/drawing/2014/main" id="{D19B9858-2976-F96B-E244-A8866204C519}"/>
              </a:ext>
            </a:extLst>
          </p:cNvPr>
          <p:cNvSpPr txBox="1">
            <a:spLocks/>
          </p:cNvSpPr>
          <p:nvPr/>
        </p:nvSpPr>
        <p:spPr>
          <a:xfrm>
            <a:off x="11288309" y="3325150"/>
            <a:ext cx="73152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dirty="0">
                <a:ea typeface="+mn-lt"/>
                <a:cs typeface="+mn-lt"/>
              </a:rPr>
              <a:t>Genetic </a:t>
            </a:r>
          </a:p>
        </p:txBody>
      </p:sp>
      <p:pic>
        <p:nvPicPr>
          <p:cNvPr id="272" name="Graphic 271">
            <a:extLst>
              <a:ext uri="{FF2B5EF4-FFF2-40B4-BE49-F238E27FC236}">
                <a16:creationId xmlns:a16="http://schemas.microsoft.com/office/drawing/2014/main" id="{18DF8C46-34D1-9711-5BF1-3CA06D7348E0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1374941" y="3544802"/>
            <a:ext cx="609600" cy="609600"/>
          </a:xfrm>
          <a:prstGeom prst="rect">
            <a:avLst/>
          </a:prstGeom>
        </p:spPr>
      </p:pic>
      <p:sp>
        <p:nvSpPr>
          <p:cNvPr id="275" name="Text Placeholder 81">
            <a:extLst>
              <a:ext uri="{FF2B5EF4-FFF2-40B4-BE49-F238E27FC236}">
                <a16:creationId xmlns:a16="http://schemas.microsoft.com/office/drawing/2014/main" id="{6842DEE2-8550-2897-65EF-870063674DCB}"/>
              </a:ext>
            </a:extLst>
          </p:cNvPr>
          <p:cNvSpPr txBox="1">
            <a:spLocks/>
          </p:cNvSpPr>
          <p:nvPr/>
        </p:nvSpPr>
        <p:spPr>
          <a:xfrm>
            <a:off x="1745683" y="4337143"/>
            <a:ext cx="1371600" cy="1523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Process Industry</a:t>
            </a:r>
          </a:p>
        </p:txBody>
      </p:sp>
      <p:pic>
        <p:nvPicPr>
          <p:cNvPr id="281" name="Graphic 280">
            <a:extLst>
              <a:ext uri="{FF2B5EF4-FFF2-40B4-BE49-F238E27FC236}">
                <a16:creationId xmlns:a16="http://schemas.microsoft.com/office/drawing/2014/main" id="{FDEFDB39-01FE-D03B-E9EE-08E192A0E0AF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364972" y="4520514"/>
            <a:ext cx="731520" cy="731520"/>
          </a:xfrm>
          <a:prstGeom prst="rect">
            <a:avLst/>
          </a:prstGeom>
        </p:spPr>
      </p:pic>
      <p:sp>
        <p:nvSpPr>
          <p:cNvPr id="282" name="Text Placeholder 81">
            <a:extLst>
              <a:ext uri="{FF2B5EF4-FFF2-40B4-BE49-F238E27FC236}">
                <a16:creationId xmlns:a16="http://schemas.microsoft.com/office/drawing/2014/main" id="{E8CD5234-DE8A-56B9-A1C7-BF3E77F192E7}"/>
              </a:ext>
            </a:extLst>
          </p:cNvPr>
          <p:cNvSpPr txBox="1">
            <a:spLocks/>
          </p:cNvSpPr>
          <p:nvPr/>
        </p:nvSpPr>
        <p:spPr>
          <a:xfrm>
            <a:off x="162479" y="4337143"/>
            <a:ext cx="113650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ssembly Lin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A00F32B0-68D1-7430-587D-E05FBE5741D7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2068011" y="4515797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455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55A31EB-1136-5AB9-6A0A-C0FDBAB258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80832" y="3527166"/>
            <a:ext cx="781050" cy="78105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B82C035B-7D97-3A9B-A476-0E18CE99F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Icons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A398D13D-ACA1-59B3-62D5-38388846AE9F}"/>
              </a:ext>
            </a:extLst>
          </p:cNvPr>
          <p:cNvSpPr/>
          <p:nvPr/>
        </p:nvSpPr>
        <p:spPr>
          <a:xfrm>
            <a:off x="507663" y="1193595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SLM Asset System of Record</a:t>
            </a:r>
          </a:p>
        </p:txBody>
      </p: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7723876F-897B-824A-7551-DC7925A6D069}"/>
              </a:ext>
            </a:extLst>
          </p:cNvPr>
          <p:cNvGrpSpPr/>
          <p:nvPr/>
        </p:nvGrpSpPr>
        <p:grpSpPr>
          <a:xfrm>
            <a:off x="1548968" y="1780981"/>
            <a:ext cx="968845" cy="609365"/>
            <a:chOff x="1633904" y="5853535"/>
            <a:chExt cx="968845" cy="609365"/>
          </a:xfrm>
        </p:grpSpPr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BBD230E8-802F-3B06-7720-E1581559C5E5}"/>
                </a:ext>
              </a:extLst>
            </p:cNvPr>
            <p:cNvSpPr/>
            <p:nvPr/>
          </p:nvSpPr>
          <p:spPr>
            <a:xfrm>
              <a:off x="1939426" y="6366773"/>
              <a:ext cx="65057" cy="56378"/>
            </a:xfrm>
            <a:custGeom>
              <a:avLst/>
              <a:gdLst>
                <a:gd name="connsiteX0" fmla="*/ 48793 w 65057"/>
                <a:gd name="connsiteY0" fmla="*/ 0 h 56378"/>
                <a:gd name="connsiteX1" fmla="*/ 16264 w 65057"/>
                <a:gd name="connsiteY1" fmla="*/ 0 h 56378"/>
                <a:gd name="connsiteX2" fmla="*/ 0 w 65057"/>
                <a:gd name="connsiteY2" fmla="*/ 28226 h 56378"/>
                <a:gd name="connsiteX3" fmla="*/ 16264 w 65057"/>
                <a:gd name="connsiteY3" fmla="*/ 56378 h 56378"/>
                <a:gd name="connsiteX4" fmla="*/ 48793 w 65057"/>
                <a:gd name="connsiteY4" fmla="*/ 56378 h 56378"/>
                <a:gd name="connsiteX5" fmla="*/ 65057 w 65057"/>
                <a:gd name="connsiteY5" fmla="*/ 28226 h 56378"/>
                <a:gd name="connsiteX6" fmla="*/ 48793 w 65057"/>
                <a:gd name="connsiteY6" fmla="*/ 0 h 56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057" h="56378">
                  <a:moveTo>
                    <a:pt x="48793" y="0"/>
                  </a:moveTo>
                  <a:lnTo>
                    <a:pt x="16264" y="0"/>
                  </a:lnTo>
                  <a:lnTo>
                    <a:pt x="0" y="28226"/>
                  </a:lnTo>
                  <a:lnTo>
                    <a:pt x="16264" y="56378"/>
                  </a:lnTo>
                  <a:lnTo>
                    <a:pt x="48793" y="56378"/>
                  </a:lnTo>
                  <a:lnTo>
                    <a:pt x="65057" y="28226"/>
                  </a:lnTo>
                  <a:lnTo>
                    <a:pt x="48793" y="0"/>
                  </a:lnTo>
                  <a:close/>
                </a:path>
              </a:pathLst>
            </a:custGeom>
            <a:solidFill>
              <a:srgbClr val="FFFFFF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B67C7DA9-2E47-6AA9-1AE2-0582BB50E5AD}"/>
                </a:ext>
              </a:extLst>
            </p:cNvPr>
            <p:cNvSpPr/>
            <p:nvPr/>
          </p:nvSpPr>
          <p:spPr>
            <a:xfrm>
              <a:off x="1933518" y="6366773"/>
              <a:ext cx="65057" cy="56378"/>
            </a:xfrm>
            <a:custGeom>
              <a:avLst/>
              <a:gdLst>
                <a:gd name="connsiteX0" fmla="*/ 48793 w 65057"/>
                <a:gd name="connsiteY0" fmla="*/ 0 h 56378"/>
                <a:gd name="connsiteX1" fmla="*/ 16264 w 65057"/>
                <a:gd name="connsiteY1" fmla="*/ 0 h 56378"/>
                <a:gd name="connsiteX2" fmla="*/ 0 w 65057"/>
                <a:gd name="connsiteY2" fmla="*/ 28226 h 56378"/>
                <a:gd name="connsiteX3" fmla="*/ 16264 w 65057"/>
                <a:gd name="connsiteY3" fmla="*/ 56378 h 56378"/>
                <a:gd name="connsiteX4" fmla="*/ 48793 w 65057"/>
                <a:gd name="connsiteY4" fmla="*/ 56378 h 56378"/>
                <a:gd name="connsiteX5" fmla="*/ 65057 w 65057"/>
                <a:gd name="connsiteY5" fmla="*/ 28226 h 56378"/>
                <a:gd name="connsiteX6" fmla="*/ 48793 w 65057"/>
                <a:gd name="connsiteY6" fmla="*/ 0 h 56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057" h="56378">
                  <a:moveTo>
                    <a:pt x="48793" y="0"/>
                  </a:moveTo>
                  <a:lnTo>
                    <a:pt x="16264" y="0"/>
                  </a:lnTo>
                  <a:lnTo>
                    <a:pt x="0" y="28226"/>
                  </a:lnTo>
                  <a:lnTo>
                    <a:pt x="16264" y="56378"/>
                  </a:lnTo>
                  <a:lnTo>
                    <a:pt x="48793" y="56378"/>
                  </a:lnTo>
                  <a:lnTo>
                    <a:pt x="65057" y="28226"/>
                  </a:lnTo>
                  <a:lnTo>
                    <a:pt x="48793" y="0"/>
                  </a:lnTo>
                  <a:close/>
                </a:path>
              </a:pathLst>
            </a:custGeom>
            <a:solidFill>
              <a:srgbClr val="FFFFFF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C005A907-32F4-2EEB-AB8B-2398F64F2224}"/>
                </a:ext>
              </a:extLst>
            </p:cNvPr>
            <p:cNvSpPr/>
            <p:nvPr/>
          </p:nvSpPr>
          <p:spPr>
            <a:xfrm>
              <a:off x="1899713" y="6075619"/>
              <a:ext cx="214682" cy="376705"/>
            </a:xfrm>
            <a:custGeom>
              <a:avLst/>
              <a:gdLst>
                <a:gd name="connsiteX0" fmla="*/ 214683 w 214682"/>
                <a:gd name="connsiteY0" fmla="*/ 144045 h 376705"/>
                <a:gd name="connsiteX1" fmla="*/ 194772 w 214682"/>
                <a:gd name="connsiteY1" fmla="*/ 155642 h 376705"/>
                <a:gd name="connsiteX2" fmla="*/ 142113 w 214682"/>
                <a:gd name="connsiteY2" fmla="*/ 205748 h 376705"/>
                <a:gd name="connsiteX3" fmla="*/ 122859 w 214682"/>
                <a:gd name="connsiteY3" fmla="*/ 191598 h 376705"/>
                <a:gd name="connsiteX4" fmla="*/ 118118 w 214682"/>
                <a:gd name="connsiteY4" fmla="*/ 134053 h 376705"/>
                <a:gd name="connsiteX5" fmla="*/ 214610 w 214682"/>
                <a:gd name="connsiteY5" fmla="*/ 125885 h 376705"/>
                <a:gd name="connsiteX6" fmla="*/ 214610 w 214682"/>
                <a:gd name="connsiteY6" fmla="*/ 113267 h 376705"/>
                <a:gd name="connsiteX7" fmla="*/ 118701 w 214682"/>
                <a:gd name="connsiteY7" fmla="*/ 120925 h 376705"/>
                <a:gd name="connsiteX8" fmla="*/ 132048 w 214682"/>
                <a:gd name="connsiteY8" fmla="*/ 47480 h 376705"/>
                <a:gd name="connsiteX9" fmla="*/ 149771 w 214682"/>
                <a:gd name="connsiteY9" fmla="*/ 21078 h 376705"/>
                <a:gd name="connsiteX10" fmla="*/ 214610 w 214682"/>
                <a:gd name="connsiteY10" fmla="*/ 18161 h 376705"/>
                <a:gd name="connsiteX11" fmla="*/ 214610 w 214682"/>
                <a:gd name="connsiteY11" fmla="*/ 0 h 376705"/>
                <a:gd name="connsiteX12" fmla="*/ 186530 w 214682"/>
                <a:gd name="connsiteY12" fmla="*/ 948 h 376705"/>
                <a:gd name="connsiteX13" fmla="*/ 133142 w 214682"/>
                <a:gd name="connsiteY13" fmla="*/ 6783 h 376705"/>
                <a:gd name="connsiteX14" fmla="*/ 133142 w 214682"/>
                <a:gd name="connsiteY14" fmla="*/ 6783 h 376705"/>
                <a:gd name="connsiteX15" fmla="*/ 133142 w 214682"/>
                <a:gd name="connsiteY15" fmla="*/ 6783 h 376705"/>
                <a:gd name="connsiteX16" fmla="*/ 97477 w 214682"/>
                <a:gd name="connsiteY16" fmla="*/ 96565 h 376705"/>
                <a:gd name="connsiteX17" fmla="*/ 97477 w 214682"/>
                <a:gd name="connsiteY17" fmla="*/ 96565 h 376705"/>
                <a:gd name="connsiteX18" fmla="*/ 97477 w 214682"/>
                <a:gd name="connsiteY18" fmla="*/ 96565 h 376705"/>
                <a:gd name="connsiteX19" fmla="*/ 102364 w 214682"/>
                <a:gd name="connsiteY19" fmla="*/ 231639 h 376705"/>
                <a:gd name="connsiteX20" fmla="*/ 128256 w 214682"/>
                <a:gd name="connsiteY20" fmla="*/ 248779 h 376705"/>
                <a:gd name="connsiteX21" fmla="*/ 184342 w 214682"/>
                <a:gd name="connsiteY21" fmla="*/ 248122 h 376705"/>
                <a:gd name="connsiteX22" fmla="*/ 185874 w 214682"/>
                <a:gd name="connsiteY22" fmla="*/ 260813 h 376705"/>
                <a:gd name="connsiteX23" fmla="*/ 155679 w 214682"/>
                <a:gd name="connsiteY23" fmla="*/ 267085 h 376705"/>
                <a:gd name="connsiteX24" fmla="*/ 33514 w 214682"/>
                <a:gd name="connsiteY24" fmla="*/ 274233 h 376705"/>
                <a:gd name="connsiteX25" fmla="*/ 183 w 214682"/>
                <a:gd name="connsiteY25" fmla="*/ 337467 h 376705"/>
                <a:gd name="connsiteX26" fmla="*/ 24835 w 214682"/>
                <a:gd name="connsiteY26" fmla="*/ 376706 h 376705"/>
                <a:gd name="connsiteX27" fmla="*/ 214464 w 214682"/>
                <a:gd name="connsiteY27" fmla="*/ 376706 h 376705"/>
                <a:gd name="connsiteX28" fmla="*/ 214464 w 214682"/>
                <a:gd name="connsiteY28" fmla="*/ 143972 h 376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14682" h="376705">
                  <a:moveTo>
                    <a:pt x="214683" y="144045"/>
                  </a:moveTo>
                  <a:cubicBezTo>
                    <a:pt x="208994" y="147181"/>
                    <a:pt x="202430" y="150974"/>
                    <a:pt x="194772" y="155642"/>
                  </a:cubicBezTo>
                  <a:cubicBezTo>
                    <a:pt x="169391" y="171177"/>
                    <a:pt x="150282" y="206842"/>
                    <a:pt x="142113" y="205748"/>
                  </a:cubicBezTo>
                  <a:cubicBezTo>
                    <a:pt x="133945" y="204654"/>
                    <a:pt x="126943" y="211728"/>
                    <a:pt x="122859" y="191598"/>
                  </a:cubicBezTo>
                  <a:cubicBezTo>
                    <a:pt x="119066" y="173000"/>
                    <a:pt x="117607" y="153600"/>
                    <a:pt x="118118" y="134053"/>
                  </a:cubicBezTo>
                  <a:lnTo>
                    <a:pt x="214610" y="125885"/>
                  </a:lnTo>
                  <a:lnTo>
                    <a:pt x="214610" y="113267"/>
                  </a:lnTo>
                  <a:lnTo>
                    <a:pt x="118701" y="120925"/>
                  </a:lnTo>
                  <a:cubicBezTo>
                    <a:pt x="120452" y="95763"/>
                    <a:pt x="125192" y="70819"/>
                    <a:pt x="132048" y="47480"/>
                  </a:cubicBezTo>
                  <a:cubicBezTo>
                    <a:pt x="132048" y="47480"/>
                    <a:pt x="136935" y="24287"/>
                    <a:pt x="149771" y="21078"/>
                  </a:cubicBezTo>
                  <a:cubicBezTo>
                    <a:pt x="158159" y="18963"/>
                    <a:pt x="192146" y="18307"/>
                    <a:pt x="214610" y="18161"/>
                  </a:cubicBezTo>
                  <a:lnTo>
                    <a:pt x="214610" y="0"/>
                  </a:lnTo>
                  <a:cubicBezTo>
                    <a:pt x="204764" y="292"/>
                    <a:pt x="195136" y="656"/>
                    <a:pt x="186530" y="948"/>
                  </a:cubicBezTo>
                  <a:lnTo>
                    <a:pt x="133142" y="6783"/>
                  </a:lnTo>
                  <a:lnTo>
                    <a:pt x="133142" y="6783"/>
                  </a:lnTo>
                  <a:cubicBezTo>
                    <a:pt x="133142" y="6783"/>
                    <a:pt x="133142" y="6783"/>
                    <a:pt x="133142" y="6783"/>
                  </a:cubicBezTo>
                  <a:lnTo>
                    <a:pt x="97477" y="96565"/>
                  </a:lnTo>
                  <a:lnTo>
                    <a:pt x="97477" y="96565"/>
                  </a:lnTo>
                  <a:cubicBezTo>
                    <a:pt x="97477" y="96565"/>
                    <a:pt x="97477" y="96565"/>
                    <a:pt x="97477" y="96565"/>
                  </a:cubicBezTo>
                  <a:cubicBezTo>
                    <a:pt x="90403" y="129240"/>
                    <a:pt x="97769" y="211728"/>
                    <a:pt x="102364" y="231639"/>
                  </a:cubicBezTo>
                  <a:cubicBezTo>
                    <a:pt x="106959" y="251550"/>
                    <a:pt x="128256" y="248779"/>
                    <a:pt x="128256" y="248779"/>
                  </a:cubicBezTo>
                  <a:lnTo>
                    <a:pt x="184342" y="248122"/>
                  </a:lnTo>
                  <a:lnTo>
                    <a:pt x="185874" y="260813"/>
                  </a:lnTo>
                  <a:cubicBezTo>
                    <a:pt x="175371" y="263293"/>
                    <a:pt x="164139" y="265918"/>
                    <a:pt x="155679" y="267085"/>
                  </a:cubicBezTo>
                  <a:cubicBezTo>
                    <a:pt x="138904" y="269346"/>
                    <a:pt x="50070" y="270805"/>
                    <a:pt x="33514" y="274233"/>
                  </a:cubicBezTo>
                  <a:cubicBezTo>
                    <a:pt x="17031" y="277661"/>
                    <a:pt x="-2078" y="291008"/>
                    <a:pt x="183" y="337467"/>
                  </a:cubicBezTo>
                  <a:cubicBezTo>
                    <a:pt x="1277" y="359201"/>
                    <a:pt x="12874" y="370652"/>
                    <a:pt x="24835" y="376706"/>
                  </a:cubicBezTo>
                  <a:lnTo>
                    <a:pt x="214464" y="376706"/>
                  </a:lnTo>
                  <a:lnTo>
                    <a:pt x="214464" y="143972"/>
                  </a:lnTo>
                  <a:close/>
                </a:path>
              </a:pathLst>
            </a:custGeom>
            <a:solidFill>
              <a:srgbClr val="3F47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182AC067-F520-F7F2-F340-9071CA9D36B4}"/>
                </a:ext>
              </a:extLst>
            </p:cNvPr>
            <p:cNvSpPr/>
            <p:nvPr/>
          </p:nvSpPr>
          <p:spPr>
            <a:xfrm>
              <a:off x="1633904" y="5965489"/>
              <a:ext cx="399096" cy="478011"/>
            </a:xfrm>
            <a:custGeom>
              <a:avLst/>
              <a:gdLst>
                <a:gd name="connsiteX0" fmla="*/ 399024 w 399096"/>
                <a:gd name="connsiteY0" fmla="*/ 116987 h 478011"/>
                <a:gd name="connsiteX1" fmla="*/ 399024 w 399096"/>
                <a:gd name="connsiteY1" fmla="*/ 116987 h 478011"/>
                <a:gd name="connsiteX2" fmla="*/ 289695 w 399096"/>
                <a:gd name="connsiteY2" fmla="*/ 70236 h 478011"/>
                <a:gd name="connsiteX3" fmla="*/ 241267 w 399096"/>
                <a:gd name="connsiteY3" fmla="*/ 31726 h 478011"/>
                <a:gd name="connsiteX4" fmla="*/ 174021 w 399096"/>
                <a:gd name="connsiteY4" fmla="*/ 0 h 478011"/>
                <a:gd name="connsiteX5" fmla="*/ 174021 w 399096"/>
                <a:gd name="connsiteY5" fmla="*/ 292 h 478011"/>
                <a:gd name="connsiteX6" fmla="*/ 173802 w 399096"/>
                <a:gd name="connsiteY6" fmla="*/ 0 h 478011"/>
                <a:gd name="connsiteX7" fmla="*/ 118226 w 399096"/>
                <a:gd name="connsiteY7" fmla="*/ 0 h 478011"/>
                <a:gd name="connsiteX8" fmla="*/ 90439 w 399096"/>
                <a:gd name="connsiteY8" fmla="*/ 48137 h 478011"/>
                <a:gd name="connsiteX9" fmla="*/ 44125 w 399096"/>
                <a:gd name="connsiteY9" fmla="*/ 346219 h 478011"/>
                <a:gd name="connsiteX10" fmla="*/ 25819 w 399096"/>
                <a:gd name="connsiteY10" fmla="*/ 346219 h 478011"/>
                <a:gd name="connsiteX11" fmla="*/ 0 w 399096"/>
                <a:gd name="connsiteY11" fmla="*/ 405733 h 478011"/>
                <a:gd name="connsiteX12" fmla="*/ 49012 w 399096"/>
                <a:gd name="connsiteY12" fmla="*/ 477063 h 478011"/>
                <a:gd name="connsiteX13" fmla="*/ 124280 w 399096"/>
                <a:gd name="connsiteY13" fmla="*/ 477063 h 478011"/>
                <a:gd name="connsiteX14" fmla="*/ 124134 w 399096"/>
                <a:gd name="connsiteY14" fmla="*/ 478011 h 478011"/>
                <a:gd name="connsiteX15" fmla="*/ 124863 w 399096"/>
                <a:gd name="connsiteY15" fmla="*/ 477063 h 478011"/>
                <a:gd name="connsiteX16" fmla="*/ 125228 w 399096"/>
                <a:gd name="connsiteY16" fmla="*/ 477063 h 478011"/>
                <a:gd name="connsiteX17" fmla="*/ 126030 w 399096"/>
                <a:gd name="connsiteY17" fmla="*/ 475750 h 478011"/>
                <a:gd name="connsiteX18" fmla="*/ 221647 w 399096"/>
                <a:gd name="connsiteY18" fmla="*/ 380644 h 478011"/>
                <a:gd name="connsiteX19" fmla="*/ 213187 w 399096"/>
                <a:gd name="connsiteY19" fmla="*/ 372184 h 478011"/>
                <a:gd name="connsiteX20" fmla="*/ 159216 w 399096"/>
                <a:gd name="connsiteY20" fmla="*/ 403837 h 478011"/>
                <a:gd name="connsiteX21" fmla="*/ 125301 w 399096"/>
                <a:gd name="connsiteY21" fmla="*/ 345125 h 478011"/>
                <a:gd name="connsiteX22" fmla="*/ 89563 w 399096"/>
                <a:gd name="connsiteY22" fmla="*/ 345125 h 478011"/>
                <a:gd name="connsiteX23" fmla="*/ 125666 w 399096"/>
                <a:gd name="connsiteY23" fmla="*/ 96419 h 478011"/>
                <a:gd name="connsiteX24" fmla="*/ 173875 w 399096"/>
                <a:gd name="connsiteY24" fmla="*/ 96419 h 478011"/>
                <a:gd name="connsiteX25" fmla="*/ 174094 w 399096"/>
                <a:gd name="connsiteY25" fmla="*/ 95982 h 478011"/>
                <a:gd name="connsiteX26" fmla="*/ 247831 w 399096"/>
                <a:gd name="connsiteY26" fmla="*/ 121800 h 478011"/>
                <a:gd name="connsiteX27" fmla="*/ 363432 w 399096"/>
                <a:gd name="connsiteY27" fmla="*/ 206988 h 478011"/>
                <a:gd name="connsiteX28" fmla="*/ 363432 w 399096"/>
                <a:gd name="connsiteY28" fmla="*/ 206988 h 478011"/>
                <a:gd name="connsiteX29" fmla="*/ 399096 w 399096"/>
                <a:gd name="connsiteY29" fmla="*/ 117205 h 478011"/>
                <a:gd name="connsiteX30" fmla="*/ 105755 w 399096"/>
                <a:gd name="connsiteY30" fmla="*/ 373424 h 478011"/>
                <a:gd name="connsiteX31" fmla="*/ 126322 w 399096"/>
                <a:gd name="connsiteY31" fmla="*/ 409015 h 478011"/>
                <a:gd name="connsiteX32" fmla="*/ 105755 w 399096"/>
                <a:gd name="connsiteY32" fmla="*/ 444607 h 478011"/>
                <a:gd name="connsiteX33" fmla="*/ 64693 w 399096"/>
                <a:gd name="connsiteY33" fmla="*/ 444607 h 478011"/>
                <a:gd name="connsiteX34" fmla="*/ 44125 w 399096"/>
                <a:gd name="connsiteY34" fmla="*/ 409015 h 478011"/>
                <a:gd name="connsiteX35" fmla="*/ 64693 w 399096"/>
                <a:gd name="connsiteY35" fmla="*/ 373424 h 478011"/>
                <a:gd name="connsiteX36" fmla="*/ 105755 w 399096"/>
                <a:gd name="connsiteY36" fmla="*/ 373424 h 478011"/>
                <a:gd name="connsiteX37" fmla="*/ 157465 w 399096"/>
                <a:gd name="connsiteY37" fmla="*/ 68266 h 478011"/>
                <a:gd name="connsiteX38" fmla="*/ 134564 w 399096"/>
                <a:gd name="connsiteY38" fmla="*/ 68266 h 478011"/>
                <a:gd name="connsiteX39" fmla="*/ 123113 w 399096"/>
                <a:gd name="connsiteY39" fmla="*/ 48428 h 478011"/>
                <a:gd name="connsiteX40" fmla="*/ 134564 w 399096"/>
                <a:gd name="connsiteY40" fmla="*/ 28517 h 478011"/>
                <a:gd name="connsiteX41" fmla="*/ 157465 w 399096"/>
                <a:gd name="connsiteY41" fmla="*/ 28517 h 478011"/>
                <a:gd name="connsiteX42" fmla="*/ 168916 w 399096"/>
                <a:gd name="connsiteY42" fmla="*/ 48428 h 478011"/>
                <a:gd name="connsiteX43" fmla="*/ 157465 w 399096"/>
                <a:gd name="connsiteY43" fmla="*/ 68266 h 478011"/>
                <a:gd name="connsiteX44" fmla="*/ 247758 w 399096"/>
                <a:gd name="connsiteY44" fmla="*/ 52221 h 478011"/>
                <a:gd name="connsiteX45" fmla="*/ 199111 w 399096"/>
                <a:gd name="connsiteY45" fmla="*/ 43761 h 478011"/>
                <a:gd name="connsiteX46" fmla="*/ 182555 w 399096"/>
                <a:gd name="connsiteY46" fmla="*/ 15097 h 478011"/>
                <a:gd name="connsiteX47" fmla="*/ 237182 w 399096"/>
                <a:gd name="connsiteY47" fmla="*/ 40260 h 478011"/>
                <a:gd name="connsiteX48" fmla="*/ 257239 w 399096"/>
                <a:gd name="connsiteY48" fmla="*/ 56232 h 478011"/>
                <a:gd name="connsiteX49" fmla="*/ 247831 w 399096"/>
                <a:gd name="connsiteY49" fmla="*/ 52221 h 478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99096" h="478011">
                  <a:moveTo>
                    <a:pt x="399024" y="116987"/>
                  </a:moveTo>
                  <a:lnTo>
                    <a:pt x="399024" y="116987"/>
                  </a:lnTo>
                  <a:cubicBezTo>
                    <a:pt x="399024" y="116987"/>
                    <a:pt x="289695" y="70236"/>
                    <a:pt x="289695" y="70236"/>
                  </a:cubicBezTo>
                  <a:lnTo>
                    <a:pt x="241267" y="31726"/>
                  </a:lnTo>
                  <a:lnTo>
                    <a:pt x="174021" y="0"/>
                  </a:lnTo>
                  <a:lnTo>
                    <a:pt x="174021" y="292"/>
                  </a:lnTo>
                  <a:cubicBezTo>
                    <a:pt x="174021" y="292"/>
                    <a:pt x="173802" y="0"/>
                    <a:pt x="173802" y="0"/>
                  </a:cubicBezTo>
                  <a:lnTo>
                    <a:pt x="118226" y="0"/>
                  </a:lnTo>
                  <a:lnTo>
                    <a:pt x="90439" y="48137"/>
                  </a:lnTo>
                  <a:lnTo>
                    <a:pt x="44125" y="346219"/>
                  </a:lnTo>
                  <a:lnTo>
                    <a:pt x="25819" y="346219"/>
                  </a:lnTo>
                  <a:lnTo>
                    <a:pt x="0" y="405733"/>
                  </a:lnTo>
                  <a:lnTo>
                    <a:pt x="49012" y="477063"/>
                  </a:lnTo>
                  <a:lnTo>
                    <a:pt x="124280" y="477063"/>
                  </a:lnTo>
                  <a:lnTo>
                    <a:pt x="124134" y="478011"/>
                  </a:lnTo>
                  <a:cubicBezTo>
                    <a:pt x="124134" y="478011"/>
                    <a:pt x="124499" y="477428"/>
                    <a:pt x="124863" y="477063"/>
                  </a:cubicBezTo>
                  <a:lnTo>
                    <a:pt x="125228" y="477063"/>
                  </a:lnTo>
                  <a:lnTo>
                    <a:pt x="126030" y="475750"/>
                  </a:lnTo>
                  <a:cubicBezTo>
                    <a:pt x="139669" y="460215"/>
                    <a:pt x="221647" y="380644"/>
                    <a:pt x="221647" y="380644"/>
                  </a:cubicBezTo>
                  <a:lnTo>
                    <a:pt x="213187" y="372184"/>
                  </a:lnTo>
                  <a:lnTo>
                    <a:pt x="159216" y="403837"/>
                  </a:lnTo>
                  <a:lnTo>
                    <a:pt x="125301" y="345125"/>
                  </a:lnTo>
                  <a:lnTo>
                    <a:pt x="89563" y="345125"/>
                  </a:lnTo>
                  <a:lnTo>
                    <a:pt x="125666" y="96419"/>
                  </a:lnTo>
                  <a:lnTo>
                    <a:pt x="173875" y="96419"/>
                  </a:lnTo>
                  <a:lnTo>
                    <a:pt x="174094" y="95982"/>
                  </a:lnTo>
                  <a:lnTo>
                    <a:pt x="247831" y="121800"/>
                  </a:lnTo>
                  <a:lnTo>
                    <a:pt x="363432" y="206988"/>
                  </a:lnTo>
                  <a:lnTo>
                    <a:pt x="363432" y="206988"/>
                  </a:lnTo>
                  <a:cubicBezTo>
                    <a:pt x="363432" y="206988"/>
                    <a:pt x="399096" y="117205"/>
                    <a:pt x="399096" y="117205"/>
                  </a:cubicBezTo>
                  <a:close/>
                  <a:moveTo>
                    <a:pt x="105755" y="373424"/>
                  </a:moveTo>
                  <a:lnTo>
                    <a:pt x="126322" y="409015"/>
                  </a:lnTo>
                  <a:lnTo>
                    <a:pt x="105755" y="444607"/>
                  </a:lnTo>
                  <a:lnTo>
                    <a:pt x="64693" y="444607"/>
                  </a:lnTo>
                  <a:lnTo>
                    <a:pt x="44125" y="409015"/>
                  </a:lnTo>
                  <a:lnTo>
                    <a:pt x="64693" y="373424"/>
                  </a:lnTo>
                  <a:lnTo>
                    <a:pt x="105755" y="373424"/>
                  </a:lnTo>
                  <a:close/>
                  <a:moveTo>
                    <a:pt x="157465" y="68266"/>
                  </a:moveTo>
                  <a:lnTo>
                    <a:pt x="134564" y="68266"/>
                  </a:lnTo>
                  <a:lnTo>
                    <a:pt x="123113" y="48428"/>
                  </a:lnTo>
                  <a:lnTo>
                    <a:pt x="134564" y="28517"/>
                  </a:lnTo>
                  <a:lnTo>
                    <a:pt x="157465" y="28517"/>
                  </a:lnTo>
                  <a:lnTo>
                    <a:pt x="168916" y="48428"/>
                  </a:lnTo>
                  <a:lnTo>
                    <a:pt x="157465" y="68266"/>
                  </a:lnTo>
                  <a:close/>
                  <a:moveTo>
                    <a:pt x="247758" y="52221"/>
                  </a:moveTo>
                  <a:lnTo>
                    <a:pt x="199111" y="43761"/>
                  </a:lnTo>
                  <a:lnTo>
                    <a:pt x="182555" y="15097"/>
                  </a:lnTo>
                  <a:lnTo>
                    <a:pt x="237182" y="40260"/>
                  </a:lnTo>
                  <a:lnTo>
                    <a:pt x="257239" y="56232"/>
                  </a:lnTo>
                  <a:lnTo>
                    <a:pt x="247831" y="52221"/>
                  </a:lnTo>
                  <a:close/>
                </a:path>
              </a:pathLst>
            </a:custGeom>
            <a:solidFill>
              <a:srgbClr val="3F47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FCB0AA8D-D3D4-186C-116C-689BCA0E9E8C}"/>
                </a:ext>
              </a:extLst>
            </p:cNvPr>
            <p:cNvSpPr/>
            <p:nvPr/>
          </p:nvSpPr>
          <p:spPr>
            <a:xfrm>
              <a:off x="2153488" y="5913195"/>
              <a:ext cx="27933" cy="489826"/>
            </a:xfrm>
            <a:custGeom>
              <a:avLst/>
              <a:gdLst>
                <a:gd name="connsiteX0" fmla="*/ 27934 w 27933"/>
                <a:gd name="connsiteY0" fmla="*/ 460069 h 489826"/>
                <a:gd name="connsiteX1" fmla="*/ 27934 w 27933"/>
                <a:gd name="connsiteY1" fmla="*/ 30049 h 489826"/>
                <a:gd name="connsiteX2" fmla="*/ 0 w 27933"/>
                <a:gd name="connsiteY2" fmla="*/ 0 h 489826"/>
                <a:gd name="connsiteX3" fmla="*/ 0 w 27933"/>
                <a:gd name="connsiteY3" fmla="*/ 489827 h 489826"/>
                <a:gd name="connsiteX4" fmla="*/ 27934 w 27933"/>
                <a:gd name="connsiteY4" fmla="*/ 460142 h 489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33" h="489826">
                  <a:moveTo>
                    <a:pt x="27934" y="460069"/>
                  </a:moveTo>
                  <a:lnTo>
                    <a:pt x="27934" y="30049"/>
                  </a:lnTo>
                  <a:cubicBezTo>
                    <a:pt x="12326" y="28809"/>
                    <a:pt x="0" y="15900"/>
                    <a:pt x="0" y="0"/>
                  </a:cubicBezTo>
                  <a:lnTo>
                    <a:pt x="0" y="489827"/>
                  </a:lnTo>
                  <a:cubicBezTo>
                    <a:pt x="0" y="474000"/>
                    <a:pt x="12326" y="461164"/>
                    <a:pt x="27934" y="460142"/>
                  </a:cubicBezTo>
                  <a:close/>
                </a:path>
              </a:pathLst>
            </a:custGeom>
            <a:solidFill>
              <a:srgbClr val="3F47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4ADEB1EE-C056-7C47-F8CC-004DBA0D1A25}"/>
                </a:ext>
              </a:extLst>
            </p:cNvPr>
            <p:cNvSpPr/>
            <p:nvPr/>
          </p:nvSpPr>
          <p:spPr>
            <a:xfrm>
              <a:off x="2153561" y="5853535"/>
              <a:ext cx="431114" cy="89855"/>
            </a:xfrm>
            <a:custGeom>
              <a:avLst/>
              <a:gdLst>
                <a:gd name="connsiteX0" fmla="*/ 400701 w 431114"/>
                <a:gd name="connsiteY0" fmla="*/ 73 h 89855"/>
                <a:gd name="connsiteX1" fmla="*/ 30268 w 431114"/>
                <a:gd name="connsiteY1" fmla="*/ 73 h 89855"/>
                <a:gd name="connsiteX2" fmla="*/ 0 w 431114"/>
                <a:gd name="connsiteY2" fmla="*/ 30341 h 89855"/>
                <a:gd name="connsiteX3" fmla="*/ 0 w 431114"/>
                <a:gd name="connsiteY3" fmla="*/ 59587 h 89855"/>
                <a:gd name="connsiteX4" fmla="*/ 27934 w 431114"/>
                <a:gd name="connsiteY4" fmla="*/ 89636 h 89855"/>
                <a:gd name="connsiteX5" fmla="*/ 30341 w 431114"/>
                <a:gd name="connsiteY5" fmla="*/ 89855 h 89855"/>
                <a:gd name="connsiteX6" fmla="*/ 400774 w 431114"/>
                <a:gd name="connsiteY6" fmla="*/ 89855 h 89855"/>
                <a:gd name="connsiteX7" fmla="*/ 405806 w 431114"/>
                <a:gd name="connsiteY7" fmla="*/ 89345 h 89855"/>
                <a:gd name="connsiteX8" fmla="*/ 431115 w 431114"/>
                <a:gd name="connsiteY8" fmla="*/ 59514 h 89855"/>
                <a:gd name="connsiteX9" fmla="*/ 431115 w 431114"/>
                <a:gd name="connsiteY9" fmla="*/ 30268 h 89855"/>
                <a:gd name="connsiteX10" fmla="*/ 400847 w 431114"/>
                <a:gd name="connsiteY10" fmla="*/ 0 h 89855"/>
                <a:gd name="connsiteX11" fmla="*/ 250602 w 431114"/>
                <a:gd name="connsiteY11" fmla="*/ 64984 h 89855"/>
                <a:gd name="connsiteX12" fmla="*/ 180731 w 431114"/>
                <a:gd name="connsiteY12" fmla="*/ 64984 h 89855"/>
                <a:gd name="connsiteX13" fmla="*/ 180731 w 431114"/>
                <a:gd name="connsiteY13" fmla="*/ 45000 h 89855"/>
                <a:gd name="connsiteX14" fmla="*/ 250602 w 431114"/>
                <a:gd name="connsiteY14" fmla="*/ 45000 h 89855"/>
                <a:gd name="connsiteX15" fmla="*/ 250602 w 431114"/>
                <a:gd name="connsiteY15" fmla="*/ 64984 h 89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1114" h="89855">
                  <a:moveTo>
                    <a:pt x="400701" y="73"/>
                  </a:moveTo>
                  <a:lnTo>
                    <a:pt x="30268" y="73"/>
                  </a:lnTo>
                  <a:cubicBezTo>
                    <a:pt x="13566" y="73"/>
                    <a:pt x="0" y="13639"/>
                    <a:pt x="0" y="30341"/>
                  </a:cubicBezTo>
                  <a:lnTo>
                    <a:pt x="0" y="59587"/>
                  </a:lnTo>
                  <a:cubicBezTo>
                    <a:pt x="0" y="75487"/>
                    <a:pt x="12326" y="88396"/>
                    <a:pt x="27934" y="89636"/>
                  </a:cubicBezTo>
                  <a:cubicBezTo>
                    <a:pt x="28736" y="89636"/>
                    <a:pt x="29538" y="89855"/>
                    <a:pt x="30341" y="89855"/>
                  </a:cubicBezTo>
                  <a:lnTo>
                    <a:pt x="400774" y="89855"/>
                  </a:lnTo>
                  <a:cubicBezTo>
                    <a:pt x="402524" y="89855"/>
                    <a:pt x="404129" y="89636"/>
                    <a:pt x="405806" y="89345"/>
                  </a:cubicBezTo>
                  <a:cubicBezTo>
                    <a:pt x="420174" y="86938"/>
                    <a:pt x="431115" y="74539"/>
                    <a:pt x="431115" y="59514"/>
                  </a:cubicBezTo>
                  <a:lnTo>
                    <a:pt x="431115" y="30268"/>
                  </a:lnTo>
                  <a:cubicBezTo>
                    <a:pt x="431115" y="13566"/>
                    <a:pt x="417549" y="0"/>
                    <a:pt x="400847" y="0"/>
                  </a:cubicBezTo>
                  <a:close/>
                  <a:moveTo>
                    <a:pt x="250602" y="64984"/>
                  </a:moveTo>
                  <a:lnTo>
                    <a:pt x="180731" y="64984"/>
                  </a:lnTo>
                  <a:lnTo>
                    <a:pt x="180731" y="45000"/>
                  </a:lnTo>
                  <a:lnTo>
                    <a:pt x="250602" y="45000"/>
                  </a:lnTo>
                  <a:lnTo>
                    <a:pt x="250602" y="64984"/>
                  </a:lnTo>
                  <a:close/>
                </a:path>
              </a:pathLst>
            </a:custGeom>
            <a:solidFill>
              <a:srgbClr val="3F47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A975BB16-169D-7775-1176-F8CE299CD282}"/>
                </a:ext>
              </a:extLst>
            </p:cNvPr>
            <p:cNvSpPr/>
            <p:nvPr/>
          </p:nvSpPr>
          <p:spPr>
            <a:xfrm>
              <a:off x="2222630" y="6319512"/>
              <a:ext cx="120049" cy="17868"/>
            </a:xfrm>
            <a:custGeom>
              <a:avLst/>
              <a:gdLst>
                <a:gd name="connsiteX0" fmla="*/ 0 w 120049"/>
                <a:gd name="connsiteY0" fmla="*/ 0 h 17868"/>
                <a:gd name="connsiteX1" fmla="*/ 120050 w 120049"/>
                <a:gd name="connsiteY1" fmla="*/ 0 h 17868"/>
                <a:gd name="connsiteX2" fmla="*/ 120050 w 120049"/>
                <a:gd name="connsiteY2" fmla="*/ 17869 h 17868"/>
                <a:gd name="connsiteX3" fmla="*/ 0 w 120049"/>
                <a:gd name="connsiteY3" fmla="*/ 17869 h 1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49" h="17868">
                  <a:moveTo>
                    <a:pt x="0" y="0"/>
                  </a:moveTo>
                  <a:lnTo>
                    <a:pt x="120050" y="0"/>
                  </a:lnTo>
                  <a:lnTo>
                    <a:pt x="120050" y="17869"/>
                  </a:lnTo>
                  <a:lnTo>
                    <a:pt x="0" y="17869"/>
                  </a:lnTo>
                  <a:close/>
                </a:path>
              </a:pathLst>
            </a:custGeom>
            <a:solidFill>
              <a:srgbClr val="3FAA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F32C2E04-5809-DC77-DDB6-CE60016E760F}"/>
                </a:ext>
              </a:extLst>
            </p:cNvPr>
            <p:cNvSpPr/>
            <p:nvPr/>
          </p:nvSpPr>
          <p:spPr>
            <a:xfrm>
              <a:off x="2559295" y="5913195"/>
              <a:ext cx="25308" cy="363650"/>
            </a:xfrm>
            <a:custGeom>
              <a:avLst/>
              <a:gdLst>
                <a:gd name="connsiteX0" fmla="*/ 25308 w 25308"/>
                <a:gd name="connsiteY0" fmla="*/ 0 h 363650"/>
                <a:gd name="connsiteX1" fmla="*/ 0 w 25308"/>
                <a:gd name="connsiteY1" fmla="*/ 29830 h 363650"/>
                <a:gd name="connsiteX2" fmla="*/ 0 w 25308"/>
                <a:gd name="connsiteY2" fmla="*/ 325506 h 363650"/>
                <a:gd name="connsiteX3" fmla="*/ 25308 w 25308"/>
                <a:gd name="connsiteY3" fmla="*/ 363650 h 363650"/>
                <a:gd name="connsiteX4" fmla="*/ 25308 w 25308"/>
                <a:gd name="connsiteY4" fmla="*/ 0 h 363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8" h="363650">
                  <a:moveTo>
                    <a:pt x="25308" y="0"/>
                  </a:moveTo>
                  <a:cubicBezTo>
                    <a:pt x="25308" y="15024"/>
                    <a:pt x="14368" y="27423"/>
                    <a:pt x="0" y="29830"/>
                  </a:cubicBezTo>
                  <a:lnTo>
                    <a:pt x="0" y="325506"/>
                  </a:lnTo>
                  <a:lnTo>
                    <a:pt x="25308" y="363650"/>
                  </a:lnTo>
                  <a:lnTo>
                    <a:pt x="25308" y="0"/>
                  </a:lnTo>
                  <a:close/>
                </a:path>
              </a:pathLst>
            </a:custGeom>
            <a:solidFill>
              <a:srgbClr val="3F47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866DFD9E-168F-C7AB-D56D-72DC59D44476}"/>
                </a:ext>
              </a:extLst>
            </p:cNvPr>
            <p:cNvSpPr/>
            <p:nvPr/>
          </p:nvSpPr>
          <p:spPr>
            <a:xfrm>
              <a:off x="2153561" y="6373045"/>
              <a:ext cx="415798" cy="89855"/>
            </a:xfrm>
            <a:custGeom>
              <a:avLst/>
              <a:gdLst>
                <a:gd name="connsiteX0" fmla="*/ 29903 w 415798"/>
                <a:gd name="connsiteY0" fmla="*/ 0 h 89855"/>
                <a:gd name="connsiteX1" fmla="*/ 27934 w 415798"/>
                <a:gd name="connsiteY1" fmla="*/ 219 h 89855"/>
                <a:gd name="connsiteX2" fmla="*/ 0 w 415798"/>
                <a:gd name="connsiteY2" fmla="*/ 29903 h 89855"/>
                <a:gd name="connsiteX3" fmla="*/ 0 w 415798"/>
                <a:gd name="connsiteY3" fmla="*/ 59952 h 89855"/>
                <a:gd name="connsiteX4" fmla="*/ 29903 w 415798"/>
                <a:gd name="connsiteY4" fmla="*/ 89855 h 89855"/>
                <a:gd name="connsiteX5" fmla="*/ 401139 w 415798"/>
                <a:gd name="connsiteY5" fmla="*/ 89855 h 89855"/>
                <a:gd name="connsiteX6" fmla="*/ 415798 w 415798"/>
                <a:gd name="connsiteY6" fmla="*/ 85844 h 89855"/>
                <a:gd name="connsiteX7" fmla="*/ 357524 w 415798"/>
                <a:gd name="connsiteY7" fmla="*/ 0 h 89855"/>
                <a:gd name="connsiteX8" fmla="*/ 29903 w 415798"/>
                <a:gd name="connsiteY8" fmla="*/ 0 h 89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5798" h="89855">
                  <a:moveTo>
                    <a:pt x="29903" y="0"/>
                  </a:moveTo>
                  <a:cubicBezTo>
                    <a:pt x="29247" y="0"/>
                    <a:pt x="28590" y="146"/>
                    <a:pt x="27934" y="219"/>
                  </a:cubicBezTo>
                  <a:cubicBezTo>
                    <a:pt x="12399" y="1240"/>
                    <a:pt x="0" y="14076"/>
                    <a:pt x="0" y="29903"/>
                  </a:cubicBezTo>
                  <a:lnTo>
                    <a:pt x="0" y="59952"/>
                  </a:lnTo>
                  <a:cubicBezTo>
                    <a:pt x="0" y="76435"/>
                    <a:pt x="13420" y="89855"/>
                    <a:pt x="29903" y="89855"/>
                  </a:cubicBezTo>
                  <a:lnTo>
                    <a:pt x="401139" y="89855"/>
                  </a:lnTo>
                  <a:cubicBezTo>
                    <a:pt x="406536" y="89855"/>
                    <a:pt x="411495" y="88323"/>
                    <a:pt x="415798" y="85844"/>
                  </a:cubicBezTo>
                  <a:lnTo>
                    <a:pt x="357524" y="0"/>
                  </a:lnTo>
                  <a:lnTo>
                    <a:pt x="29903" y="0"/>
                  </a:lnTo>
                  <a:close/>
                </a:path>
              </a:pathLst>
            </a:custGeom>
            <a:solidFill>
              <a:srgbClr val="3F47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B9B76FEB-DA9B-3DD6-F909-276285FE119A}"/>
                </a:ext>
              </a:extLst>
            </p:cNvPr>
            <p:cNvSpPr/>
            <p:nvPr/>
          </p:nvSpPr>
          <p:spPr>
            <a:xfrm>
              <a:off x="2222630" y="6248109"/>
              <a:ext cx="159288" cy="17868"/>
            </a:xfrm>
            <a:custGeom>
              <a:avLst/>
              <a:gdLst>
                <a:gd name="connsiteX0" fmla="*/ 0 w 159288"/>
                <a:gd name="connsiteY0" fmla="*/ 0 h 17868"/>
                <a:gd name="connsiteX1" fmla="*/ 159288 w 159288"/>
                <a:gd name="connsiteY1" fmla="*/ 0 h 17868"/>
                <a:gd name="connsiteX2" fmla="*/ 159288 w 159288"/>
                <a:gd name="connsiteY2" fmla="*/ 17869 h 17868"/>
                <a:gd name="connsiteX3" fmla="*/ 0 w 159288"/>
                <a:gd name="connsiteY3" fmla="*/ 17869 h 1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288" h="17868">
                  <a:moveTo>
                    <a:pt x="0" y="0"/>
                  </a:moveTo>
                  <a:lnTo>
                    <a:pt x="159288" y="0"/>
                  </a:lnTo>
                  <a:lnTo>
                    <a:pt x="159288" y="17869"/>
                  </a:lnTo>
                  <a:lnTo>
                    <a:pt x="0" y="17869"/>
                  </a:lnTo>
                  <a:close/>
                </a:path>
              </a:pathLst>
            </a:custGeom>
            <a:solidFill>
              <a:srgbClr val="3FAA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7D63C446-22E5-F831-9A66-C62D97980820}"/>
                </a:ext>
              </a:extLst>
            </p:cNvPr>
            <p:cNvSpPr/>
            <p:nvPr/>
          </p:nvSpPr>
          <p:spPr>
            <a:xfrm>
              <a:off x="2222630" y="6283847"/>
              <a:ext cx="159288" cy="17868"/>
            </a:xfrm>
            <a:custGeom>
              <a:avLst/>
              <a:gdLst>
                <a:gd name="connsiteX0" fmla="*/ 0 w 159288"/>
                <a:gd name="connsiteY0" fmla="*/ 0 h 17868"/>
                <a:gd name="connsiteX1" fmla="*/ 159288 w 159288"/>
                <a:gd name="connsiteY1" fmla="*/ 0 h 17868"/>
                <a:gd name="connsiteX2" fmla="*/ 159288 w 159288"/>
                <a:gd name="connsiteY2" fmla="*/ 17869 h 17868"/>
                <a:gd name="connsiteX3" fmla="*/ 0 w 159288"/>
                <a:gd name="connsiteY3" fmla="*/ 17869 h 1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288" h="17868">
                  <a:moveTo>
                    <a:pt x="0" y="0"/>
                  </a:moveTo>
                  <a:lnTo>
                    <a:pt x="159288" y="0"/>
                  </a:lnTo>
                  <a:lnTo>
                    <a:pt x="159288" y="17869"/>
                  </a:lnTo>
                  <a:lnTo>
                    <a:pt x="0" y="17869"/>
                  </a:lnTo>
                  <a:close/>
                </a:path>
              </a:pathLst>
            </a:custGeom>
            <a:solidFill>
              <a:srgbClr val="3FAA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FAD2CD39-2FBE-E0B5-9F51-C588CF7AEEEB}"/>
                </a:ext>
              </a:extLst>
            </p:cNvPr>
            <p:cNvSpPr/>
            <p:nvPr/>
          </p:nvSpPr>
          <p:spPr>
            <a:xfrm>
              <a:off x="2421183" y="6183562"/>
              <a:ext cx="181566" cy="232222"/>
            </a:xfrm>
            <a:custGeom>
              <a:avLst/>
              <a:gdLst>
                <a:gd name="connsiteX0" fmla="*/ 73346 w 181566"/>
                <a:gd name="connsiteY0" fmla="*/ 125374 h 232222"/>
                <a:gd name="connsiteX1" fmla="*/ 53873 w 181566"/>
                <a:gd name="connsiteY1" fmla="*/ 111371 h 232222"/>
                <a:gd name="connsiteX2" fmla="*/ 9383 w 181566"/>
                <a:gd name="connsiteY2" fmla="*/ 86573 h 232222"/>
                <a:gd name="connsiteX3" fmla="*/ 2892 w 181566"/>
                <a:gd name="connsiteY3" fmla="*/ 37853 h 232222"/>
                <a:gd name="connsiteX4" fmla="*/ 24626 w 181566"/>
                <a:gd name="connsiteY4" fmla="*/ 70455 h 232222"/>
                <a:gd name="connsiteX5" fmla="*/ 64302 w 181566"/>
                <a:gd name="connsiteY5" fmla="*/ 67902 h 232222"/>
                <a:gd name="connsiteX6" fmla="*/ 81879 w 181566"/>
                <a:gd name="connsiteY6" fmla="*/ 32310 h 232222"/>
                <a:gd name="connsiteX7" fmla="*/ 60364 w 181566"/>
                <a:gd name="connsiteY7" fmla="*/ 0 h 232222"/>
                <a:gd name="connsiteX8" fmla="*/ 102228 w 181566"/>
                <a:gd name="connsiteY8" fmla="*/ 24652 h 232222"/>
                <a:gd name="connsiteX9" fmla="*/ 108792 w 181566"/>
                <a:gd name="connsiteY9" fmla="*/ 73080 h 232222"/>
                <a:gd name="connsiteX10" fmla="*/ 113460 w 181566"/>
                <a:gd name="connsiteY10" fmla="*/ 98607 h 232222"/>
                <a:gd name="connsiteX11" fmla="*/ 177496 w 181566"/>
                <a:gd name="connsiteY11" fmla="*/ 194662 h 232222"/>
                <a:gd name="connsiteX12" fmla="*/ 170786 w 181566"/>
                <a:gd name="connsiteY12" fmla="*/ 228138 h 232222"/>
                <a:gd name="connsiteX13" fmla="*/ 157439 w 181566"/>
                <a:gd name="connsiteY13" fmla="*/ 232223 h 232222"/>
                <a:gd name="connsiteX14" fmla="*/ 137309 w 181566"/>
                <a:gd name="connsiteY14" fmla="*/ 221428 h 232222"/>
                <a:gd name="connsiteX15" fmla="*/ 73273 w 181566"/>
                <a:gd name="connsiteY15" fmla="*/ 125374 h 232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1566" h="232222">
                  <a:moveTo>
                    <a:pt x="73346" y="125374"/>
                  </a:moveTo>
                  <a:cubicBezTo>
                    <a:pt x="67292" y="115674"/>
                    <a:pt x="57155" y="111517"/>
                    <a:pt x="53873" y="111371"/>
                  </a:cubicBezTo>
                  <a:cubicBezTo>
                    <a:pt x="36514" y="110714"/>
                    <a:pt x="19739" y="102035"/>
                    <a:pt x="9383" y="86573"/>
                  </a:cubicBezTo>
                  <a:cubicBezTo>
                    <a:pt x="-609" y="71621"/>
                    <a:pt x="-2360" y="53607"/>
                    <a:pt x="2892" y="37853"/>
                  </a:cubicBezTo>
                  <a:lnTo>
                    <a:pt x="24626" y="70455"/>
                  </a:lnTo>
                  <a:lnTo>
                    <a:pt x="64302" y="67902"/>
                  </a:lnTo>
                  <a:lnTo>
                    <a:pt x="81879" y="32310"/>
                  </a:lnTo>
                  <a:lnTo>
                    <a:pt x="60364" y="0"/>
                  </a:lnTo>
                  <a:cubicBezTo>
                    <a:pt x="76774" y="1386"/>
                    <a:pt x="92382" y="9919"/>
                    <a:pt x="102228" y="24652"/>
                  </a:cubicBezTo>
                  <a:cubicBezTo>
                    <a:pt x="112147" y="39457"/>
                    <a:pt x="113970" y="57326"/>
                    <a:pt x="108792" y="73080"/>
                  </a:cubicBezTo>
                  <a:cubicBezTo>
                    <a:pt x="107552" y="76946"/>
                    <a:pt x="104708" y="85479"/>
                    <a:pt x="113460" y="98607"/>
                  </a:cubicBezTo>
                  <a:cubicBezTo>
                    <a:pt x="113460" y="98607"/>
                    <a:pt x="177059" y="194005"/>
                    <a:pt x="177496" y="194662"/>
                  </a:cubicBezTo>
                  <a:cubicBezTo>
                    <a:pt x="184935" y="205748"/>
                    <a:pt x="181872" y="220772"/>
                    <a:pt x="170786" y="228138"/>
                  </a:cubicBezTo>
                  <a:cubicBezTo>
                    <a:pt x="166702" y="230910"/>
                    <a:pt x="162034" y="232223"/>
                    <a:pt x="157439" y="232223"/>
                  </a:cubicBezTo>
                  <a:cubicBezTo>
                    <a:pt x="149635" y="232223"/>
                    <a:pt x="141977" y="228430"/>
                    <a:pt x="137309" y="221428"/>
                  </a:cubicBezTo>
                  <a:cubicBezTo>
                    <a:pt x="136872" y="220772"/>
                    <a:pt x="73273" y="125374"/>
                    <a:pt x="73273" y="125374"/>
                  </a:cubicBezTo>
                  <a:close/>
                </a:path>
              </a:pathLst>
            </a:custGeom>
            <a:solidFill>
              <a:srgbClr val="3F47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29817CE3-0D79-8849-0A61-4F8F5A686347}"/>
                </a:ext>
              </a:extLst>
            </p:cNvPr>
            <p:cNvSpPr/>
            <p:nvPr/>
          </p:nvSpPr>
          <p:spPr>
            <a:xfrm>
              <a:off x="2432827" y="6034630"/>
              <a:ext cx="14003" cy="38217"/>
            </a:xfrm>
            <a:custGeom>
              <a:avLst/>
              <a:gdLst>
                <a:gd name="connsiteX0" fmla="*/ 0 w 14003"/>
                <a:gd name="connsiteY0" fmla="*/ 0 h 38217"/>
                <a:gd name="connsiteX1" fmla="*/ 14003 w 14003"/>
                <a:gd name="connsiteY1" fmla="*/ 0 h 38217"/>
                <a:gd name="connsiteX2" fmla="*/ 14003 w 14003"/>
                <a:gd name="connsiteY2" fmla="*/ 38218 h 38217"/>
                <a:gd name="connsiteX3" fmla="*/ 0 w 14003"/>
                <a:gd name="connsiteY3" fmla="*/ 38218 h 38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03" h="38217">
                  <a:moveTo>
                    <a:pt x="0" y="0"/>
                  </a:moveTo>
                  <a:lnTo>
                    <a:pt x="14003" y="0"/>
                  </a:lnTo>
                  <a:lnTo>
                    <a:pt x="14003" y="38218"/>
                  </a:lnTo>
                  <a:lnTo>
                    <a:pt x="0" y="38218"/>
                  </a:lnTo>
                  <a:close/>
                </a:path>
              </a:pathLst>
            </a:custGeom>
            <a:solidFill>
              <a:srgbClr val="3FAA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24A27CCD-AF21-736B-1703-34AB01C5D0D7}"/>
                </a:ext>
              </a:extLst>
            </p:cNvPr>
            <p:cNvSpPr/>
            <p:nvPr/>
          </p:nvSpPr>
          <p:spPr>
            <a:xfrm>
              <a:off x="2346187" y="6028003"/>
              <a:ext cx="175473" cy="133022"/>
            </a:xfrm>
            <a:custGeom>
              <a:avLst/>
              <a:gdLst>
                <a:gd name="connsiteX0" fmla="*/ 133026 w 175473"/>
                <a:gd name="connsiteY0" fmla="*/ 85105 h 133022"/>
                <a:gd name="connsiteX1" fmla="*/ 175473 w 175473"/>
                <a:gd name="connsiteY1" fmla="*/ 85105 h 133022"/>
                <a:gd name="connsiteX2" fmla="*/ 175473 w 175473"/>
                <a:gd name="connsiteY2" fmla="*/ 32884 h 133022"/>
                <a:gd name="connsiteX3" fmla="*/ 158334 w 175473"/>
                <a:gd name="connsiteY3" fmla="*/ 32884 h 133022"/>
                <a:gd name="connsiteX4" fmla="*/ 155489 w 175473"/>
                <a:gd name="connsiteY4" fmla="*/ 25007 h 133022"/>
                <a:gd name="connsiteX5" fmla="*/ 127410 w 175473"/>
                <a:gd name="connsiteY5" fmla="*/ 25007 h 133022"/>
                <a:gd name="connsiteX6" fmla="*/ 126461 w 175473"/>
                <a:gd name="connsiteY6" fmla="*/ 34853 h 133022"/>
                <a:gd name="connsiteX7" fmla="*/ 113041 w 175473"/>
                <a:gd name="connsiteY7" fmla="*/ 34634 h 133022"/>
                <a:gd name="connsiteX8" fmla="*/ 108520 w 175473"/>
                <a:gd name="connsiteY8" fmla="*/ 14286 h 133022"/>
                <a:gd name="connsiteX9" fmla="*/ 101372 w 175473"/>
                <a:gd name="connsiteY9" fmla="*/ 428 h 133022"/>
                <a:gd name="connsiteX10" fmla="*/ 64467 w 175473"/>
                <a:gd name="connsiteY10" fmla="*/ 720 h 133022"/>
                <a:gd name="connsiteX11" fmla="*/ 46015 w 175473"/>
                <a:gd name="connsiteY11" fmla="*/ 2762 h 133022"/>
                <a:gd name="connsiteX12" fmla="*/ 36169 w 175473"/>
                <a:gd name="connsiteY12" fmla="*/ 23038 h 133022"/>
                <a:gd name="connsiteX13" fmla="*/ 33689 w 175473"/>
                <a:gd name="connsiteY13" fmla="*/ 33759 h 133022"/>
                <a:gd name="connsiteX14" fmla="*/ 35366 w 175473"/>
                <a:gd name="connsiteY14" fmla="*/ 80437 h 133022"/>
                <a:gd name="connsiteX15" fmla="*/ 44337 w 175473"/>
                <a:gd name="connsiteY15" fmla="*/ 86345 h 133022"/>
                <a:gd name="connsiteX16" fmla="*/ 63738 w 175473"/>
                <a:gd name="connsiteY16" fmla="*/ 86126 h 133022"/>
                <a:gd name="connsiteX17" fmla="*/ 64248 w 175473"/>
                <a:gd name="connsiteY17" fmla="*/ 90502 h 133022"/>
                <a:gd name="connsiteX18" fmla="*/ 53819 w 175473"/>
                <a:gd name="connsiteY18" fmla="*/ 92690 h 133022"/>
                <a:gd name="connsiteX19" fmla="*/ 11590 w 175473"/>
                <a:gd name="connsiteY19" fmla="*/ 95170 h 133022"/>
                <a:gd name="connsiteX20" fmla="*/ 66 w 175473"/>
                <a:gd name="connsiteY20" fmla="*/ 117050 h 133022"/>
                <a:gd name="connsiteX21" fmla="*/ 18154 w 175473"/>
                <a:gd name="connsiteY21" fmla="*/ 133023 h 133022"/>
                <a:gd name="connsiteX22" fmla="*/ 145570 w 175473"/>
                <a:gd name="connsiteY22" fmla="*/ 130835 h 133022"/>
                <a:gd name="connsiteX23" fmla="*/ 164752 w 175473"/>
                <a:gd name="connsiteY23" fmla="*/ 110048 h 133022"/>
                <a:gd name="connsiteX24" fmla="*/ 133463 w 175473"/>
                <a:gd name="connsiteY24" fmla="*/ 91815 h 133022"/>
                <a:gd name="connsiteX25" fmla="*/ 120262 w 175473"/>
                <a:gd name="connsiteY25" fmla="*/ 88970 h 133022"/>
                <a:gd name="connsiteX26" fmla="*/ 117782 w 175473"/>
                <a:gd name="connsiteY26" fmla="*/ 88752 h 133022"/>
                <a:gd name="connsiteX27" fmla="*/ 118584 w 175473"/>
                <a:gd name="connsiteY27" fmla="*/ 85469 h 133022"/>
                <a:gd name="connsiteX28" fmla="*/ 133026 w 175473"/>
                <a:gd name="connsiteY28" fmla="*/ 84959 h 133022"/>
                <a:gd name="connsiteX29" fmla="*/ 28511 w 175473"/>
                <a:gd name="connsiteY29" fmla="*/ 123031 h 133022"/>
                <a:gd name="connsiteX30" fmla="*/ 17279 w 175473"/>
                <a:gd name="connsiteY30" fmla="*/ 123031 h 133022"/>
                <a:gd name="connsiteX31" fmla="*/ 11663 w 175473"/>
                <a:gd name="connsiteY31" fmla="*/ 113257 h 133022"/>
                <a:gd name="connsiteX32" fmla="*/ 17279 w 175473"/>
                <a:gd name="connsiteY32" fmla="*/ 103484 h 133022"/>
                <a:gd name="connsiteX33" fmla="*/ 28511 w 175473"/>
                <a:gd name="connsiteY33" fmla="*/ 103484 h 133022"/>
                <a:gd name="connsiteX34" fmla="*/ 34127 w 175473"/>
                <a:gd name="connsiteY34" fmla="*/ 113257 h 133022"/>
                <a:gd name="connsiteX35" fmla="*/ 28511 w 175473"/>
                <a:gd name="connsiteY35" fmla="*/ 123031 h 133022"/>
                <a:gd name="connsiteX36" fmla="*/ 45650 w 175473"/>
                <a:gd name="connsiteY36" fmla="*/ 16838 h 133022"/>
                <a:gd name="connsiteX37" fmla="*/ 51777 w 175473"/>
                <a:gd name="connsiteY37" fmla="*/ 7722 h 133022"/>
                <a:gd name="connsiteX38" fmla="*/ 81242 w 175473"/>
                <a:gd name="connsiteY38" fmla="*/ 6700 h 133022"/>
                <a:gd name="connsiteX39" fmla="*/ 81388 w 175473"/>
                <a:gd name="connsiteY39" fmla="*/ 39010 h 133022"/>
                <a:gd name="connsiteX40" fmla="*/ 41055 w 175473"/>
                <a:gd name="connsiteY40" fmla="*/ 42219 h 133022"/>
                <a:gd name="connsiteX41" fmla="*/ 45650 w 175473"/>
                <a:gd name="connsiteY41" fmla="*/ 16838 h 133022"/>
                <a:gd name="connsiteX42" fmla="*/ 67312 w 175473"/>
                <a:gd name="connsiteY42" fmla="*/ 54181 h 133022"/>
                <a:gd name="connsiteX43" fmla="*/ 49151 w 175473"/>
                <a:gd name="connsiteY43" fmla="*/ 71539 h 133022"/>
                <a:gd name="connsiteX44" fmla="*/ 42514 w 175473"/>
                <a:gd name="connsiteY44" fmla="*/ 66652 h 133022"/>
                <a:gd name="connsiteX45" fmla="*/ 40909 w 175473"/>
                <a:gd name="connsiteY45" fmla="*/ 46741 h 133022"/>
                <a:gd name="connsiteX46" fmla="*/ 81461 w 175473"/>
                <a:gd name="connsiteY46" fmla="*/ 43313 h 133022"/>
                <a:gd name="connsiteX47" fmla="*/ 81461 w 175473"/>
                <a:gd name="connsiteY47" fmla="*/ 46450 h 133022"/>
                <a:gd name="connsiteX48" fmla="*/ 67385 w 175473"/>
                <a:gd name="connsiteY48" fmla="*/ 54181 h 133022"/>
                <a:gd name="connsiteX49" fmla="*/ 100497 w 175473"/>
                <a:gd name="connsiteY49" fmla="*/ 42074 h 133022"/>
                <a:gd name="connsiteX50" fmla="*/ 87660 w 175473"/>
                <a:gd name="connsiteY50" fmla="*/ 44918 h 133022"/>
                <a:gd name="connsiteX51" fmla="*/ 86785 w 175473"/>
                <a:gd name="connsiteY51" fmla="*/ 9982 h 133022"/>
                <a:gd name="connsiteX52" fmla="*/ 88463 w 175473"/>
                <a:gd name="connsiteY52" fmla="*/ 7503 h 133022"/>
                <a:gd name="connsiteX53" fmla="*/ 97944 w 175473"/>
                <a:gd name="connsiteY53" fmla="*/ 7576 h 133022"/>
                <a:gd name="connsiteX54" fmla="*/ 100424 w 175473"/>
                <a:gd name="connsiteY54" fmla="*/ 29894 h 133022"/>
                <a:gd name="connsiteX55" fmla="*/ 100424 w 175473"/>
                <a:gd name="connsiteY55" fmla="*/ 42074 h 133022"/>
                <a:gd name="connsiteX56" fmla="*/ 140829 w 175473"/>
                <a:gd name="connsiteY56" fmla="*/ 103557 h 133022"/>
                <a:gd name="connsiteX57" fmla="*/ 152061 w 175473"/>
                <a:gd name="connsiteY57" fmla="*/ 103557 h 133022"/>
                <a:gd name="connsiteX58" fmla="*/ 157677 w 175473"/>
                <a:gd name="connsiteY58" fmla="*/ 113330 h 133022"/>
                <a:gd name="connsiteX59" fmla="*/ 152061 w 175473"/>
                <a:gd name="connsiteY59" fmla="*/ 123104 h 133022"/>
                <a:gd name="connsiteX60" fmla="*/ 140829 w 175473"/>
                <a:gd name="connsiteY60" fmla="*/ 123104 h 133022"/>
                <a:gd name="connsiteX61" fmla="*/ 135213 w 175473"/>
                <a:gd name="connsiteY61" fmla="*/ 113330 h 133022"/>
                <a:gd name="connsiteX62" fmla="*/ 140829 w 175473"/>
                <a:gd name="connsiteY62" fmla="*/ 103557 h 133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75473" h="133022">
                  <a:moveTo>
                    <a:pt x="133026" y="85105"/>
                  </a:moveTo>
                  <a:lnTo>
                    <a:pt x="175473" y="85105"/>
                  </a:lnTo>
                  <a:lnTo>
                    <a:pt x="175473" y="32884"/>
                  </a:lnTo>
                  <a:lnTo>
                    <a:pt x="158334" y="32884"/>
                  </a:lnTo>
                  <a:lnTo>
                    <a:pt x="155489" y="25007"/>
                  </a:lnTo>
                  <a:lnTo>
                    <a:pt x="127410" y="25007"/>
                  </a:lnTo>
                  <a:cubicBezTo>
                    <a:pt x="127410" y="25007"/>
                    <a:pt x="127993" y="33030"/>
                    <a:pt x="126461" y="34853"/>
                  </a:cubicBezTo>
                  <a:cubicBezTo>
                    <a:pt x="118803" y="34853"/>
                    <a:pt x="113479" y="34853"/>
                    <a:pt x="113041" y="34634"/>
                  </a:cubicBezTo>
                  <a:cubicBezTo>
                    <a:pt x="111364" y="33759"/>
                    <a:pt x="108811" y="15963"/>
                    <a:pt x="108520" y="14286"/>
                  </a:cubicBezTo>
                  <a:cubicBezTo>
                    <a:pt x="108228" y="12608"/>
                    <a:pt x="104362" y="1741"/>
                    <a:pt x="101372" y="428"/>
                  </a:cubicBezTo>
                  <a:cubicBezTo>
                    <a:pt x="99330" y="-447"/>
                    <a:pt x="78179" y="209"/>
                    <a:pt x="64467" y="720"/>
                  </a:cubicBezTo>
                  <a:lnTo>
                    <a:pt x="46015" y="2762"/>
                  </a:lnTo>
                  <a:lnTo>
                    <a:pt x="36169" y="23038"/>
                  </a:lnTo>
                  <a:cubicBezTo>
                    <a:pt x="35294" y="26539"/>
                    <a:pt x="34418" y="30258"/>
                    <a:pt x="33689" y="33759"/>
                  </a:cubicBezTo>
                  <a:cubicBezTo>
                    <a:pt x="31209" y="45064"/>
                    <a:pt x="33762" y="73581"/>
                    <a:pt x="35366" y="80437"/>
                  </a:cubicBezTo>
                  <a:cubicBezTo>
                    <a:pt x="36971" y="87293"/>
                    <a:pt x="44337" y="86345"/>
                    <a:pt x="44337" y="86345"/>
                  </a:cubicBezTo>
                  <a:lnTo>
                    <a:pt x="63738" y="86126"/>
                  </a:lnTo>
                  <a:lnTo>
                    <a:pt x="64248" y="90502"/>
                  </a:lnTo>
                  <a:cubicBezTo>
                    <a:pt x="60602" y="91377"/>
                    <a:pt x="56736" y="92252"/>
                    <a:pt x="53819" y="92690"/>
                  </a:cubicBezTo>
                  <a:cubicBezTo>
                    <a:pt x="47984" y="93492"/>
                    <a:pt x="17279" y="94003"/>
                    <a:pt x="11590" y="95170"/>
                  </a:cubicBezTo>
                  <a:cubicBezTo>
                    <a:pt x="5901" y="96337"/>
                    <a:pt x="-736" y="101004"/>
                    <a:pt x="66" y="117050"/>
                  </a:cubicBezTo>
                  <a:cubicBezTo>
                    <a:pt x="869" y="133096"/>
                    <a:pt x="18154" y="133023"/>
                    <a:pt x="18154" y="133023"/>
                  </a:cubicBezTo>
                  <a:cubicBezTo>
                    <a:pt x="18154" y="133023"/>
                    <a:pt x="133609" y="130835"/>
                    <a:pt x="145570" y="130835"/>
                  </a:cubicBezTo>
                  <a:cubicBezTo>
                    <a:pt x="157531" y="130835"/>
                    <a:pt x="165773" y="126240"/>
                    <a:pt x="164752" y="110048"/>
                  </a:cubicBezTo>
                  <a:cubicBezTo>
                    <a:pt x="163731" y="93857"/>
                    <a:pt x="140027" y="91231"/>
                    <a:pt x="133463" y="91815"/>
                  </a:cubicBezTo>
                  <a:cubicBezTo>
                    <a:pt x="126899" y="92398"/>
                    <a:pt x="126753" y="89846"/>
                    <a:pt x="120262" y="88970"/>
                  </a:cubicBezTo>
                  <a:cubicBezTo>
                    <a:pt x="119679" y="88897"/>
                    <a:pt x="118876" y="88824"/>
                    <a:pt x="117782" y="88752"/>
                  </a:cubicBezTo>
                  <a:lnTo>
                    <a:pt x="118584" y="85469"/>
                  </a:lnTo>
                  <a:lnTo>
                    <a:pt x="133026" y="84959"/>
                  </a:lnTo>
                  <a:close/>
                  <a:moveTo>
                    <a:pt x="28511" y="123031"/>
                  </a:moveTo>
                  <a:lnTo>
                    <a:pt x="17279" y="123031"/>
                  </a:lnTo>
                  <a:lnTo>
                    <a:pt x="11663" y="113257"/>
                  </a:lnTo>
                  <a:lnTo>
                    <a:pt x="17279" y="103484"/>
                  </a:lnTo>
                  <a:lnTo>
                    <a:pt x="28511" y="103484"/>
                  </a:lnTo>
                  <a:lnTo>
                    <a:pt x="34127" y="113257"/>
                  </a:lnTo>
                  <a:lnTo>
                    <a:pt x="28511" y="123031"/>
                  </a:lnTo>
                  <a:close/>
                  <a:moveTo>
                    <a:pt x="45650" y="16838"/>
                  </a:moveTo>
                  <a:cubicBezTo>
                    <a:pt x="45650" y="16838"/>
                    <a:pt x="47328" y="8816"/>
                    <a:pt x="51777" y="7722"/>
                  </a:cubicBezTo>
                  <a:cubicBezTo>
                    <a:pt x="56226" y="6555"/>
                    <a:pt x="81242" y="6700"/>
                    <a:pt x="81242" y="6700"/>
                  </a:cubicBezTo>
                  <a:lnTo>
                    <a:pt x="81388" y="39010"/>
                  </a:lnTo>
                  <a:lnTo>
                    <a:pt x="41055" y="42219"/>
                  </a:lnTo>
                  <a:cubicBezTo>
                    <a:pt x="41639" y="33540"/>
                    <a:pt x="43316" y="24861"/>
                    <a:pt x="45650" y="16838"/>
                  </a:cubicBezTo>
                  <a:moveTo>
                    <a:pt x="67312" y="54181"/>
                  </a:moveTo>
                  <a:cubicBezTo>
                    <a:pt x="58560" y="59578"/>
                    <a:pt x="51923" y="71904"/>
                    <a:pt x="49151" y="71539"/>
                  </a:cubicBezTo>
                  <a:cubicBezTo>
                    <a:pt x="46307" y="71174"/>
                    <a:pt x="43900" y="73581"/>
                    <a:pt x="42514" y="66652"/>
                  </a:cubicBezTo>
                  <a:cubicBezTo>
                    <a:pt x="41201" y="60234"/>
                    <a:pt x="40691" y="53524"/>
                    <a:pt x="40909" y="46741"/>
                  </a:cubicBezTo>
                  <a:lnTo>
                    <a:pt x="81461" y="43313"/>
                  </a:lnTo>
                  <a:lnTo>
                    <a:pt x="81461" y="46450"/>
                  </a:lnTo>
                  <a:cubicBezTo>
                    <a:pt x="81461" y="46450"/>
                    <a:pt x="76137" y="48784"/>
                    <a:pt x="67385" y="54181"/>
                  </a:cubicBezTo>
                  <a:moveTo>
                    <a:pt x="100497" y="42074"/>
                  </a:moveTo>
                  <a:cubicBezTo>
                    <a:pt x="99840" y="44407"/>
                    <a:pt x="87660" y="44918"/>
                    <a:pt x="87660" y="44918"/>
                  </a:cubicBezTo>
                  <a:lnTo>
                    <a:pt x="86785" y="9982"/>
                  </a:lnTo>
                  <a:cubicBezTo>
                    <a:pt x="86785" y="9982"/>
                    <a:pt x="86858" y="7430"/>
                    <a:pt x="88463" y="7503"/>
                  </a:cubicBezTo>
                  <a:cubicBezTo>
                    <a:pt x="88463" y="7503"/>
                    <a:pt x="97215" y="7138"/>
                    <a:pt x="97944" y="7576"/>
                  </a:cubicBezTo>
                  <a:cubicBezTo>
                    <a:pt x="98673" y="8013"/>
                    <a:pt x="100424" y="27997"/>
                    <a:pt x="100424" y="29894"/>
                  </a:cubicBezTo>
                  <a:cubicBezTo>
                    <a:pt x="100424" y="31790"/>
                    <a:pt x="101153" y="39740"/>
                    <a:pt x="100424" y="42074"/>
                  </a:cubicBezTo>
                  <a:moveTo>
                    <a:pt x="140829" y="103557"/>
                  </a:moveTo>
                  <a:lnTo>
                    <a:pt x="152061" y="103557"/>
                  </a:lnTo>
                  <a:lnTo>
                    <a:pt x="157677" y="113330"/>
                  </a:lnTo>
                  <a:lnTo>
                    <a:pt x="152061" y="123104"/>
                  </a:lnTo>
                  <a:lnTo>
                    <a:pt x="140829" y="123104"/>
                  </a:lnTo>
                  <a:lnTo>
                    <a:pt x="135213" y="113330"/>
                  </a:lnTo>
                  <a:lnTo>
                    <a:pt x="140829" y="103557"/>
                  </a:lnTo>
                  <a:close/>
                </a:path>
              </a:pathLst>
            </a:custGeom>
            <a:solidFill>
              <a:srgbClr val="3FAA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473AADA0-76DB-B759-9283-B055183B56F6}"/>
                </a:ext>
              </a:extLst>
            </p:cNvPr>
            <p:cNvSpPr/>
            <p:nvPr/>
          </p:nvSpPr>
          <p:spPr>
            <a:xfrm>
              <a:off x="2216504" y="5990359"/>
              <a:ext cx="175844" cy="165050"/>
            </a:xfrm>
            <a:custGeom>
              <a:avLst/>
              <a:gdLst>
                <a:gd name="connsiteX0" fmla="*/ 137846 w 175844"/>
                <a:gd name="connsiteY0" fmla="*/ 24214 h 165050"/>
                <a:gd name="connsiteX1" fmla="*/ 121071 w 175844"/>
                <a:gd name="connsiteY1" fmla="*/ 10940 h 165050"/>
                <a:gd name="connsiteX2" fmla="*/ 97805 w 175844"/>
                <a:gd name="connsiteY2" fmla="*/ 0 h 165050"/>
                <a:gd name="connsiteX3" fmla="*/ 97805 w 175844"/>
                <a:gd name="connsiteY3" fmla="*/ 0 h 165050"/>
                <a:gd name="connsiteX4" fmla="*/ 97805 w 175844"/>
                <a:gd name="connsiteY4" fmla="*/ 0 h 165050"/>
                <a:gd name="connsiteX5" fmla="*/ 78623 w 175844"/>
                <a:gd name="connsiteY5" fmla="*/ 0 h 165050"/>
                <a:gd name="connsiteX6" fmla="*/ 68996 w 175844"/>
                <a:gd name="connsiteY6" fmla="*/ 16629 h 165050"/>
                <a:gd name="connsiteX7" fmla="*/ 68121 w 175844"/>
                <a:gd name="connsiteY7" fmla="*/ 18379 h 165050"/>
                <a:gd name="connsiteX8" fmla="*/ 219 w 175844"/>
                <a:gd name="connsiteY8" fmla="*/ 120779 h 165050"/>
                <a:gd name="connsiteX9" fmla="*/ 0 w 175844"/>
                <a:gd name="connsiteY9" fmla="*/ 120779 h 165050"/>
                <a:gd name="connsiteX10" fmla="*/ 0 w 175844"/>
                <a:gd name="connsiteY10" fmla="*/ 120998 h 165050"/>
                <a:gd name="connsiteX11" fmla="*/ 0 w 175844"/>
                <a:gd name="connsiteY11" fmla="*/ 120998 h 165050"/>
                <a:gd name="connsiteX12" fmla="*/ 146 w 175844"/>
                <a:gd name="connsiteY12" fmla="*/ 121144 h 165050"/>
                <a:gd name="connsiteX13" fmla="*/ 6272 w 175844"/>
                <a:gd name="connsiteY13" fmla="*/ 141930 h 165050"/>
                <a:gd name="connsiteX14" fmla="*/ 19473 w 175844"/>
                <a:gd name="connsiteY14" fmla="*/ 164759 h 165050"/>
                <a:gd name="connsiteX15" fmla="*/ 45511 w 175844"/>
                <a:gd name="connsiteY15" fmla="*/ 164759 h 165050"/>
                <a:gd name="connsiteX16" fmla="*/ 45511 w 175844"/>
                <a:gd name="connsiteY16" fmla="*/ 165050 h 165050"/>
                <a:gd name="connsiteX17" fmla="*/ 45730 w 175844"/>
                <a:gd name="connsiteY17" fmla="*/ 164759 h 165050"/>
                <a:gd name="connsiteX18" fmla="*/ 45876 w 175844"/>
                <a:gd name="connsiteY18" fmla="*/ 164759 h 165050"/>
                <a:gd name="connsiteX19" fmla="*/ 46167 w 175844"/>
                <a:gd name="connsiteY19" fmla="*/ 164321 h 165050"/>
                <a:gd name="connsiteX20" fmla="*/ 79207 w 175844"/>
                <a:gd name="connsiteY20" fmla="*/ 131428 h 165050"/>
                <a:gd name="connsiteX21" fmla="*/ 76289 w 175844"/>
                <a:gd name="connsiteY21" fmla="*/ 128510 h 165050"/>
                <a:gd name="connsiteX22" fmla="*/ 57618 w 175844"/>
                <a:gd name="connsiteY22" fmla="*/ 139450 h 165050"/>
                <a:gd name="connsiteX23" fmla="*/ 45876 w 175844"/>
                <a:gd name="connsiteY23" fmla="*/ 119175 h 165050"/>
                <a:gd name="connsiteX24" fmla="*/ 33550 w 175844"/>
                <a:gd name="connsiteY24" fmla="*/ 119175 h 165050"/>
                <a:gd name="connsiteX25" fmla="*/ 81322 w 175844"/>
                <a:gd name="connsiteY25" fmla="*/ 33185 h 165050"/>
                <a:gd name="connsiteX26" fmla="*/ 98024 w 175844"/>
                <a:gd name="connsiteY26" fmla="*/ 33185 h 165050"/>
                <a:gd name="connsiteX27" fmla="*/ 98024 w 175844"/>
                <a:gd name="connsiteY27" fmla="*/ 33039 h 165050"/>
                <a:gd name="connsiteX28" fmla="*/ 123551 w 175844"/>
                <a:gd name="connsiteY28" fmla="*/ 41937 h 165050"/>
                <a:gd name="connsiteX29" fmla="*/ 163519 w 175844"/>
                <a:gd name="connsiteY29" fmla="*/ 71330 h 165050"/>
                <a:gd name="connsiteX30" fmla="*/ 175845 w 175844"/>
                <a:gd name="connsiteY30" fmla="*/ 40333 h 165050"/>
                <a:gd name="connsiteX31" fmla="*/ 138065 w 175844"/>
                <a:gd name="connsiteY31" fmla="*/ 24141 h 165050"/>
                <a:gd name="connsiteX32" fmla="*/ 38947 w 175844"/>
                <a:gd name="connsiteY32" fmla="*/ 129021 h 165050"/>
                <a:gd name="connsiteX33" fmla="*/ 46022 w 175844"/>
                <a:gd name="connsiteY33" fmla="*/ 141347 h 165050"/>
                <a:gd name="connsiteX34" fmla="*/ 38947 w 175844"/>
                <a:gd name="connsiteY34" fmla="*/ 153673 h 165050"/>
                <a:gd name="connsiteX35" fmla="*/ 24725 w 175844"/>
                <a:gd name="connsiteY35" fmla="*/ 153673 h 165050"/>
                <a:gd name="connsiteX36" fmla="*/ 17650 w 175844"/>
                <a:gd name="connsiteY36" fmla="*/ 141347 h 165050"/>
                <a:gd name="connsiteX37" fmla="*/ 24725 w 175844"/>
                <a:gd name="connsiteY37" fmla="*/ 129021 h 165050"/>
                <a:gd name="connsiteX38" fmla="*/ 38947 w 175844"/>
                <a:gd name="connsiteY38" fmla="*/ 129021 h 165050"/>
                <a:gd name="connsiteX39" fmla="*/ 20130 w 175844"/>
                <a:gd name="connsiteY39" fmla="*/ 118664 h 165050"/>
                <a:gd name="connsiteX40" fmla="*/ 4084 w 175844"/>
                <a:gd name="connsiteY40" fmla="*/ 120342 h 165050"/>
                <a:gd name="connsiteX41" fmla="*/ 58274 w 175844"/>
                <a:gd name="connsiteY41" fmla="*/ 38947 h 165050"/>
                <a:gd name="connsiteX42" fmla="*/ 20130 w 175844"/>
                <a:gd name="connsiteY42" fmla="*/ 118664 h 165050"/>
                <a:gd name="connsiteX43" fmla="*/ 92116 w 175844"/>
                <a:gd name="connsiteY43" fmla="*/ 23558 h 165050"/>
                <a:gd name="connsiteX44" fmla="*/ 84166 w 175844"/>
                <a:gd name="connsiteY44" fmla="*/ 23558 h 165050"/>
                <a:gd name="connsiteX45" fmla="*/ 80228 w 175844"/>
                <a:gd name="connsiteY45" fmla="*/ 16702 h 165050"/>
                <a:gd name="connsiteX46" fmla="*/ 84166 w 175844"/>
                <a:gd name="connsiteY46" fmla="*/ 9846 h 165050"/>
                <a:gd name="connsiteX47" fmla="*/ 92116 w 175844"/>
                <a:gd name="connsiteY47" fmla="*/ 9846 h 165050"/>
                <a:gd name="connsiteX48" fmla="*/ 96054 w 175844"/>
                <a:gd name="connsiteY48" fmla="*/ 16702 h 165050"/>
                <a:gd name="connsiteX49" fmla="*/ 92116 w 175844"/>
                <a:gd name="connsiteY49" fmla="*/ 23558 h 165050"/>
                <a:gd name="connsiteX50" fmla="*/ 106484 w 175844"/>
                <a:gd name="connsiteY50" fmla="*/ 15097 h 165050"/>
                <a:gd name="connsiteX51" fmla="*/ 100795 w 175844"/>
                <a:gd name="connsiteY51" fmla="*/ 5178 h 165050"/>
                <a:gd name="connsiteX52" fmla="*/ 119685 w 175844"/>
                <a:gd name="connsiteY52" fmla="*/ 13858 h 165050"/>
                <a:gd name="connsiteX53" fmla="*/ 126614 w 175844"/>
                <a:gd name="connsiteY53" fmla="*/ 19401 h 165050"/>
                <a:gd name="connsiteX54" fmla="*/ 123332 w 175844"/>
                <a:gd name="connsiteY54" fmla="*/ 18015 h 165050"/>
                <a:gd name="connsiteX55" fmla="*/ 106484 w 175844"/>
                <a:gd name="connsiteY55" fmla="*/ 15097 h 16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75844" h="165050">
                  <a:moveTo>
                    <a:pt x="137846" y="24214"/>
                  </a:moveTo>
                  <a:lnTo>
                    <a:pt x="121071" y="10940"/>
                  </a:lnTo>
                  <a:lnTo>
                    <a:pt x="97805" y="0"/>
                  </a:lnTo>
                  <a:lnTo>
                    <a:pt x="97805" y="0"/>
                  </a:lnTo>
                  <a:cubicBezTo>
                    <a:pt x="97805" y="0"/>
                    <a:pt x="97805" y="0"/>
                    <a:pt x="97805" y="0"/>
                  </a:cubicBezTo>
                  <a:lnTo>
                    <a:pt x="78623" y="0"/>
                  </a:lnTo>
                  <a:lnTo>
                    <a:pt x="68996" y="16629"/>
                  </a:lnTo>
                  <a:lnTo>
                    <a:pt x="68121" y="18379"/>
                  </a:lnTo>
                  <a:lnTo>
                    <a:pt x="219" y="120779"/>
                  </a:lnTo>
                  <a:lnTo>
                    <a:pt x="0" y="120779"/>
                  </a:lnTo>
                  <a:cubicBezTo>
                    <a:pt x="0" y="120779"/>
                    <a:pt x="0" y="120998"/>
                    <a:pt x="0" y="120998"/>
                  </a:cubicBezTo>
                  <a:lnTo>
                    <a:pt x="0" y="120998"/>
                  </a:lnTo>
                  <a:cubicBezTo>
                    <a:pt x="0" y="120998"/>
                    <a:pt x="146" y="121144"/>
                    <a:pt x="146" y="121144"/>
                  </a:cubicBezTo>
                  <a:lnTo>
                    <a:pt x="6272" y="141930"/>
                  </a:lnTo>
                  <a:lnTo>
                    <a:pt x="19473" y="164759"/>
                  </a:lnTo>
                  <a:lnTo>
                    <a:pt x="45511" y="164759"/>
                  </a:lnTo>
                  <a:lnTo>
                    <a:pt x="45511" y="165050"/>
                  </a:lnTo>
                  <a:cubicBezTo>
                    <a:pt x="45511" y="165050"/>
                    <a:pt x="45584" y="164904"/>
                    <a:pt x="45730" y="164759"/>
                  </a:cubicBezTo>
                  <a:lnTo>
                    <a:pt x="45876" y="164759"/>
                  </a:lnTo>
                  <a:lnTo>
                    <a:pt x="46167" y="164321"/>
                  </a:lnTo>
                  <a:cubicBezTo>
                    <a:pt x="50908" y="158997"/>
                    <a:pt x="79207" y="131428"/>
                    <a:pt x="79207" y="131428"/>
                  </a:cubicBezTo>
                  <a:lnTo>
                    <a:pt x="76289" y="128510"/>
                  </a:lnTo>
                  <a:lnTo>
                    <a:pt x="57618" y="139450"/>
                  </a:lnTo>
                  <a:lnTo>
                    <a:pt x="45876" y="119175"/>
                  </a:lnTo>
                  <a:lnTo>
                    <a:pt x="33550" y="119175"/>
                  </a:lnTo>
                  <a:lnTo>
                    <a:pt x="81322" y="33185"/>
                  </a:lnTo>
                  <a:lnTo>
                    <a:pt x="98024" y="33185"/>
                  </a:lnTo>
                  <a:lnTo>
                    <a:pt x="98024" y="33039"/>
                  </a:lnTo>
                  <a:cubicBezTo>
                    <a:pt x="98024" y="33039"/>
                    <a:pt x="123551" y="41937"/>
                    <a:pt x="123551" y="41937"/>
                  </a:cubicBezTo>
                  <a:lnTo>
                    <a:pt x="163519" y="71330"/>
                  </a:lnTo>
                  <a:lnTo>
                    <a:pt x="175845" y="40333"/>
                  </a:lnTo>
                  <a:lnTo>
                    <a:pt x="138065" y="24141"/>
                  </a:lnTo>
                  <a:close/>
                  <a:moveTo>
                    <a:pt x="38947" y="129021"/>
                  </a:moveTo>
                  <a:lnTo>
                    <a:pt x="46022" y="141347"/>
                  </a:lnTo>
                  <a:lnTo>
                    <a:pt x="38947" y="153673"/>
                  </a:lnTo>
                  <a:lnTo>
                    <a:pt x="24725" y="153673"/>
                  </a:lnTo>
                  <a:lnTo>
                    <a:pt x="17650" y="141347"/>
                  </a:lnTo>
                  <a:lnTo>
                    <a:pt x="24725" y="129021"/>
                  </a:lnTo>
                  <a:lnTo>
                    <a:pt x="38947" y="129021"/>
                  </a:lnTo>
                  <a:close/>
                  <a:moveTo>
                    <a:pt x="20130" y="118664"/>
                  </a:moveTo>
                  <a:lnTo>
                    <a:pt x="4084" y="120342"/>
                  </a:lnTo>
                  <a:lnTo>
                    <a:pt x="58274" y="38947"/>
                  </a:lnTo>
                  <a:lnTo>
                    <a:pt x="20130" y="118664"/>
                  </a:lnTo>
                  <a:close/>
                  <a:moveTo>
                    <a:pt x="92116" y="23558"/>
                  </a:moveTo>
                  <a:lnTo>
                    <a:pt x="84166" y="23558"/>
                  </a:lnTo>
                  <a:lnTo>
                    <a:pt x="80228" y="16702"/>
                  </a:lnTo>
                  <a:lnTo>
                    <a:pt x="84166" y="9846"/>
                  </a:lnTo>
                  <a:lnTo>
                    <a:pt x="92116" y="9846"/>
                  </a:lnTo>
                  <a:lnTo>
                    <a:pt x="96054" y="16702"/>
                  </a:lnTo>
                  <a:lnTo>
                    <a:pt x="92116" y="23558"/>
                  </a:lnTo>
                  <a:close/>
                  <a:moveTo>
                    <a:pt x="106484" y="15097"/>
                  </a:moveTo>
                  <a:lnTo>
                    <a:pt x="100795" y="5178"/>
                  </a:lnTo>
                  <a:lnTo>
                    <a:pt x="119685" y="13858"/>
                  </a:lnTo>
                  <a:lnTo>
                    <a:pt x="126614" y="19401"/>
                  </a:lnTo>
                  <a:lnTo>
                    <a:pt x="123332" y="18015"/>
                  </a:lnTo>
                  <a:lnTo>
                    <a:pt x="106484" y="15097"/>
                  </a:lnTo>
                  <a:close/>
                </a:path>
              </a:pathLst>
            </a:custGeom>
            <a:solidFill>
              <a:srgbClr val="3FAA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44BD44FA-CB5F-71C5-0C61-01EE60C5611E}"/>
                </a:ext>
              </a:extLst>
            </p:cNvPr>
            <p:cNvSpPr/>
            <p:nvPr/>
          </p:nvSpPr>
          <p:spPr>
            <a:xfrm>
              <a:off x="2502625" y="6101511"/>
              <a:ext cx="11158" cy="4376"/>
            </a:xfrm>
            <a:custGeom>
              <a:avLst/>
              <a:gdLst>
                <a:gd name="connsiteX0" fmla="*/ 0 w 11158"/>
                <a:gd name="connsiteY0" fmla="*/ 0 h 4376"/>
                <a:gd name="connsiteX1" fmla="*/ 11159 w 11158"/>
                <a:gd name="connsiteY1" fmla="*/ 0 h 4376"/>
                <a:gd name="connsiteX2" fmla="*/ 11159 w 11158"/>
                <a:gd name="connsiteY2" fmla="*/ 4376 h 4376"/>
                <a:gd name="connsiteX3" fmla="*/ 0 w 11158"/>
                <a:gd name="connsiteY3" fmla="*/ 4376 h 4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58" h="4376">
                  <a:moveTo>
                    <a:pt x="0" y="0"/>
                  </a:moveTo>
                  <a:lnTo>
                    <a:pt x="11159" y="0"/>
                  </a:lnTo>
                  <a:lnTo>
                    <a:pt x="11159" y="4376"/>
                  </a:lnTo>
                  <a:lnTo>
                    <a:pt x="0" y="4376"/>
                  </a:lnTo>
                  <a:close/>
                </a:path>
              </a:pathLst>
            </a:custGeom>
            <a:solidFill>
              <a:srgbClr val="3FAA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BB2DE726-DE52-A7E6-97A4-12C38EE716E0}"/>
                </a:ext>
              </a:extLst>
            </p:cNvPr>
            <p:cNvSpPr/>
            <p:nvPr/>
          </p:nvSpPr>
          <p:spPr>
            <a:xfrm>
              <a:off x="2488767" y="6101511"/>
              <a:ext cx="11158" cy="4376"/>
            </a:xfrm>
            <a:custGeom>
              <a:avLst/>
              <a:gdLst>
                <a:gd name="connsiteX0" fmla="*/ 0 w 11158"/>
                <a:gd name="connsiteY0" fmla="*/ 0 h 4376"/>
                <a:gd name="connsiteX1" fmla="*/ 11159 w 11158"/>
                <a:gd name="connsiteY1" fmla="*/ 0 h 4376"/>
                <a:gd name="connsiteX2" fmla="*/ 11159 w 11158"/>
                <a:gd name="connsiteY2" fmla="*/ 4376 h 4376"/>
                <a:gd name="connsiteX3" fmla="*/ 0 w 11158"/>
                <a:gd name="connsiteY3" fmla="*/ 4376 h 4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58" h="4376">
                  <a:moveTo>
                    <a:pt x="0" y="0"/>
                  </a:moveTo>
                  <a:lnTo>
                    <a:pt x="11159" y="0"/>
                  </a:lnTo>
                  <a:lnTo>
                    <a:pt x="11159" y="4376"/>
                  </a:lnTo>
                  <a:lnTo>
                    <a:pt x="0" y="4376"/>
                  </a:lnTo>
                  <a:close/>
                </a:path>
              </a:pathLst>
            </a:custGeom>
            <a:solidFill>
              <a:srgbClr val="3FAA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F6D90D5A-94F9-1B31-4933-B680F8E30CCE}"/>
                </a:ext>
              </a:extLst>
            </p:cNvPr>
            <p:cNvSpPr/>
            <p:nvPr/>
          </p:nvSpPr>
          <p:spPr>
            <a:xfrm>
              <a:off x="2222630" y="6208360"/>
              <a:ext cx="159288" cy="17868"/>
            </a:xfrm>
            <a:custGeom>
              <a:avLst/>
              <a:gdLst>
                <a:gd name="connsiteX0" fmla="*/ 0 w 159288"/>
                <a:gd name="connsiteY0" fmla="*/ 0 h 17868"/>
                <a:gd name="connsiteX1" fmla="*/ 159288 w 159288"/>
                <a:gd name="connsiteY1" fmla="*/ 0 h 17868"/>
                <a:gd name="connsiteX2" fmla="*/ 159288 w 159288"/>
                <a:gd name="connsiteY2" fmla="*/ 17869 h 17868"/>
                <a:gd name="connsiteX3" fmla="*/ 0 w 159288"/>
                <a:gd name="connsiteY3" fmla="*/ 17869 h 1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288" h="17868">
                  <a:moveTo>
                    <a:pt x="0" y="0"/>
                  </a:moveTo>
                  <a:lnTo>
                    <a:pt x="159288" y="0"/>
                  </a:lnTo>
                  <a:lnTo>
                    <a:pt x="159288" y="17869"/>
                  </a:lnTo>
                  <a:lnTo>
                    <a:pt x="0" y="17869"/>
                  </a:lnTo>
                  <a:close/>
                </a:path>
              </a:pathLst>
            </a:custGeom>
            <a:solidFill>
              <a:srgbClr val="3FAA48"/>
            </a:solidFill>
            <a:ln w="72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55" name="Text Placeholder 81">
            <a:extLst>
              <a:ext uri="{FF2B5EF4-FFF2-40B4-BE49-F238E27FC236}">
                <a16:creationId xmlns:a16="http://schemas.microsoft.com/office/drawing/2014/main" id="{DF272AE5-C7A7-6BCD-FFC6-C4EB8873E3D6}"/>
              </a:ext>
            </a:extLst>
          </p:cNvPr>
          <p:cNvSpPr txBox="1">
            <a:spLocks/>
          </p:cNvSpPr>
          <p:nvPr/>
        </p:nvSpPr>
        <p:spPr>
          <a:xfrm>
            <a:off x="10436805" y="1498334"/>
            <a:ext cx="1049972" cy="1454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50" dirty="0"/>
              <a:t>Med Dev</a:t>
            </a:r>
          </a:p>
        </p:txBody>
      </p:sp>
      <p:sp>
        <p:nvSpPr>
          <p:cNvPr id="256" name="Text Placeholder 81">
            <a:extLst>
              <a:ext uri="{FF2B5EF4-FFF2-40B4-BE49-F238E27FC236}">
                <a16:creationId xmlns:a16="http://schemas.microsoft.com/office/drawing/2014/main" id="{DCE3B9A4-B30A-D860-E5BE-235975473357}"/>
              </a:ext>
            </a:extLst>
          </p:cNvPr>
          <p:cNvSpPr txBox="1">
            <a:spLocks/>
          </p:cNvSpPr>
          <p:nvPr/>
        </p:nvSpPr>
        <p:spPr>
          <a:xfrm>
            <a:off x="7926299" y="1498334"/>
            <a:ext cx="1828800" cy="1454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50" dirty="0"/>
              <a:t>Energy</a:t>
            </a:r>
          </a:p>
        </p:txBody>
      </p:sp>
      <p:sp>
        <p:nvSpPr>
          <p:cNvPr id="257" name="Text Placeholder 81">
            <a:extLst>
              <a:ext uri="{FF2B5EF4-FFF2-40B4-BE49-F238E27FC236}">
                <a16:creationId xmlns:a16="http://schemas.microsoft.com/office/drawing/2014/main" id="{4A873464-93E3-0DA0-B53A-F1A4B0810F2E}"/>
              </a:ext>
            </a:extLst>
          </p:cNvPr>
          <p:cNvSpPr txBox="1">
            <a:spLocks/>
          </p:cNvSpPr>
          <p:nvPr/>
        </p:nvSpPr>
        <p:spPr>
          <a:xfrm>
            <a:off x="6272257" y="1498334"/>
            <a:ext cx="1049972" cy="1454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50" dirty="0"/>
              <a:t>FA&amp;D</a:t>
            </a:r>
          </a:p>
        </p:txBody>
      </p:sp>
      <p:sp>
        <p:nvSpPr>
          <p:cNvPr id="258" name="Text Placeholder 81">
            <a:extLst>
              <a:ext uri="{FF2B5EF4-FFF2-40B4-BE49-F238E27FC236}">
                <a16:creationId xmlns:a16="http://schemas.microsoft.com/office/drawing/2014/main" id="{CEDE934A-0DD8-A380-D810-8F5CF90A50C4}"/>
              </a:ext>
            </a:extLst>
          </p:cNvPr>
          <p:cNvSpPr txBox="1">
            <a:spLocks/>
          </p:cNvSpPr>
          <p:nvPr/>
        </p:nvSpPr>
        <p:spPr>
          <a:xfrm>
            <a:off x="4810009" y="1498334"/>
            <a:ext cx="1049972" cy="1454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50" dirty="0"/>
              <a:t>Automotive</a:t>
            </a:r>
          </a:p>
        </p:txBody>
      </p:sp>
      <p:sp>
        <p:nvSpPr>
          <p:cNvPr id="259" name="Text Placeholder 81">
            <a:extLst>
              <a:ext uri="{FF2B5EF4-FFF2-40B4-BE49-F238E27FC236}">
                <a16:creationId xmlns:a16="http://schemas.microsoft.com/office/drawing/2014/main" id="{009B4D13-6AFE-5F55-C61C-A9F17D988A41}"/>
              </a:ext>
            </a:extLst>
          </p:cNvPr>
          <p:cNvSpPr txBox="1">
            <a:spLocks/>
          </p:cNvSpPr>
          <p:nvPr/>
        </p:nvSpPr>
        <p:spPr>
          <a:xfrm>
            <a:off x="3188266" y="1498334"/>
            <a:ext cx="1049972" cy="1454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50" dirty="0"/>
              <a:t>High Tech</a:t>
            </a:r>
          </a:p>
        </p:txBody>
      </p:sp>
      <p:sp>
        <p:nvSpPr>
          <p:cNvPr id="260" name="Text Placeholder 81">
            <a:extLst>
              <a:ext uri="{FF2B5EF4-FFF2-40B4-BE49-F238E27FC236}">
                <a16:creationId xmlns:a16="http://schemas.microsoft.com/office/drawing/2014/main" id="{0226CFE3-839D-F46A-1FEF-235D9AD388FF}"/>
              </a:ext>
            </a:extLst>
          </p:cNvPr>
          <p:cNvSpPr txBox="1">
            <a:spLocks/>
          </p:cNvSpPr>
          <p:nvPr/>
        </p:nvSpPr>
        <p:spPr>
          <a:xfrm>
            <a:off x="565848" y="1498334"/>
            <a:ext cx="210312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00" dirty="0"/>
              <a:t>Industrial</a:t>
            </a:r>
          </a:p>
        </p:txBody>
      </p:sp>
      <p:pic>
        <p:nvPicPr>
          <p:cNvPr id="261" name="Graphic 260">
            <a:extLst>
              <a:ext uri="{FF2B5EF4-FFF2-40B4-BE49-F238E27FC236}">
                <a16:creationId xmlns:a16="http://schemas.microsoft.com/office/drawing/2014/main" id="{B0D2F3F7-6756-A539-5DD7-966289E071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85472" y="1849485"/>
            <a:ext cx="774700" cy="609600"/>
          </a:xfrm>
          <a:prstGeom prst="rect">
            <a:avLst/>
          </a:prstGeom>
        </p:spPr>
      </p:pic>
      <p:pic>
        <p:nvPicPr>
          <p:cNvPr id="262" name="Graphic 261">
            <a:extLst>
              <a:ext uri="{FF2B5EF4-FFF2-40B4-BE49-F238E27FC236}">
                <a16:creationId xmlns:a16="http://schemas.microsoft.com/office/drawing/2014/main" id="{2B94A097-7756-1F61-A773-6278B1B67F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48809" y="1849485"/>
            <a:ext cx="774700" cy="609600"/>
          </a:xfrm>
          <a:prstGeom prst="rect">
            <a:avLst/>
          </a:prstGeom>
        </p:spPr>
      </p:pic>
      <p:pic>
        <p:nvPicPr>
          <p:cNvPr id="263" name="Graphic 262">
            <a:extLst>
              <a:ext uri="{FF2B5EF4-FFF2-40B4-BE49-F238E27FC236}">
                <a16:creationId xmlns:a16="http://schemas.microsoft.com/office/drawing/2014/main" id="{27E76EE4-61A4-FF56-8FC0-FA1E4199EE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74441" y="1826041"/>
            <a:ext cx="774700" cy="609600"/>
          </a:xfrm>
          <a:prstGeom prst="rect">
            <a:avLst/>
          </a:prstGeom>
        </p:spPr>
      </p:pic>
      <p:pic>
        <p:nvPicPr>
          <p:cNvPr id="264" name="Graphic 263">
            <a:extLst>
              <a:ext uri="{FF2B5EF4-FFF2-40B4-BE49-F238E27FC236}">
                <a16:creationId xmlns:a16="http://schemas.microsoft.com/office/drawing/2014/main" id="{857B7B83-3EEA-64D4-F42D-BE44D7CC504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73863" y="1849485"/>
            <a:ext cx="774700" cy="609600"/>
          </a:xfrm>
          <a:prstGeom prst="rect">
            <a:avLst/>
          </a:prstGeom>
        </p:spPr>
      </p:pic>
      <p:pic>
        <p:nvPicPr>
          <p:cNvPr id="265" name="Graphic 264">
            <a:extLst>
              <a:ext uri="{FF2B5EF4-FFF2-40B4-BE49-F238E27FC236}">
                <a16:creationId xmlns:a16="http://schemas.microsoft.com/office/drawing/2014/main" id="{43BB3359-2483-E487-8CCD-079EF4EE7A2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6041" y="1826041"/>
            <a:ext cx="774700" cy="609600"/>
          </a:xfrm>
          <a:prstGeom prst="rect">
            <a:avLst/>
          </a:prstGeom>
        </p:spPr>
      </p:pic>
      <p:pic>
        <p:nvPicPr>
          <p:cNvPr id="266" name="Graphic 265">
            <a:extLst>
              <a:ext uri="{FF2B5EF4-FFF2-40B4-BE49-F238E27FC236}">
                <a16:creationId xmlns:a16="http://schemas.microsoft.com/office/drawing/2014/main" id="{644A094A-46B2-73EA-2941-B36A9D59858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259840" y="1849485"/>
            <a:ext cx="774700" cy="609600"/>
          </a:xfrm>
          <a:prstGeom prst="rect">
            <a:avLst/>
          </a:prstGeom>
        </p:spPr>
      </p:pic>
      <p:pic>
        <p:nvPicPr>
          <p:cNvPr id="267" name="Graphic 266">
            <a:extLst>
              <a:ext uri="{FF2B5EF4-FFF2-40B4-BE49-F238E27FC236}">
                <a16:creationId xmlns:a16="http://schemas.microsoft.com/office/drawing/2014/main" id="{A480B84C-5A70-71D7-DCD3-FA646A1887F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926305" y="1849485"/>
            <a:ext cx="774700" cy="609600"/>
          </a:xfrm>
          <a:prstGeom prst="rect">
            <a:avLst/>
          </a:prstGeom>
        </p:spPr>
      </p:pic>
      <p:sp>
        <p:nvSpPr>
          <p:cNvPr id="30" name="object 60">
            <a:extLst>
              <a:ext uri="{FF2B5EF4-FFF2-40B4-BE49-F238E27FC236}">
                <a16:creationId xmlns:a16="http://schemas.microsoft.com/office/drawing/2014/main" id="{D12122FD-0A58-E2E3-5F2D-2B47F9A886F7}"/>
              </a:ext>
            </a:extLst>
          </p:cNvPr>
          <p:cNvSpPr txBox="1"/>
          <p:nvPr/>
        </p:nvSpPr>
        <p:spPr>
          <a:xfrm>
            <a:off x="505695" y="3229855"/>
            <a:ext cx="125412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Maintenance Manager</a:t>
            </a:r>
            <a:endParaRPr dirty="0"/>
          </a:p>
        </p:txBody>
      </p:sp>
      <p:sp>
        <p:nvSpPr>
          <p:cNvPr id="35" name="object 9">
            <a:extLst>
              <a:ext uri="{FF2B5EF4-FFF2-40B4-BE49-F238E27FC236}">
                <a16:creationId xmlns:a16="http://schemas.microsoft.com/office/drawing/2014/main" id="{17FA2848-1F78-EDE2-68C2-759E3C56F382}"/>
              </a:ext>
            </a:extLst>
          </p:cNvPr>
          <p:cNvSpPr txBox="1"/>
          <p:nvPr/>
        </p:nvSpPr>
        <p:spPr>
          <a:xfrm>
            <a:off x="3571056" y="3299105"/>
            <a:ext cx="137223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Field Techni</a:t>
            </a:r>
            <a:r>
              <a:rPr lang="en-US" dirty="0"/>
              <a:t>cian</a:t>
            </a:r>
            <a:endParaRPr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F3AB5C2-6CBD-C566-998D-C1F4CDB46E2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866648" y="3527166"/>
            <a:ext cx="781050" cy="781050"/>
          </a:xfrm>
          <a:prstGeom prst="rect">
            <a:avLst/>
          </a:prstGeom>
        </p:spPr>
      </p:pic>
      <p:sp>
        <p:nvSpPr>
          <p:cNvPr id="5" name="object 11">
            <a:extLst>
              <a:ext uri="{FF2B5EF4-FFF2-40B4-BE49-F238E27FC236}">
                <a16:creationId xmlns:a16="http://schemas.microsoft.com/office/drawing/2014/main" id="{596ADA8E-A4AF-E5D1-E9CA-AA71DA94E919}"/>
              </a:ext>
            </a:extLst>
          </p:cNvPr>
          <p:cNvSpPr txBox="1"/>
          <p:nvPr/>
        </p:nvSpPr>
        <p:spPr>
          <a:xfrm>
            <a:off x="5934368" y="3299105"/>
            <a:ext cx="1617980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00" dirty="0"/>
              <a:t>G</a:t>
            </a:r>
            <a:r>
              <a:rPr sz="1000" dirty="0"/>
              <a:t>ears</a:t>
            </a:r>
            <a:r>
              <a:rPr lang="en-US" sz="1000" dirty="0"/>
              <a:t> </a:t>
            </a:r>
            <a:endParaRPr sz="1000" dirty="0"/>
          </a:p>
        </p:txBody>
      </p:sp>
      <p:sp>
        <p:nvSpPr>
          <p:cNvPr id="6" name="object 45">
            <a:extLst>
              <a:ext uri="{FF2B5EF4-FFF2-40B4-BE49-F238E27FC236}">
                <a16:creationId xmlns:a16="http://schemas.microsoft.com/office/drawing/2014/main" id="{BFC7ED6A-5FA4-BA26-F530-0309202288EC}"/>
              </a:ext>
            </a:extLst>
          </p:cNvPr>
          <p:cNvSpPr txBox="1"/>
          <p:nvPr/>
        </p:nvSpPr>
        <p:spPr>
          <a:xfrm>
            <a:off x="7264757" y="3299105"/>
            <a:ext cx="1610360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00" dirty="0"/>
              <a:t>G</a:t>
            </a:r>
            <a:r>
              <a:rPr sz="1000" dirty="0"/>
              <a:t>ear</a:t>
            </a:r>
            <a:r>
              <a:rPr lang="en-US" sz="1000" dirty="0"/>
              <a:t> </a:t>
            </a:r>
            <a:r>
              <a:rPr sz="1000" dirty="0"/>
              <a:t>settings</a:t>
            </a:r>
          </a:p>
        </p:txBody>
      </p:sp>
      <p:sp>
        <p:nvSpPr>
          <p:cNvPr id="7" name="object 19">
            <a:extLst>
              <a:ext uri="{FF2B5EF4-FFF2-40B4-BE49-F238E27FC236}">
                <a16:creationId xmlns:a16="http://schemas.microsoft.com/office/drawing/2014/main" id="{9B8973DB-51F1-AF40-0364-C31E78033931}"/>
              </a:ext>
            </a:extLst>
          </p:cNvPr>
          <p:cNvSpPr txBox="1"/>
          <p:nvPr/>
        </p:nvSpPr>
        <p:spPr>
          <a:xfrm>
            <a:off x="8755248" y="3299105"/>
            <a:ext cx="1313180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00" dirty="0"/>
              <a:t>W</a:t>
            </a:r>
            <a:r>
              <a:rPr sz="1000" dirty="0"/>
              <a:t>rench</a:t>
            </a:r>
            <a:r>
              <a:rPr lang="en-US" sz="1000" dirty="0"/>
              <a:t> </a:t>
            </a:r>
            <a:endParaRPr sz="1000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20B1554-CAD9-1B01-B63B-37113CFF807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107038" y="3612891"/>
            <a:ext cx="609600" cy="6096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947D1D06-7D10-9331-6188-95A915108B0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463671" y="3611367"/>
            <a:ext cx="559374" cy="61264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D051E87A-E050-87B8-EDC1-62521F1E14B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765137" y="3612891"/>
            <a:ext cx="609600" cy="6096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1E20A3-6F3A-F91C-9713-4FDC277D772E}"/>
              </a:ext>
            </a:extLst>
          </p:cNvPr>
          <p:cNvSpPr/>
          <p:nvPr/>
        </p:nvSpPr>
        <p:spPr>
          <a:xfrm>
            <a:off x="507663" y="2864521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Servic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DF8DFAC6-BF2B-EFC7-81D6-7D7A2DEA00DD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42232" y="3527166"/>
            <a:ext cx="781050" cy="781050"/>
          </a:xfrm>
          <a:prstGeom prst="rect">
            <a:avLst/>
          </a:prstGeom>
        </p:spPr>
      </p:pic>
      <p:sp>
        <p:nvSpPr>
          <p:cNvPr id="18" name="object 36">
            <a:extLst>
              <a:ext uri="{FF2B5EF4-FFF2-40B4-BE49-F238E27FC236}">
                <a16:creationId xmlns:a16="http://schemas.microsoft.com/office/drawing/2014/main" id="{9FC89479-C179-7F64-4BA1-A47EBD09C19A}"/>
              </a:ext>
            </a:extLst>
          </p:cNvPr>
          <p:cNvSpPr txBox="1"/>
          <p:nvPr/>
        </p:nvSpPr>
        <p:spPr>
          <a:xfrm>
            <a:off x="2044295" y="3229855"/>
            <a:ext cx="125412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ervice Technician Remote</a:t>
            </a:r>
            <a:endParaRPr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3FDB938-5B5F-CD7A-5004-EA8FA3300F8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252214" y="3561696"/>
            <a:ext cx="711991" cy="711991"/>
          </a:xfrm>
          <a:prstGeom prst="rect">
            <a:avLst/>
          </a:prstGeom>
        </p:spPr>
      </p:pic>
      <p:sp>
        <p:nvSpPr>
          <p:cNvPr id="16" name="object 36">
            <a:extLst>
              <a:ext uri="{FF2B5EF4-FFF2-40B4-BE49-F238E27FC236}">
                <a16:creationId xmlns:a16="http://schemas.microsoft.com/office/drawing/2014/main" id="{8AAD3E1F-4480-2893-254D-2E148028D42E}"/>
              </a:ext>
            </a:extLst>
          </p:cNvPr>
          <p:cNvSpPr txBox="1"/>
          <p:nvPr/>
        </p:nvSpPr>
        <p:spPr>
          <a:xfrm>
            <a:off x="4981147" y="3299105"/>
            <a:ext cx="12541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oolbox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9455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7" name="Graphic 226">
            <a:extLst>
              <a:ext uri="{FF2B5EF4-FFF2-40B4-BE49-F238E27FC236}">
                <a16:creationId xmlns:a16="http://schemas.microsoft.com/office/drawing/2014/main" id="{F2CB6CF1-AFB2-24A2-BDAA-C961CB2B9B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34634" y="4306295"/>
            <a:ext cx="781050" cy="781050"/>
          </a:xfrm>
          <a:prstGeom prst="rect">
            <a:avLst/>
          </a:prstGeom>
        </p:spPr>
      </p:pic>
      <p:pic>
        <p:nvPicPr>
          <p:cNvPr id="225" name="Graphic 224">
            <a:extLst>
              <a:ext uri="{FF2B5EF4-FFF2-40B4-BE49-F238E27FC236}">
                <a16:creationId xmlns:a16="http://schemas.microsoft.com/office/drawing/2014/main" id="{839B1EEC-1A56-45BF-A0C2-1A7AAEC4D9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03156" y="2906808"/>
            <a:ext cx="781050" cy="781050"/>
          </a:xfrm>
          <a:prstGeom prst="rect">
            <a:avLst/>
          </a:prstGeom>
        </p:spPr>
      </p:pic>
      <p:pic>
        <p:nvPicPr>
          <p:cNvPr id="223" name="Graphic 222">
            <a:extLst>
              <a:ext uri="{FF2B5EF4-FFF2-40B4-BE49-F238E27FC236}">
                <a16:creationId xmlns:a16="http://schemas.microsoft.com/office/drawing/2014/main" id="{397D9189-CCBD-F8C6-1758-5C4481037EF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61028" y="2906808"/>
            <a:ext cx="781050" cy="781050"/>
          </a:xfrm>
          <a:prstGeom prst="rect">
            <a:avLst/>
          </a:prstGeom>
        </p:spPr>
      </p:pic>
      <p:pic>
        <p:nvPicPr>
          <p:cNvPr id="200" name="Graphic 199">
            <a:extLst>
              <a:ext uri="{FF2B5EF4-FFF2-40B4-BE49-F238E27FC236}">
                <a16:creationId xmlns:a16="http://schemas.microsoft.com/office/drawing/2014/main" id="{A2EBCF75-D7B8-A652-C16A-7D28020049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4634" y="2906808"/>
            <a:ext cx="781050" cy="78105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B82C035B-7D97-3A9B-A476-0E18CE99F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Icons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A398D13D-ACA1-59B3-62D5-38388846AE9F}"/>
              </a:ext>
            </a:extLst>
          </p:cNvPr>
          <p:cNvSpPr/>
          <p:nvPr/>
        </p:nvSpPr>
        <p:spPr>
          <a:xfrm>
            <a:off x="507663" y="1193595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People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" name="object 9">
            <a:extLst>
              <a:ext uri="{FF2B5EF4-FFF2-40B4-BE49-F238E27FC236}">
                <a16:creationId xmlns:a16="http://schemas.microsoft.com/office/drawing/2014/main" id="{487FFA0C-F7C0-DBAB-908A-6FC08CD2BDE3}"/>
              </a:ext>
            </a:extLst>
          </p:cNvPr>
          <p:cNvSpPr txBox="1"/>
          <p:nvPr/>
        </p:nvSpPr>
        <p:spPr>
          <a:xfrm>
            <a:off x="10967441" y="5426755"/>
            <a:ext cx="974709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sz="1000" dirty="0"/>
              <a:t>Construction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D006E9FC-7BB5-5E25-D8E3-22CADDD9EC4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149995" y="5843423"/>
            <a:ext cx="609600" cy="609600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28AE75BE-7FCA-0BA2-6375-3DEF6FA32864}"/>
              </a:ext>
            </a:extLst>
          </p:cNvPr>
          <p:cNvGrpSpPr/>
          <p:nvPr/>
        </p:nvGrpSpPr>
        <p:grpSpPr>
          <a:xfrm>
            <a:off x="3962061" y="1809270"/>
            <a:ext cx="609600" cy="578167"/>
            <a:chOff x="1108620" y="1951132"/>
            <a:chExt cx="609600" cy="578167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1407FFC-6D76-88DA-6B3A-1967B36CE791}"/>
                </a:ext>
              </a:extLst>
            </p:cNvPr>
            <p:cNvSpPr/>
            <p:nvPr/>
          </p:nvSpPr>
          <p:spPr>
            <a:xfrm>
              <a:off x="1270545" y="1951132"/>
              <a:ext cx="285750" cy="375285"/>
            </a:xfrm>
            <a:custGeom>
              <a:avLst/>
              <a:gdLst>
                <a:gd name="connsiteX0" fmla="*/ 84773 w 285750"/>
                <a:gd name="connsiteY0" fmla="*/ 320993 h 375285"/>
                <a:gd name="connsiteX1" fmla="*/ 95250 w 285750"/>
                <a:gd name="connsiteY1" fmla="*/ 328613 h 375285"/>
                <a:gd name="connsiteX2" fmla="*/ 143827 w 285750"/>
                <a:gd name="connsiteY2" fmla="*/ 348615 h 375285"/>
                <a:gd name="connsiteX3" fmla="*/ 184785 w 285750"/>
                <a:gd name="connsiteY3" fmla="*/ 337185 h 375285"/>
                <a:gd name="connsiteX4" fmla="*/ 202883 w 285750"/>
                <a:gd name="connsiteY4" fmla="*/ 322898 h 375285"/>
                <a:gd name="connsiteX5" fmla="*/ 227648 w 285750"/>
                <a:gd name="connsiteY5" fmla="*/ 373380 h 375285"/>
                <a:gd name="connsiteX6" fmla="*/ 250508 w 285750"/>
                <a:gd name="connsiteY6" fmla="*/ 357188 h 375285"/>
                <a:gd name="connsiteX7" fmla="*/ 230505 w 285750"/>
                <a:gd name="connsiteY7" fmla="*/ 313373 h 375285"/>
                <a:gd name="connsiteX8" fmla="*/ 242888 w 285750"/>
                <a:gd name="connsiteY8" fmla="*/ 282893 h 375285"/>
                <a:gd name="connsiteX9" fmla="*/ 254318 w 285750"/>
                <a:gd name="connsiteY9" fmla="*/ 260985 h 375285"/>
                <a:gd name="connsiteX10" fmla="*/ 273368 w 285750"/>
                <a:gd name="connsiteY10" fmla="*/ 238125 h 375285"/>
                <a:gd name="connsiteX11" fmla="*/ 285750 w 285750"/>
                <a:gd name="connsiteY11" fmla="*/ 184785 h 375285"/>
                <a:gd name="connsiteX12" fmla="*/ 284798 w 285750"/>
                <a:gd name="connsiteY12" fmla="*/ 181928 h 375285"/>
                <a:gd name="connsiteX13" fmla="*/ 275273 w 285750"/>
                <a:gd name="connsiteY13" fmla="*/ 157163 h 375285"/>
                <a:gd name="connsiteX14" fmla="*/ 232410 w 285750"/>
                <a:gd name="connsiteY14" fmla="*/ 34290 h 375285"/>
                <a:gd name="connsiteX15" fmla="*/ 144780 w 285750"/>
                <a:gd name="connsiteY15" fmla="*/ 0 h 375285"/>
                <a:gd name="connsiteX16" fmla="*/ 144780 w 285750"/>
                <a:gd name="connsiteY16" fmla="*/ 0 h 375285"/>
                <a:gd name="connsiteX17" fmla="*/ 143827 w 285750"/>
                <a:gd name="connsiteY17" fmla="*/ 0 h 375285"/>
                <a:gd name="connsiteX18" fmla="*/ 140970 w 285750"/>
                <a:gd name="connsiteY18" fmla="*/ 0 h 375285"/>
                <a:gd name="connsiteX19" fmla="*/ 140018 w 285750"/>
                <a:gd name="connsiteY19" fmla="*/ 0 h 375285"/>
                <a:gd name="connsiteX20" fmla="*/ 52388 w 285750"/>
                <a:gd name="connsiteY20" fmla="*/ 34290 h 375285"/>
                <a:gd name="connsiteX21" fmla="*/ 9525 w 285750"/>
                <a:gd name="connsiteY21" fmla="*/ 157163 h 375285"/>
                <a:gd name="connsiteX22" fmla="*/ 0 w 285750"/>
                <a:gd name="connsiteY22" fmla="*/ 181928 h 375285"/>
                <a:gd name="connsiteX23" fmla="*/ 0 w 285750"/>
                <a:gd name="connsiteY23" fmla="*/ 185738 h 375285"/>
                <a:gd name="connsiteX24" fmla="*/ 13335 w 285750"/>
                <a:gd name="connsiteY24" fmla="*/ 240030 h 375285"/>
                <a:gd name="connsiteX25" fmla="*/ 32385 w 285750"/>
                <a:gd name="connsiteY25" fmla="*/ 261938 h 375285"/>
                <a:gd name="connsiteX26" fmla="*/ 43815 w 285750"/>
                <a:gd name="connsiteY26" fmla="*/ 283845 h 375285"/>
                <a:gd name="connsiteX27" fmla="*/ 56197 w 285750"/>
                <a:gd name="connsiteY27" fmla="*/ 314325 h 375285"/>
                <a:gd name="connsiteX28" fmla="*/ 36195 w 285750"/>
                <a:gd name="connsiteY28" fmla="*/ 358140 h 375285"/>
                <a:gd name="connsiteX29" fmla="*/ 59055 w 285750"/>
                <a:gd name="connsiteY29" fmla="*/ 375285 h 375285"/>
                <a:gd name="connsiteX30" fmla="*/ 84773 w 285750"/>
                <a:gd name="connsiteY30" fmla="*/ 320993 h 375285"/>
                <a:gd name="connsiteX31" fmla="*/ 54293 w 285750"/>
                <a:gd name="connsiteY31" fmla="*/ 241935 h 375285"/>
                <a:gd name="connsiteX32" fmla="*/ 50482 w 285750"/>
                <a:gd name="connsiteY32" fmla="*/ 236220 h 375285"/>
                <a:gd name="connsiteX33" fmla="*/ 44768 w 285750"/>
                <a:gd name="connsiteY33" fmla="*/ 235268 h 375285"/>
                <a:gd name="connsiteX34" fmla="*/ 40957 w 285750"/>
                <a:gd name="connsiteY34" fmla="*/ 231458 h 375285"/>
                <a:gd name="connsiteX35" fmla="*/ 29528 w 285750"/>
                <a:gd name="connsiteY35" fmla="*/ 184785 h 375285"/>
                <a:gd name="connsiteX36" fmla="*/ 32385 w 285750"/>
                <a:gd name="connsiteY36" fmla="*/ 175260 h 375285"/>
                <a:gd name="connsiteX37" fmla="*/ 39053 w 285750"/>
                <a:gd name="connsiteY37" fmla="*/ 173355 h 375285"/>
                <a:gd name="connsiteX38" fmla="*/ 39053 w 285750"/>
                <a:gd name="connsiteY38" fmla="*/ 161925 h 375285"/>
                <a:gd name="connsiteX39" fmla="*/ 74295 w 285750"/>
                <a:gd name="connsiteY39" fmla="*/ 53340 h 375285"/>
                <a:gd name="connsiteX40" fmla="*/ 142875 w 285750"/>
                <a:gd name="connsiteY40" fmla="*/ 28575 h 375285"/>
                <a:gd name="connsiteX41" fmla="*/ 212408 w 285750"/>
                <a:gd name="connsiteY41" fmla="*/ 54293 h 375285"/>
                <a:gd name="connsiteX42" fmla="*/ 247650 w 285750"/>
                <a:gd name="connsiteY42" fmla="*/ 162878 h 375285"/>
                <a:gd name="connsiteX43" fmla="*/ 247650 w 285750"/>
                <a:gd name="connsiteY43" fmla="*/ 174308 h 375285"/>
                <a:gd name="connsiteX44" fmla="*/ 254318 w 285750"/>
                <a:gd name="connsiteY44" fmla="*/ 176213 h 375285"/>
                <a:gd name="connsiteX45" fmla="*/ 257175 w 285750"/>
                <a:gd name="connsiteY45" fmla="*/ 185738 h 375285"/>
                <a:gd name="connsiteX46" fmla="*/ 245745 w 285750"/>
                <a:gd name="connsiteY46" fmla="*/ 231458 h 375285"/>
                <a:gd name="connsiteX47" fmla="*/ 241935 w 285750"/>
                <a:gd name="connsiteY47" fmla="*/ 236220 h 375285"/>
                <a:gd name="connsiteX48" fmla="*/ 234315 w 285750"/>
                <a:gd name="connsiteY48" fmla="*/ 237173 h 375285"/>
                <a:gd name="connsiteX49" fmla="*/ 230505 w 285750"/>
                <a:gd name="connsiteY49" fmla="*/ 243840 h 375285"/>
                <a:gd name="connsiteX50" fmla="*/ 213360 w 285750"/>
                <a:gd name="connsiteY50" fmla="*/ 279083 h 375285"/>
                <a:gd name="connsiteX51" fmla="*/ 168593 w 285750"/>
                <a:gd name="connsiteY51" fmla="*/ 314325 h 375285"/>
                <a:gd name="connsiteX52" fmla="*/ 113348 w 285750"/>
                <a:gd name="connsiteY52" fmla="*/ 308610 h 375285"/>
                <a:gd name="connsiteX53" fmla="*/ 70485 w 285750"/>
                <a:gd name="connsiteY53" fmla="*/ 275273 h 375285"/>
                <a:gd name="connsiteX54" fmla="*/ 54293 w 285750"/>
                <a:gd name="connsiteY54" fmla="*/ 241935 h 375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285750" h="375285">
                  <a:moveTo>
                    <a:pt x="84773" y="320993"/>
                  </a:moveTo>
                  <a:lnTo>
                    <a:pt x="95250" y="328613"/>
                  </a:lnTo>
                  <a:cubicBezTo>
                    <a:pt x="108585" y="341948"/>
                    <a:pt x="124778" y="348615"/>
                    <a:pt x="143827" y="348615"/>
                  </a:cubicBezTo>
                  <a:cubicBezTo>
                    <a:pt x="164783" y="348615"/>
                    <a:pt x="180023" y="340043"/>
                    <a:pt x="184785" y="337185"/>
                  </a:cubicBezTo>
                  <a:lnTo>
                    <a:pt x="202883" y="322898"/>
                  </a:lnTo>
                  <a:cubicBezTo>
                    <a:pt x="206693" y="346710"/>
                    <a:pt x="220027" y="364808"/>
                    <a:pt x="227648" y="373380"/>
                  </a:cubicBezTo>
                  <a:lnTo>
                    <a:pt x="250508" y="357188"/>
                  </a:lnTo>
                  <a:cubicBezTo>
                    <a:pt x="246698" y="352425"/>
                    <a:pt x="231458" y="336233"/>
                    <a:pt x="230505" y="313373"/>
                  </a:cubicBezTo>
                  <a:cubicBezTo>
                    <a:pt x="239077" y="294323"/>
                    <a:pt x="241935" y="286703"/>
                    <a:pt x="242888" y="282893"/>
                  </a:cubicBezTo>
                  <a:cubicBezTo>
                    <a:pt x="244793" y="279083"/>
                    <a:pt x="248602" y="270510"/>
                    <a:pt x="254318" y="260985"/>
                  </a:cubicBezTo>
                  <a:cubicBezTo>
                    <a:pt x="260033" y="258128"/>
                    <a:pt x="269558" y="252413"/>
                    <a:pt x="273368" y="238125"/>
                  </a:cubicBezTo>
                  <a:lnTo>
                    <a:pt x="285750" y="184785"/>
                  </a:lnTo>
                  <a:lnTo>
                    <a:pt x="284798" y="181928"/>
                  </a:lnTo>
                  <a:cubicBezTo>
                    <a:pt x="282893" y="170498"/>
                    <a:pt x="279083" y="161925"/>
                    <a:pt x="275273" y="157163"/>
                  </a:cubicBezTo>
                  <a:cubicBezTo>
                    <a:pt x="275273" y="136208"/>
                    <a:pt x="271463" y="74295"/>
                    <a:pt x="232410" y="34290"/>
                  </a:cubicBezTo>
                  <a:cubicBezTo>
                    <a:pt x="210502" y="11430"/>
                    <a:pt x="180975" y="0"/>
                    <a:pt x="144780" y="0"/>
                  </a:cubicBezTo>
                  <a:cubicBezTo>
                    <a:pt x="144780" y="0"/>
                    <a:pt x="144780" y="0"/>
                    <a:pt x="144780" y="0"/>
                  </a:cubicBezTo>
                  <a:lnTo>
                    <a:pt x="143827" y="0"/>
                  </a:lnTo>
                  <a:lnTo>
                    <a:pt x="140970" y="0"/>
                  </a:lnTo>
                  <a:cubicBezTo>
                    <a:pt x="140970" y="0"/>
                    <a:pt x="140970" y="0"/>
                    <a:pt x="140018" y="0"/>
                  </a:cubicBezTo>
                  <a:cubicBezTo>
                    <a:pt x="103823" y="0"/>
                    <a:pt x="74295" y="11430"/>
                    <a:pt x="52388" y="34290"/>
                  </a:cubicBezTo>
                  <a:cubicBezTo>
                    <a:pt x="13335" y="74295"/>
                    <a:pt x="9525" y="136208"/>
                    <a:pt x="9525" y="157163"/>
                  </a:cubicBezTo>
                  <a:cubicBezTo>
                    <a:pt x="5715" y="162878"/>
                    <a:pt x="2857" y="171450"/>
                    <a:pt x="0" y="181928"/>
                  </a:cubicBezTo>
                  <a:lnTo>
                    <a:pt x="0" y="185738"/>
                  </a:lnTo>
                  <a:lnTo>
                    <a:pt x="13335" y="240030"/>
                  </a:lnTo>
                  <a:cubicBezTo>
                    <a:pt x="17145" y="253365"/>
                    <a:pt x="27622" y="259080"/>
                    <a:pt x="32385" y="261938"/>
                  </a:cubicBezTo>
                  <a:cubicBezTo>
                    <a:pt x="38100" y="271463"/>
                    <a:pt x="41910" y="280988"/>
                    <a:pt x="43815" y="283845"/>
                  </a:cubicBezTo>
                  <a:cubicBezTo>
                    <a:pt x="44768" y="288608"/>
                    <a:pt x="47625" y="295275"/>
                    <a:pt x="56197" y="314325"/>
                  </a:cubicBezTo>
                  <a:cubicBezTo>
                    <a:pt x="55245" y="336233"/>
                    <a:pt x="40957" y="353378"/>
                    <a:pt x="36195" y="358140"/>
                  </a:cubicBezTo>
                  <a:lnTo>
                    <a:pt x="59055" y="375285"/>
                  </a:lnTo>
                  <a:cubicBezTo>
                    <a:pt x="67628" y="364808"/>
                    <a:pt x="80963" y="345758"/>
                    <a:pt x="84773" y="320993"/>
                  </a:cubicBezTo>
                  <a:close/>
                  <a:moveTo>
                    <a:pt x="54293" y="241935"/>
                  </a:moveTo>
                  <a:lnTo>
                    <a:pt x="50482" y="236220"/>
                  </a:lnTo>
                  <a:lnTo>
                    <a:pt x="44768" y="235268"/>
                  </a:lnTo>
                  <a:cubicBezTo>
                    <a:pt x="43815" y="235268"/>
                    <a:pt x="41910" y="234315"/>
                    <a:pt x="40957" y="231458"/>
                  </a:cubicBezTo>
                  <a:lnTo>
                    <a:pt x="29528" y="184785"/>
                  </a:lnTo>
                  <a:cubicBezTo>
                    <a:pt x="30480" y="180975"/>
                    <a:pt x="31432" y="177165"/>
                    <a:pt x="32385" y="175260"/>
                  </a:cubicBezTo>
                  <a:lnTo>
                    <a:pt x="39053" y="173355"/>
                  </a:lnTo>
                  <a:lnTo>
                    <a:pt x="39053" y="161925"/>
                  </a:lnTo>
                  <a:cubicBezTo>
                    <a:pt x="39053" y="160973"/>
                    <a:pt x="37147" y="91440"/>
                    <a:pt x="74295" y="53340"/>
                  </a:cubicBezTo>
                  <a:cubicBezTo>
                    <a:pt x="90488" y="37148"/>
                    <a:pt x="114300" y="28575"/>
                    <a:pt x="142875" y="28575"/>
                  </a:cubicBezTo>
                  <a:cubicBezTo>
                    <a:pt x="171450" y="27622"/>
                    <a:pt x="195263" y="36195"/>
                    <a:pt x="212408" y="54293"/>
                  </a:cubicBezTo>
                  <a:cubicBezTo>
                    <a:pt x="249555" y="92393"/>
                    <a:pt x="247650" y="161925"/>
                    <a:pt x="247650" y="162878"/>
                  </a:cubicBezTo>
                  <a:lnTo>
                    <a:pt x="247650" y="174308"/>
                  </a:lnTo>
                  <a:lnTo>
                    <a:pt x="254318" y="176213"/>
                  </a:lnTo>
                  <a:cubicBezTo>
                    <a:pt x="255270" y="178118"/>
                    <a:pt x="256223" y="181928"/>
                    <a:pt x="257175" y="185738"/>
                  </a:cubicBezTo>
                  <a:lnTo>
                    <a:pt x="245745" y="231458"/>
                  </a:lnTo>
                  <a:cubicBezTo>
                    <a:pt x="244793" y="235268"/>
                    <a:pt x="241935" y="236220"/>
                    <a:pt x="241935" y="236220"/>
                  </a:cubicBezTo>
                  <a:lnTo>
                    <a:pt x="234315" y="237173"/>
                  </a:lnTo>
                  <a:lnTo>
                    <a:pt x="230505" y="243840"/>
                  </a:lnTo>
                  <a:cubicBezTo>
                    <a:pt x="218123" y="266700"/>
                    <a:pt x="214313" y="274320"/>
                    <a:pt x="213360" y="279083"/>
                  </a:cubicBezTo>
                  <a:lnTo>
                    <a:pt x="168593" y="314325"/>
                  </a:lnTo>
                  <a:cubicBezTo>
                    <a:pt x="165735" y="316230"/>
                    <a:pt x="135255" y="331470"/>
                    <a:pt x="113348" y="308610"/>
                  </a:cubicBezTo>
                  <a:lnTo>
                    <a:pt x="70485" y="275273"/>
                  </a:lnTo>
                  <a:cubicBezTo>
                    <a:pt x="69532" y="269558"/>
                    <a:pt x="64770" y="260985"/>
                    <a:pt x="54293" y="24193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BB9F3D6-F869-2C7F-7884-8F36F3C3E9F4}"/>
                </a:ext>
              </a:extLst>
            </p:cNvPr>
            <p:cNvSpPr/>
            <p:nvPr/>
          </p:nvSpPr>
          <p:spPr>
            <a:xfrm>
              <a:off x="1108620" y="2308319"/>
              <a:ext cx="609600" cy="220980"/>
            </a:xfrm>
            <a:custGeom>
              <a:avLst/>
              <a:gdLst>
                <a:gd name="connsiteX0" fmla="*/ 568643 w 609600"/>
                <a:gd name="connsiteY0" fmla="*/ 73343 h 220980"/>
                <a:gd name="connsiteX1" fmla="*/ 512445 w 609600"/>
                <a:gd name="connsiteY1" fmla="*/ 22860 h 220980"/>
                <a:gd name="connsiteX2" fmla="*/ 412433 w 609600"/>
                <a:gd name="connsiteY2" fmla="*/ 0 h 220980"/>
                <a:gd name="connsiteX3" fmla="*/ 389573 w 609600"/>
                <a:gd name="connsiteY3" fmla="*/ 16193 h 220980"/>
                <a:gd name="connsiteX4" fmla="*/ 304800 w 609600"/>
                <a:gd name="connsiteY4" fmla="*/ 84773 h 220980"/>
                <a:gd name="connsiteX5" fmla="*/ 221933 w 609600"/>
                <a:gd name="connsiteY5" fmla="*/ 17145 h 220980"/>
                <a:gd name="connsiteX6" fmla="*/ 199073 w 609600"/>
                <a:gd name="connsiteY6" fmla="*/ 0 h 220980"/>
                <a:gd name="connsiteX7" fmla="*/ 98108 w 609600"/>
                <a:gd name="connsiteY7" fmla="*/ 22860 h 220980"/>
                <a:gd name="connsiteX8" fmla="*/ 41910 w 609600"/>
                <a:gd name="connsiteY8" fmla="*/ 73343 h 220980"/>
                <a:gd name="connsiteX9" fmla="*/ 0 w 609600"/>
                <a:gd name="connsiteY9" fmla="*/ 220980 h 220980"/>
                <a:gd name="connsiteX10" fmla="*/ 609600 w 609600"/>
                <a:gd name="connsiteY10" fmla="*/ 220980 h 220980"/>
                <a:gd name="connsiteX11" fmla="*/ 568643 w 609600"/>
                <a:gd name="connsiteY11" fmla="*/ 73343 h 22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9600" h="220980">
                  <a:moveTo>
                    <a:pt x="568643" y="73343"/>
                  </a:moveTo>
                  <a:cubicBezTo>
                    <a:pt x="567690" y="69532"/>
                    <a:pt x="560070" y="33338"/>
                    <a:pt x="512445" y="22860"/>
                  </a:cubicBezTo>
                  <a:lnTo>
                    <a:pt x="412433" y="0"/>
                  </a:lnTo>
                  <a:lnTo>
                    <a:pt x="389573" y="16193"/>
                  </a:lnTo>
                  <a:lnTo>
                    <a:pt x="304800" y="84773"/>
                  </a:lnTo>
                  <a:lnTo>
                    <a:pt x="221933" y="17145"/>
                  </a:lnTo>
                  <a:lnTo>
                    <a:pt x="199073" y="0"/>
                  </a:lnTo>
                  <a:lnTo>
                    <a:pt x="98108" y="22860"/>
                  </a:lnTo>
                  <a:cubicBezTo>
                    <a:pt x="47625" y="34290"/>
                    <a:pt x="41910" y="72390"/>
                    <a:pt x="41910" y="73343"/>
                  </a:cubicBezTo>
                  <a:lnTo>
                    <a:pt x="0" y="220980"/>
                  </a:lnTo>
                  <a:lnTo>
                    <a:pt x="609600" y="220980"/>
                  </a:lnTo>
                  <a:lnTo>
                    <a:pt x="568643" y="7334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50" name="Text Placeholder 81">
            <a:extLst>
              <a:ext uri="{FF2B5EF4-FFF2-40B4-BE49-F238E27FC236}">
                <a16:creationId xmlns:a16="http://schemas.microsoft.com/office/drawing/2014/main" id="{BAE3D99B-A1D8-971A-24E2-AAC0745F2171}"/>
              </a:ext>
            </a:extLst>
          </p:cNvPr>
          <p:cNvSpPr txBox="1">
            <a:spLocks/>
          </p:cNvSpPr>
          <p:nvPr/>
        </p:nvSpPr>
        <p:spPr>
          <a:xfrm>
            <a:off x="3718221" y="1533106"/>
            <a:ext cx="109728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efault person</a:t>
            </a:r>
          </a:p>
        </p:txBody>
      </p:sp>
      <p:sp>
        <p:nvSpPr>
          <p:cNvPr id="58" name="object 31">
            <a:extLst>
              <a:ext uri="{FF2B5EF4-FFF2-40B4-BE49-F238E27FC236}">
                <a16:creationId xmlns:a16="http://schemas.microsoft.com/office/drawing/2014/main" id="{5B798B57-25CA-E414-359A-11FDBA481575}"/>
              </a:ext>
            </a:extLst>
          </p:cNvPr>
          <p:cNvSpPr txBox="1"/>
          <p:nvPr/>
        </p:nvSpPr>
        <p:spPr>
          <a:xfrm>
            <a:off x="6434069" y="1533106"/>
            <a:ext cx="1554480" cy="1384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00" dirty="0"/>
              <a:t>C</a:t>
            </a:r>
            <a:r>
              <a:rPr sz="1000" dirty="0"/>
              <a:t>onstruction</a:t>
            </a:r>
            <a:r>
              <a:rPr lang="en-US" sz="1000" dirty="0"/>
              <a:t> </a:t>
            </a:r>
            <a:r>
              <a:rPr sz="1000" dirty="0"/>
              <a:t>worker</a:t>
            </a:r>
          </a:p>
        </p:txBody>
      </p:sp>
      <p:sp>
        <p:nvSpPr>
          <p:cNvPr id="62" name="object 17">
            <a:extLst>
              <a:ext uri="{FF2B5EF4-FFF2-40B4-BE49-F238E27FC236}">
                <a16:creationId xmlns:a16="http://schemas.microsoft.com/office/drawing/2014/main" id="{131CC83A-653C-1097-FC1D-11260F153A7C}"/>
              </a:ext>
            </a:extLst>
          </p:cNvPr>
          <p:cNvSpPr txBox="1"/>
          <p:nvPr/>
        </p:nvSpPr>
        <p:spPr>
          <a:xfrm>
            <a:off x="8337894" y="1533106"/>
            <a:ext cx="13716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</a:t>
            </a:r>
            <a:r>
              <a:rPr dirty="0"/>
              <a:t>mployee</a:t>
            </a:r>
            <a:r>
              <a:rPr lang="en-US" dirty="0"/>
              <a:t> Experience</a:t>
            </a:r>
            <a:endParaRPr dirty="0"/>
          </a:p>
        </p:txBody>
      </p:sp>
      <p:sp>
        <p:nvSpPr>
          <p:cNvPr id="192" name="object 45">
            <a:extLst>
              <a:ext uri="{FF2B5EF4-FFF2-40B4-BE49-F238E27FC236}">
                <a16:creationId xmlns:a16="http://schemas.microsoft.com/office/drawing/2014/main" id="{B610AA94-0CFA-CC6D-FF35-1DD771842A66}"/>
              </a:ext>
            </a:extLst>
          </p:cNvPr>
          <p:cNvSpPr txBox="1"/>
          <p:nvPr/>
        </p:nvSpPr>
        <p:spPr>
          <a:xfrm>
            <a:off x="9839053" y="1533106"/>
            <a:ext cx="9144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L</a:t>
            </a:r>
            <a:r>
              <a:rPr dirty="0"/>
              <a:t>eadership</a:t>
            </a:r>
            <a:r>
              <a:rPr lang="en-US" dirty="0"/>
              <a:t> </a:t>
            </a:r>
            <a:endParaRPr dirty="0"/>
          </a:p>
        </p:txBody>
      </p:sp>
      <p:sp>
        <p:nvSpPr>
          <p:cNvPr id="194" name="object 37">
            <a:extLst>
              <a:ext uri="{FF2B5EF4-FFF2-40B4-BE49-F238E27FC236}">
                <a16:creationId xmlns:a16="http://schemas.microsoft.com/office/drawing/2014/main" id="{9BCED2B5-7C73-1B5C-4F08-6B7E10728D19}"/>
              </a:ext>
            </a:extLst>
          </p:cNvPr>
          <p:cNvSpPr txBox="1"/>
          <p:nvPr/>
        </p:nvSpPr>
        <p:spPr>
          <a:xfrm>
            <a:off x="1697805" y="5357505"/>
            <a:ext cx="96103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</a:t>
            </a:r>
            <a:r>
              <a:rPr dirty="0"/>
              <a:t>alen</a:t>
            </a:r>
            <a:r>
              <a:rPr lang="en-US" dirty="0"/>
              <a:t>t R</a:t>
            </a:r>
            <a:r>
              <a:rPr dirty="0"/>
              <a:t>etention</a:t>
            </a:r>
          </a:p>
        </p:txBody>
      </p:sp>
      <p:sp>
        <p:nvSpPr>
          <p:cNvPr id="199" name="object 13">
            <a:extLst>
              <a:ext uri="{FF2B5EF4-FFF2-40B4-BE49-F238E27FC236}">
                <a16:creationId xmlns:a16="http://schemas.microsoft.com/office/drawing/2014/main" id="{A3AE9FAC-A7C2-16D1-8C84-81F6997A499F}"/>
              </a:ext>
            </a:extLst>
          </p:cNvPr>
          <p:cNvSpPr txBox="1"/>
          <p:nvPr/>
        </p:nvSpPr>
        <p:spPr>
          <a:xfrm>
            <a:off x="8415723" y="5357505"/>
            <a:ext cx="103887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W</a:t>
            </a:r>
            <a:r>
              <a:rPr dirty="0"/>
              <a:t>orker</a:t>
            </a:r>
            <a:r>
              <a:rPr lang="en-US" dirty="0"/>
              <a:t> </a:t>
            </a:r>
            <a:r>
              <a:rPr dirty="0"/>
              <a:t>shortages</a:t>
            </a:r>
          </a:p>
        </p:txBody>
      </p:sp>
      <p:pic>
        <p:nvPicPr>
          <p:cNvPr id="203" name="Graphic 202">
            <a:extLst>
              <a:ext uri="{FF2B5EF4-FFF2-40B4-BE49-F238E27FC236}">
                <a16:creationId xmlns:a16="http://schemas.microsoft.com/office/drawing/2014/main" id="{92620CF4-EDFB-57E3-AA6E-26BD7327890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636344" y="1793553"/>
            <a:ext cx="774700" cy="609600"/>
          </a:xfrm>
          <a:prstGeom prst="rect">
            <a:avLst/>
          </a:prstGeom>
        </p:spPr>
      </p:pic>
      <p:pic>
        <p:nvPicPr>
          <p:cNvPr id="205" name="Graphic 204">
            <a:extLst>
              <a:ext uri="{FF2B5EF4-FFF2-40B4-BE49-F238E27FC236}">
                <a16:creationId xmlns:a16="http://schemas.microsoft.com/office/drawing/2014/main" id="{F8D1C9FD-E49D-7ACF-07A4-F0DEDF5F84D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044419" y="1778313"/>
            <a:ext cx="503669" cy="640080"/>
          </a:xfrm>
          <a:prstGeom prst="rect">
            <a:avLst/>
          </a:prstGeom>
        </p:spPr>
      </p:pic>
      <p:sp>
        <p:nvSpPr>
          <p:cNvPr id="193" name="object 35">
            <a:extLst>
              <a:ext uri="{FF2B5EF4-FFF2-40B4-BE49-F238E27FC236}">
                <a16:creationId xmlns:a16="http://schemas.microsoft.com/office/drawing/2014/main" id="{5ADB45DB-10F1-3D1E-6F8D-4A17742E6026}"/>
              </a:ext>
            </a:extLst>
          </p:cNvPr>
          <p:cNvSpPr txBox="1"/>
          <p:nvPr/>
        </p:nvSpPr>
        <p:spPr>
          <a:xfrm>
            <a:off x="9608832" y="5357505"/>
            <a:ext cx="120437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</a:t>
            </a:r>
            <a:r>
              <a:rPr dirty="0"/>
              <a:t>ugmented</a:t>
            </a:r>
            <a:r>
              <a:rPr lang="en-US" dirty="0"/>
              <a:t> Workforce</a:t>
            </a:r>
            <a:endParaRPr dirty="0"/>
          </a:p>
        </p:txBody>
      </p:sp>
      <p:pic>
        <p:nvPicPr>
          <p:cNvPr id="206" name="Graphic 205">
            <a:extLst>
              <a:ext uri="{FF2B5EF4-FFF2-40B4-BE49-F238E27FC236}">
                <a16:creationId xmlns:a16="http://schemas.microsoft.com/office/drawing/2014/main" id="{61368B3F-EE68-B1E8-1167-DE9B3590825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932657" y="5782463"/>
            <a:ext cx="575622" cy="731520"/>
          </a:xfrm>
          <a:prstGeom prst="rect">
            <a:avLst/>
          </a:prstGeom>
        </p:spPr>
      </p:pic>
      <p:grpSp>
        <p:nvGrpSpPr>
          <p:cNvPr id="2" name="Graphic 207">
            <a:extLst>
              <a:ext uri="{FF2B5EF4-FFF2-40B4-BE49-F238E27FC236}">
                <a16:creationId xmlns:a16="http://schemas.microsoft.com/office/drawing/2014/main" id="{50DA1FB5-96D4-44B3-32FE-A41F1D43AD6E}"/>
              </a:ext>
            </a:extLst>
          </p:cNvPr>
          <p:cNvGrpSpPr/>
          <p:nvPr/>
        </p:nvGrpSpPr>
        <p:grpSpPr>
          <a:xfrm>
            <a:off x="1883677" y="5843423"/>
            <a:ext cx="609600" cy="609600"/>
            <a:chOff x="10601142" y="3055327"/>
            <a:chExt cx="609600" cy="609600"/>
          </a:xfrm>
        </p:grpSpPr>
        <p:grpSp>
          <p:nvGrpSpPr>
            <p:cNvPr id="18" name="Graphic 207">
              <a:extLst>
                <a:ext uri="{FF2B5EF4-FFF2-40B4-BE49-F238E27FC236}">
                  <a16:creationId xmlns:a16="http://schemas.microsoft.com/office/drawing/2014/main" id="{6BEB482B-8C53-F57D-7E29-90DDE4341888}"/>
                </a:ext>
              </a:extLst>
            </p:cNvPr>
            <p:cNvGrpSpPr/>
            <p:nvPr/>
          </p:nvGrpSpPr>
          <p:grpSpPr>
            <a:xfrm>
              <a:off x="10734492" y="3244874"/>
              <a:ext cx="304800" cy="230504"/>
              <a:chOff x="10734492" y="3244874"/>
              <a:chExt cx="304800" cy="230504"/>
            </a:xfrm>
            <a:solidFill>
              <a:srgbClr val="40AA1D"/>
            </a:solidFill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C77D35D-6FA6-D594-1FDD-070CAF4F6C75}"/>
                  </a:ext>
                </a:extLst>
              </p:cNvPr>
              <p:cNvSpPr/>
              <p:nvPr/>
            </p:nvSpPr>
            <p:spPr>
              <a:xfrm>
                <a:off x="10881176" y="3244874"/>
                <a:ext cx="158115" cy="184784"/>
              </a:xfrm>
              <a:custGeom>
                <a:avLst/>
                <a:gdLst>
                  <a:gd name="connsiteX0" fmla="*/ 158115 w 158115"/>
                  <a:gd name="connsiteY0" fmla="*/ 183833 h 184784"/>
                  <a:gd name="connsiteX1" fmla="*/ 145733 w 158115"/>
                  <a:gd name="connsiteY1" fmla="*/ 138113 h 184784"/>
                  <a:gd name="connsiteX2" fmla="*/ 128588 w 158115"/>
                  <a:gd name="connsiteY2" fmla="*/ 122873 h 184784"/>
                  <a:gd name="connsiteX3" fmla="*/ 97155 w 158115"/>
                  <a:gd name="connsiteY3" fmla="*/ 116205 h 184784"/>
                  <a:gd name="connsiteX4" fmla="*/ 90488 w 158115"/>
                  <a:gd name="connsiteY4" fmla="*/ 106680 h 184784"/>
                  <a:gd name="connsiteX5" fmla="*/ 90488 w 158115"/>
                  <a:gd name="connsiteY5" fmla="*/ 97155 h 184784"/>
                  <a:gd name="connsiteX6" fmla="*/ 98108 w 158115"/>
                  <a:gd name="connsiteY6" fmla="*/ 83820 h 184784"/>
                  <a:gd name="connsiteX7" fmla="*/ 98108 w 158115"/>
                  <a:gd name="connsiteY7" fmla="*/ 82868 h 184784"/>
                  <a:gd name="connsiteX8" fmla="*/ 100965 w 158115"/>
                  <a:gd name="connsiteY8" fmla="*/ 80963 h 184784"/>
                  <a:gd name="connsiteX9" fmla="*/ 103823 w 158115"/>
                  <a:gd name="connsiteY9" fmla="*/ 76200 h 184784"/>
                  <a:gd name="connsiteX10" fmla="*/ 105728 w 158115"/>
                  <a:gd name="connsiteY10" fmla="*/ 68580 h 184784"/>
                  <a:gd name="connsiteX11" fmla="*/ 107633 w 158115"/>
                  <a:gd name="connsiteY11" fmla="*/ 60960 h 184784"/>
                  <a:gd name="connsiteX12" fmla="*/ 105728 w 158115"/>
                  <a:gd name="connsiteY12" fmla="*/ 52388 h 184784"/>
                  <a:gd name="connsiteX13" fmla="*/ 103823 w 158115"/>
                  <a:gd name="connsiteY13" fmla="*/ 50483 h 184784"/>
                  <a:gd name="connsiteX14" fmla="*/ 97155 w 158115"/>
                  <a:gd name="connsiteY14" fmla="*/ 18097 h 184784"/>
                  <a:gd name="connsiteX15" fmla="*/ 70485 w 158115"/>
                  <a:gd name="connsiteY15" fmla="*/ 953 h 184784"/>
                  <a:gd name="connsiteX16" fmla="*/ 62865 w 158115"/>
                  <a:gd name="connsiteY16" fmla="*/ 0 h 184784"/>
                  <a:gd name="connsiteX17" fmla="*/ 62865 w 158115"/>
                  <a:gd name="connsiteY17" fmla="*/ 0 h 184784"/>
                  <a:gd name="connsiteX18" fmla="*/ 62865 w 158115"/>
                  <a:gd name="connsiteY18" fmla="*/ 0 h 184784"/>
                  <a:gd name="connsiteX19" fmla="*/ 62865 w 158115"/>
                  <a:gd name="connsiteY19" fmla="*/ 0 h 184784"/>
                  <a:gd name="connsiteX20" fmla="*/ 62865 w 158115"/>
                  <a:gd name="connsiteY20" fmla="*/ 0 h 184784"/>
                  <a:gd name="connsiteX21" fmla="*/ 55245 w 158115"/>
                  <a:gd name="connsiteY21" fmla="*/ 953 h 184784"/>
                  <a:gd name="connsiteX22" fmla="*/ 28575 w 158115"/>
                  <a:gd name="connsiteY22" fmla="*/ 18097 h 184784"/>
                  <a:gd name="connsiteX23" fmla="*/ 21908 w 158115"/>
                  <a:gd name="connsiteY23" fmla="*/ 50483 h 184784"/>
                  <a:gd name="connsiteX24" fmla="*/ 20003 w 158115"/>
                  <a:gd name="connsiteY24" fmla="*/ 52388 h 184784"/>
                  <a:gd name="connsiteX25" fmla="*/ 18097 w 158115"/>
                  <a:gd name="connsiteY25" fmla="*/ 60960 h 184784"/>
                  <a:gd name="connsiteX26" fmla="*/ 20003 w 158115"/>
                  <a:gd name="connsiteY26" fmla="*/ 68580 h 184784"/>
                  <a:gd name="connsiteX27" fmla="*/ 21908 w 158115"/>
                  <a:gd name="connsiteY27" fmla="*/ 76200 h 184784"/>
                  <a:gd name="connsiteX28" fmla="*/ 24765 w 158115"/>
                  <a:gd name="connsiteY28" fmla="*/ 80963 h 184784"/>
                  <a:gd name="connsiteX29" fmla="*/ 27622 w 158115"/>
                  <a:gd name="connsiteY29" fmla="*/ 82868 h 184784"/>
                  <a:gd name="connsiteX30" fmla="*/ 27622 w 158115"/>
                  <a:gd name="connsiteY30" fmla="*/ 83820 h 184784"/>
                  <a:gd name="connsiteX31" fmla="*/ 35242 w 158115"/>
                  <a:gd name="connsiteY31" fmla="*/ 97155 h 184784"/>
                  <a:gd name="connsiteX32" fmla="*/ 35242 w 158115"/>
                  <a:gd name="connsiteY32" fmla="*/ 106680 h 184784"/>
                  <a:gd name="connsiteX33" fmla="*/ 29528 w 158115"/>
                  <a:gd name="connsiteY33" fmla="*/ 116205 h 184784"/>
                  <a:gd name="connsiteX34" fmla="*/ 9525 w 158115"/>
                  <a:gd name="connsiteY34" fmla="*/ 120967 h 184784"/>
                  <a:gd name="connsiteX35" fmla="*/ 9525 w 158115"/>
                  <a:gd name="connsiteY35" fmla="*/ 122873 h 184784"/>
                  <a:gd name="connsiteX36" fmla="*/ 5715 w 158115"/>
                  <a:gd name="connsiteY36" fmla="*/ 135255 h 184784"/>
                  <a:gd name="connsiteX37" fmla="*/ 953 w 158115"/>
                  <a:gd name="connsiteY37" fmla="*/ 142875 h 184784"/>
                  <a:gd name="connsiteX38" fmla="*/ 0 w 158115"/>
                  <a:gd name="connsiteY38" fmla="*/ 144780 h 184784"/>
                  <a:gd name="connsiteX39" fmla="*/ 0 w 158115"/>
                  <a:gd name="connsiteY39" fmla="*/ 145733 h 184784"/>
                  <a:gd name="connsiteX40" fmla="*/ 16193 w 158115"/>
                  <a:gd name="connsiteY40" fmla="*/ 148590 h 184784"/>
                  <a:gd name="connsiteX41" fmla="*/ 50483 w 158115"/>
                  <a:gd name="connsiteY41" fmla="*/ 184785 h 184784"/>
                  <a:gd name="connsiteX42" fmla="*/ 64770 w 158115"/>
                  <a:gd name="connsiteY42" fmla="*/ 184785 h 184784"/>
                  <a:gd name="connsiteX43" fmla="*/ 158115 w 158115"/>
                  <a:gd name="connsiteY43" fmla="*/ 184785 h 18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58115" h="184784">
                    <a:moveTo>
                      <a:pt x="158115" y="183833"/>
                    </a:moveTo>
                    <a:lnTo>
                      <a:pt x="145733" y="138113"/>
                    </a:lnTo>
                    <a:cubicBezTo>
                      <a:pt x="145733" y="138113"/>
                      <a:pt x="143828" y="126683"/>
                      <a:pt x="128588" y="122873"/>
                    </a:cubicBezTo>
                    <a:lnTo>
                      <a:pt x="97155" y="116205"/>
                    </a:lnTo>
                    <a:cubicBezTo>
                      <a:pt x="92392" y="113348"/>
                      <a:pt x="90488" y="107633"/>
                      <a:pt x="90488" y="106680"/>
                    </a:cubicBezTo>
                    <a:lnTo>
                      <a:pt x="90488" y="97155"/>
                    </a:lnTo>
                    <a:cubicBezTo>
                      <a:pt x="94298" y="93345"/>
                      <a:pt x="96203" y="87630"/>
                      <a:pt x="98108" y="83820"/>
                    </a:cubicBezTo>
                    <a:lnTo>
                      <a:pt x="98108" y="82868"/>
                    </a:lnTo>
                    <a:cubicBezTo>
                      <a:pt x="99060" y="82868"/>
                      <a:pt x="100013" y="81915"/>
                      <a:pt x="100965" y="80963"/>
                    </a:cubicBezTo>
                    <a:cubicBezTo>
                      <a:pt x="101917" y="79058"/>
                      <a:pt x="102870" y="78105"/>
                      <a:pt x="103823" y="76200"/>
                    </a:cubicBezTo>
                    <a:cubicBezTo>
                      <a:pt x="104775" y="73343"/>
                      <a:pt x="104775" y="70485"/>
                      <a:pt x="105728" y="68580"/>
                    </a:cubicBezTo>
                    <a:lnTo>
                      <a:pt x="107633" y="60960"/>
                    </a:lnTo>
                    <a:cubicBezTo>
                      <a:pt x="108585" y="57150"/>
                      <a:pt x="107633" y="54293"/>
                      <a:pt x="105728" y="52388"/>
                    </a:cubicBezTo>
                    <a:cubicBezTo>
                      <a:pt x="104775" y="51435"/>
                      <a:pt x="104775" y="51435"/>
                      <a:pt x="103823" y="50483"/>
                    </a:cubicBezTo>
                    <a:cubicBezTo>
                      <a:pt x="104775" y="37147"/>
                      <a:pt x="102870" y="26670"/>
                      <a:pt x="97155" y="18097"/>
                    </a:cubicBezTo>
                    <a:cubicBezTo>
                      <a:pt x="91440" y="8572"/>
                      <a:pt x="81915" y="2858"/>
                      <a:pt x="70485" y="953"/>
                    </a:cubicBezTo>
                    <a:cubicBezTo>
                      <a:pt x="67628" y="953"/>
                      <a:pt x="65723" y="0"/>
                      <a:pt x="62865" y="0"/>
                    </a:cubicBezTo>
                    <a:cubicBezTo>
                      <a:pt x="62865" y="0"/>
                      <a:pt x="62865" y="0"/>
                      <a:pt x="62865" y="0"/>
                    </a:cubicBezTo>
                    <a:cubicBezTo>
                      <a:pt x="62865" y="0"/>
                      <a:pt x="62865" y="0"/>
                      <a:pt x="62865" y="0"/>
                    </a:cubicBezTo>
                    <a:cubicBezTo>
                      <a:pt x="62865" y="0"/>
                      <a:pt x="62865" y="0"/>
                      <a:pt x="62865" y="0"/>
                    </a:cubicBezTo>
                    <a:cubicBezTo>
                      <a:pt x="62865" y="0"/>
                      <a:pt x="62865" y="0"/>
                      <a:pt x="62865" y="0"/>
                    </a:cubicBezTo>
                    <a:cubicBezTo>
                      <a:pt x="60008" y="0"/>
                      <a:pt x="58103" y="0"/>
                      <a:pt x="55245" y="953"/>
                    </a:cubicBezTo>
                    <a:cubicBezTo>
                      <a:pt x="43815" y="2858"/>
                      <a:pt x="34290" y="9525"/>
                      <a:pt x="28575" y="18097"/>
                    </a:cubicBezTo>
                    <a:cubicBezTo>
                      <a:pt x="22860" y="26670"/>
                      <a:pt x="20955" y="37147"/>
                      <a:pt x="21908" y="50483"/>
                    </a:cubicBezTo>
                    <a:cubicBezTo>
                      <a:pt x="20955" y="50483"/>
                      <a:pt x="20955" y="51435"/>
                      <a:pt x="20003" y="52388"/>
                    </a:cubicBezTo>
                    <a:cubicBezTo>
                      <a:pt x="19050" y="54293"/>
                      <a:pt x="17145" y="57150"/>
                      <a:pt x="18097" y="60960"/>
                    </a:cubicBezTo>
                    <a:lnTo>
                      <a:pt x="20003" y="68580"/>
                    </a:lnTo>
                    <a:cubicBezTo>
                      <a:pt x="20003" y="70485"/>
                      <a:pt x="20955" y="73343"/>
                      <a:pt x="21908" y="76200"/>
                    </a:cubicBezTo>
                    <a:cubicBezTo>
                      <a:pt x="22860" y="78105"/>
                      <a:pt x="22860" y="79058"/>
                      <a:pt x="24765" y="80963"/>
                    </a:cubicBezTo>
                    <a:cubicBezTo>
                      <a:pt x="25717" y="81915"/>
                      <a:pt x="26670" y="82868"/>
                      <a:pt x="27622" y="82868"/>
                    </a:cubicBezTo>
                    <a:lnTo>
                      <a:pt x="27622" y="83820"/>
                    </a:lnTo>
                    <a:cubicBezTo>
                      <a:pt x="29528" y="88583"/>
                      <a:pt x="31433" y="93345"/>
                      <a:pt x="35242" y="97155"/>
                    </a:cubicBezTo>
                    <a:lnTo>
                      <a:pt x="35242" y="106680"/>
                    </a:lnTo>
                    <a:cubicBezTo>
                      <a:pt x="35242" y="106680"/>
                      <a:pt x="34290" y="113348"/>
                      <a:pt x="29528" y="116205"/>
                    </a:cubicBezTo>
                    <a:lnTo>
                      <a:pt x="9525" y="120967"/>
                    </a:lnTo>
                    <a:lnTo>
                      <a:pt x="9525" y="122873"/>
                    </a:lnTo>
                    <a:cubicBezTo>
                      <a:pt x="8572" y="125730"/>
                      <a:pt x="7620" y="130492"/>
                      <a:pt x="5715" y="135255"/>
                    </a:cubicBezTo>
                    <a:cubicBezTo>
                      <a:pt x="4763" y="138113"/>
                      <a:pt x="2858" y="140017"/>
                      <a:pt x="953" y="142875"/>
                    </a:cubicBezTo>
                    <a:cubicBezTo>
                      <a:pt x="953" y="143828"/>
                      <a:pt x="0" y="143828"/>
                      <a:pt x="0" y="144780"/>
                    </a:cubicBezTo>
                    <a:cubicBezTo>
                      <a:pt x="0" y="144780"/>
                      <a:pt x="0" y="145733"/>
                      <a:pt x="0" y="145733"/>
                    </a:cubicBezTo>
                    <a:cubicBezTo>
                      <a:pt x="4763" y="146685"/>
                      <a:pt x="9525" y="147638"/>
                      <a:pt x="16193" y="148590"/>
                    </a:cubicBezTo>
                    <a:cubicBezTo>
                      <a:pt x="36195" y="150495"/>
                      <a:pt x="47625" y="167640"/>
                      <a:pt x="50483" y="184785"/>
                    </a:cubicBezTo>
                    <a:lnTo>
                      <a:pt x="64770" y="184785"/>
                    </a:lnTo>
                    <a:lnTo>
                      <a:pt x="158115" y="18478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D01B625F-D230-FADA-1ACF-E91124B393DF}"/>
                  </a:ext>
                </a:extLst>
              </p:cNvPr>
              <p:cNvSpPr/>
              <p:nvPr/>
            </p:nvSpPr>
            <p:spPr>
              <a:xfrm>
                <a:off x="10734492" y="3291546"/>
                <a:ext cx="192405" cy="183832"/>
              </a:xfrm>
              <a:custGeom>
                <a:avLst/>
                <a:gdLst>
                  <a:gd name="connsiteX0" fmla="*/ 179070 w 192405"/>
                  <a:gd name="connsiteY0" fmla="*/ 138113 h 183832"/>
                  <a:gd name="connsiteX1" fmla="*/ 161925 w 192405"/>
                  <a:gd name="connsiteY1" fmla="*/ 122873 h 183832"/>
                  <a:gd name="connsiteX2" fmla="*/ 130493 w 192405"/>
                  <a:gd name="connsiteY2" fmla="*/ 116205 h 183832"/>
                  <a:gd name="connsiteX3" fmla="*/ 123825 w 192405"/>
                  <a:gd name="connsiteY3" fmla="*/ 106680 h 183832"/>
                  <a:gd name="connsiteX4" fmla="*/ 123825 w 192405"/>
                  <a:gd name="connsiteY4" fmla="*/ 97155 h 183832"/>
                  <a:gd name="connsiteX5" fmla="*/ 131445 w 192405"/>
                  <a:gd name="connsiteY5" fmla="*/ 83820 h 183832"/>
                  <a:gd name="connsiteX6" fmla="*/ 131445 w 192405"/>
                  <a:gd name="connsiteY6" fmla="*/ 82868 h 183832"/>
                  <a:gd name="connsiteX7" fmla="*/ 134303 w 192405"/>
                  <a:gd name="connsiteY7" fmla="*/ 80963 h 183832"/>
                  <a:gd name="connsiteX8" fmla="*/ 137160 w 192405"/>
                  <a:gd name="connsiteY8" fmla="*/ 76200 h 183832"/>
                  <a:gd name="connsiteX9" fmla="*/ 139065 w 192405"/>
                  <a:gd name="connsiteY9" fmla="*/ 68580 h 183832"/>
                  <a:gd name="connsiteX10" fmla="*/ 140970 w 192405"/>
                  <a:gd name="connsiteY10" fmla="*/ 60960 h 183832"/>
                  <a:gd name="connsiteX11" fmla="*/ 139065 w 192405"/>
                  <a:gd name="connsiteY11" fmla="*/ 52388 h 183832"/>
                  <a:gd name="connsiteX12" fmla="*/ 137160 w 192405"/>
                  <a:gd name="connsiteY12" fmla="*/ 50483 h 183832"/>
                  <a:gd name="connsiteX13" fmla="*/ 130493 w 192405"/>
                  <a:gd name="connsiteY13" fmla="*/ 18098 h 183832"/>
                  <a:gd name="connsiteX14" fmla="*/ 103823 w 192405"/>
                  <a:gd name="connsiteY14" fmla="*/ 953 h 183832"/>
                  <a:gd name="connsiteX15" fmla="*/ 96203 w 192405"/>
                  <a:gd name="connsiteY15" fmla="*/ 0 h 183832"/>
                  <a:gd name="connsiteX16" fmla="*/ 96203 w 192405"/>
                  <a:gd name="connsiteY16" fmla="*/ 0 h 183832"/>
                  <a:gd name="connsiteX17" fmla="*/ 96203 w 192405"/>
                  <a:gd name="connsiteY17" fmla="*/ 0 h 183832"/>
                  <a:gd name="connsiteX18" fmla="*/ 96203 w 192405"/>
                  <a:gd name="connsiteY18" fmla="*/ 0 h 183832"/>
                  <a:gd name="connsiteX19" fmla="*/ 96203 w 192405"/>
                  <a:gd name="connsiteY19" fmla="*/ 0 h 183832"/>
                  <a:gd name="connsiteX20" fmla="*/ 88582 w 192405"/>
                  <a:gd name="connsiteY20" fmla="*/ 953 h 183832"/>
                  <a:gd name="connsiteX21" fmla="*/ 61913 w 192405"/>
                  <a:gd name="connsiteY21" fmla="*/ 18098 h 183832"/>
                  <a:gd name="connsiteX22" fmla="*/ 55245 w 192405"/>
                  <a:gd name="connsiteY22" fmla="*/ 50483 h 183832"/>
                  <a:gd name="connsiteX23" fmla="*/ 53340 w 192405"/>
                  <a:gd name="connsiteY23" fmla="*/ 52388 h 183832"/>
                  <a:gd name="connsiteX24" fmla="*/ 51435 w 192405"/>
                  <a:gd name="connsiteY24" fmla="*/ 60960 h 183832"/>
                  <a:gd name="connsiteX25" fmla="*/ 53340 w 192405"/>
                  <a:gd name="connsiteY25" fmla="*/ 68580 h 183832"/>
                  <a:gd name="connsiteX26" fmla="*/ 55245 w 192405"/>
                  <a:gd name="connsiteY26" fmla="*/ 76200 h 183832"/>
                  <a:gd name="connsiteX27" fmla="*/ 58103 w 192405"/>
                  <a:gd name="connsiteY27" fmla="*/ 80963 h 183832"/>
                  <a:gd name="connsiteX28" fmla="*/ 60960 w 192405"/>
                  <a:gd name="connsiteY28" fmla="*/ 82868 h 183832"/>
                  <a:gd name="connsiteX29" fmla="*/ 60960 w 192405"/>
                  <a:gd name="connsiteY29" fmla="*/ 83820 h 183832"/>
                  <a:gd name="connsiteX30" fmla="*/ 68580 w 192405"/>
                  <a:gd name="connsiteY30" fmla="*/ 97155 h 183832"/>
                  <a:gd name="connsiteX31" fmla="*/ 68580 w 192405"/>
                  <a:gd name="connsiteY31" fmla="*/ 106680 h 183832"/>
                  <a:gd name="connsiteX32" fmla="*/ 62865 w 192405"/>
                  <a:gd name="connsiteY32" fmla="*/ 116205 h 183832"/>
                  <a:gd name="connsiteX33" fmla="*/ 30480 w 192405"/>
                  <a:gd name="connsiteY33" fmla="*/ 123825 h 183832"/>
                  <a:gd name="connsiteX34" fmla="*/ 13335 w 192405"/>
                  <a:gd name="connsiteY34" fmla="*/ 139065 h 183832"/>
                  <a:gd name="connsiteX35" fmla="*/ 0 w 192405"/>
                  <a:gd name="connsiteY35" fmla="*/ 183833 h 183832"/>
                  <a:gd name="connsiteX36" fmla="*/ 96203 w 192405"/>
                  <a:gd name="connsiteY36" fmla="*/ 183833 h 183832"/>
                  <a:gd name="connsiteX37" fmla="*/ 192405 w 192405"/>
                  <a:gd name="connsiteY37" fmla="*/ 183833 h 183832"/>
                  <a:gd name="connsiteX38" fmla="*/ 179070 w 192405"/>
                  <a:gd name="connsiteY38" fmla="*/ 138113 h 183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92405" h="183832">
                    <a:moveTo>
                      <a:pt x="179070" y="138113"/>
                    </a:moveTo>
                    <a:cubicBezTo>
                      <a:pt x="179070" y="138113"/>
                      <a:pt x="177165" y="126682"/>
                      <a:pt x="161925" y="122873"/>
                    </a:cubicBezTo>
                    <a:lnTo>
                      <a:pt x="130493" y="116205"/>
                    </a:lnTo>
                    <a:cubicBezTo>
                      <a:pt x="125730" y="113348"/>
                      <a:pt x="123825" y="106680"/>
                      <a:pt x="123825" y="106680"/>
                    </a:cubicBezTo>
                    <a:lnTo>
                      <a:pt x="123825" y="97155"/>
                    </a:lnTo>
                    <a:cubicBezTo>
                      <a:pt x="127635" y="93345"/>
                      <a:pt x="129540" y="87630"/>
                      <a:pt x="131445" y="83820"/>
                    </a:cubicBezTo>
                    <a:lnTo>
                      <a:pt x="131445" y="82868"/>
                    </a:lnTo>
                    <a:cubicBezTo>
                      <a:pt x="132398" y="82868"/>
                      <a:pt x="133350" y="81915"/>
                      <a:pt x="134303" y="80963"/>
                    </a:cubicBezTo>
                    <a:cubicBezTo>
                      <a:pt x="135255" y="79057"/>
                      <a:pt x="136208" y="78105"/>
                      <a:pt x="137160" y="76200"/>
                    </a:cubicBezTo>
                    <a:cubicBezTo>
                      <a:pt x="138113" y="73343"/>
                      <a:pt x="138113" y="70485"/>
                      <a:pt x="139065" y="68580"/>
                    </a:cubicBezTo>
                    <a:lnTo>
                      <a:pt x="140970" y="60960"/>
                    </a:lnTo>
                    <a:cubicBezTo>
                      <a:pt x="141923" y="57150"/>
                      <a:pt x="140970" y="54293"/>
                      <a:pt x="139065" y="52388"/>
                    </a:cubicBezTo>
                    <a:cubicBezTo>
                      <a:pt x="138113" y="51435"/>
                      <a:pt x="138113" y="51435"/>
                      <a:pt x="137160" y="50483"/>
                    </a:cubicBezTo>
                    <a:cubicBezTo>
                      <a:pt x="138113" y="37148"/>
                      <a:pt x="136208" y="26670"/>
                      <a:pt x="130493" y="18098"/>
                    </a:cubicBezTo>
                    <a:cubicBezTo>
                      <a:pt x="124778" y="8573"/>
                      <a:pt x="115253" y="2858"/>
                      <a:pt x="103823" y="953"/>
                    </a:cubicBezTo>
                    <a:cubicBezTo>
                      <a:pt x="100965" y="953"/>
                      <a:pt x="99060" y="0"/>
                      <a:pt x="96203" y="0"/>
                    </a:cubicBezTo>
                    <a:cubicBezTo>
                      <a:pt x="96203" y="0"/>
                      <a:pt x="96203" y="0"/>
                      <a:pt x="96203" y="0"/>
                    </a:cubicBezTo>
                    <a:cubicBezTo>
                      <a:pt x="96203" y="0"/>
                      <a:pt x="96203" y="0"/>
                      <a:pt x="96203" y="0"/>
                    </a:cubicBezTo>
                    <a:cubicBezTo>
                      <a:pt x="96203" y="0"/>
                      <a:pt x="96203" y="0"/>
                      <a:pt x="96203" y="0"/>
                    </a:cubicBezTo>
                    <a:cubicBezTo>
                      <a:pt x="96203" y="0"/>
                      <a:pt x="96203" y="0"/>
                      <a:pt x="96203" y="0"/>
                    </a:cubicBezTo>
                    <a:cubicBezTo>
                      <a:pt x="93345" y="0"/>
                      <a:pt x="91440" y="0"/>
                      <a:pt x="88582" y="953"/>
                    </a:cubicBezTo>
                    <a:cubicBezTo>
                      <a:pt x="77153" y="2858"/>
                      <a:pt x="67628" y="9525"/>
                      <a:pt x="61913" y="18098"/>
                    </a:cubicBezTo>
                    <a:cubicBezTo>
                      <a:pt x="56197" y="26670"/>
                      <a:pt x="54293" y="37148"/>
                      <a:pt x="55245" y="50483"/>
                    </a:cubicBezTo>
                    <a:cubicBezTo>
                      <a:pt x="54293" y="50483"/>
                      <a:pt x="54293" y="51435"/>
                      <a:pt x="53340" y="52388"/>
                    </a:cubicBezTo>
                    <a:cubicBezTo>
                      <a:pt x="52388" y="54293"/>
                      <a:pt x="50482" y="57150"/>
                      <a:pt x="51435" y="60960"/>
                    </a:cubicBezTo>
                    <a:lnTo>
                      <a:pt x="53340" y="68580"/>
                    </a:lnTo>
                    <a:cubicBezTo>
                      <a:pt x="53340" y="70485"/>
                      <a:pt x="54293" y="73343"/>
                      <a:pt x="55245" y="76200"/>
                    </a:cubicBezTo>
                    <a:cubicBezTo>
                      <a:pt x="56197" y="78105"/>
                      <a:pt x="56197" y="79057"/>
                      <a:pt x="58103" y="80963"/>
                    </a:cubicBezTo>
                    <a:cubicBezTo>
                      <a:pt x="59055" y="81915"/>
                      <a:pt x="60007" y="82868"/>
                      <a:pt x="60960" y="82868"/>
                    </a:cubicBezTo>
                    <a:lnTo>
                      <a:pt x="60960" y="83820"/>
                    </a:lnTo>
                    <a:cubicBezTo>
                      <a:pt x="62865" y="88582"/>
                      <a:pt x="64770" y="93345"/>
                      <a:pt x="68580" y="97155"/>
                    </a:cubicBezTo>
                    <a:lnTo>
                      <a:pt x="68580" y="106680"/>
                    </a:lnTo>
                    <a:cubicBezTo>
                      <a:pt x="68580" y="106680"/>
                      <a:pt x="67628" y="113348"/>
                      <a:pt x="62865" y="116205"/>
                    </a:cubicBezTo>
                    <a:lnTo>
                      <a:pt x="30480" y="123825"/>
                    </a:lnTo>
                    <a:cubicBezTo>
                      <a:pt x="15240" y="127635"/>
                      <a:pt x="13335" y="139065"/>
                      <a:pt x="13335" y="139065"/>
                    </a:cubicBezTo>
                    <a:lnTo>
                      <a:pt x="0" y="183833"/>
                    </a:lnTo>
                    <a:lnTo>
                      <a:pt x="96203" y="183833"/>
                    </a:lnTo>
                    <a:lnTo>
                      <a:pt x="192405" y="183833"/>
                    </a:lnTo>
                    <a:lnTo>
                      <a:pt x="179070" y="138113"/>
                    </a:lnTo>
                    <a:close/>
                  </a:path>
                </a:pathLst>
              </a:custGeom>
              <a:solidFill>
                <a:srgbClr val="40AA1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51" name="Graphic 207">
              <a:extLst>
                <a:ext uri="{FF2B5EF4-FFF2-40B4-BE49-F238E27FC236}">
                  <a16:creationId xmlns:a16="http://schemas.microsoft.com/office/drawing/2014/main" id="{5BC911F1-124F-E1CB-923D-DE665683D50D}"/>
                </a:ext>
              </a:extLst>
            </p:cNvPr>
            <p:cNvGrpSpPr/>
            <p:nvPr/>
          </p:nvGrpSpPr>
          <p:grpSpPr>
            <a:xfrm>
              <a:off x="10601142" y="3055327"/>
              <a:ext cx="609600" cy="609600"/>
              <a:chOff x="10601142" y="3055327"/>
              <a:chExt cx="609600" cy="609600"/>
            </a:xfrm>
          </p:grpSpPr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287B985B-4C06-97C1-B9D1-16A1E27A89C4}"/>
                  </a:ext>
                </a:extLst>
              </p:cNvPr>
              <p:cNvSpPr/>
              <p:nvPr/>
            </p:nvSpPr>
            <p:spPr>
              <a:xfrm>
                <a:off x="10601142" y="3055327"/>
                <a:ext cx="609600" cy="252412"/>
              </a:xfrm>
              <a:custGeom>
                <a:avLst/>
                <a:gdLst>
                  <a:gd name="connsiteX0" fmla="*/ 93345 w 609600"/>
                  <a:gd name="connsiteY0" fmla="*/ 190500 h 252412"/>
                  <a:gd name="connsiteX1" fmla="*/ 308610 w 609600"/>
                  <a:gd name="connsiteY1" fmla="*/ 61913 h 252412"/>
                  <a:gd name="connsiteX2" fmla="*/ 547688 w 609600"/>
                  <a:gd name="connsiteY2" fmla="*/ 252413 h 252412"/>
                  <a:gd name="connsiteX3" fmla="*/ 609600 w 609600"/>
                  <a:gd name="connsiteY3" fmla="*/ 252413 h 252412"/>
                  <a:gd name="connsiteX4" fmla="*/ 308610 w 609600"/>
                  <a:gd name="connsiteY4" fmla="*/ 0 h 252412"/>
                  <a:gd name="connsiteX5" fmla="*/ 308610 w 609600"/>
                  <a:gd name="connsiteY5" fmla="*/ 0 h 252412"/>
                  <a:gd name="connsiteX6" fmla="*/ 48578 w 609600"/>
                  <a:gd name="connsiteY6" fmla="*/ 143828 h 252412"/>
                  <a:gd name="connsiteX7" fmla="*/ 0 w 609600"/>
                  <a:gd name="connsiteY7" fmla="*/ 92393 h 252412"/>
                  <a:gd name="connsiteX8" fmla="*/ 0 w 609600"/>
                  <a:gd name="connsiteY8" fmla="*/ 252413 h 252412"/>
                  <a:gd name="connsiteX9" fmla="*/ 152400 w 609600"/>
                  <a:gd name="connsiteY9" fmla="*/ 252413 h 252412"/>
                  <a:gd name="connsiteX10" fmla="*/ 93345 w 609600"/>
                  <a:gd name="connsiteY10" fmla="*/ 190500 h 252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9600" h="252412">
                    <a:moveTo>
                      <a:pt x="93345" y="190500"/>
                    </a:moveTo>
                    <a:cubicBezTo>
                      <a:pt x="135255" y="114300"/>
                      <a:pt x="215265" y="61913"/>
                      <a:pt x="308610" y="61913"/>
                    </a:cubicBezTo>
                    <a:cubicBezTo>
                      <a:pt x="424815" y="61913"/>
                      <a:pt x="522923" y="143828"/>
                      <a:pt x="547688" y="252413"/>
                    </a:cubicBezTo>
                    <a:lnTo>
                      <a:pt x="609600" y="252413"/>
                    </a:lnTo>
                    <a:cubicBezTo>
                      <a:pt x="583883" y="108585"/>
                      <a:pt x="458153" y="0"/>
                      <a:pt x="308610" y="0"/>
                    </a:cubicBezTo>
                    <a:lnTo>
                      <a:pt x="308610" y="0"/>
                    </a:lnTo>
                    <a:cubicBezTo>
                      <a:pt x="199073" y="0"/>
                      <a:pt x="102870" y="57150"/>
                      <a:pt x="48578" y="143828"/>
                    </a:cubicBezTo>
                    <a:lnTo>
                      <a:pt x="0" y="92393"/>
                    </a:lnTo>
                    <a:lnTo>
                      <a:pt x="0" y="252413"/>
                    </a:lnTo>
                    <a:lnTo>
                      <a:pt x="152400" y="252413"/>
                    </a:lnTo>
                    <a:lnTo>
                      <a:pt x="93345" y="190500"/>
                    </a:lnTo>
                    <a:close/>
                  </a:path>
                </a:pathLst>
              </a:custGeom>
              <a:solidFill>
                <a:srgbClr val="3D46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B6A998-E4B4-F8E5-33F3-14582C54A9D0}"/>
                  </a:ext>
                </a:extLst>
              </p:cNvPr>
              <p:cNvSpPr/>
              <p:nvPr/>
            </p:nvSpPr>
            <p:spPr>
              <a:xfrm>
                <a:off x="10601142" y="3413466"/>
                <a:ext cx="608647" cy="251460"/>
              </a:xfrm>
              <a:custGeom>
                <a:avLst/>
                <a:gdLst>
                  <a:gd name="connsiteX0" fmla="*/ 516255 w 608647"/>
                  <a:gd name="connsiteY0" fmla="*/ 60960 h 251460"/>
                  <a:gd name="connsiteX1" fmla="*/ 300990 w 608647"/>
                  <a:gd name="connsiteY1" fmla="*/ 189548 h 251460"/>
                  <a:gd name="connsiteX2" fmla="*/ 62865 w 608647"/>
                  <a:gd name="connsiteY2" fmla="*/ 0 h 251460"/>
                  <a:gd name="connsiteX3" fmla="*/ 0 w 608647"/>
                  <a:gd name="connsiteY3" fmla="*/ 0 h 251460"/>
                  <a:gd name="connsiteX4" fmla="*/ 300990 w 608647"/>
                  <a:gd name="connsiteY4" fmla="*/ 251460 h 251460"/>
                  <a:gd name="connsiteX5" fmla="*/ 300990 w 608647"/>
                  <a:gd name="connsiteY5" fmla="*/ 251460 h 251460"/>
                  <a:gd name="connsiteX6" fmla="*/ 560070 w 608647"/>
                  <a:gd name="connsiteY6" fmla="*/ 107633 h 251460"/>
                  <a:gd name="connsiteX7" fmla="*/ 608648 w 608647"/>
                  <a:gd name="connsiteY7" fmla="*/ 159068 h 251460"/>
                  <a:gd name="connsiteX8" fmla="*/ 608648 w 608647"/>
                  <a:gd name="connsiteY8" fmla="*/ 953 h 251460"/>
                  <a:gd name="connsiteX9" fmla="*/ 459105 w 608647"/>
                  <a:gd name="connsiteY9" fmla="*/ 953 h 251460"/>
                  <a:gd name="connsiteX10" fmla="*/ 516255 w 608647"/>
                  <a:gd name="connsiteY10" fmla="*/ 60960 h 251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8647" h="251460">
                    <a:moveTo>
                      <a:pt x="516255" y="60960"/>
                    </a:moveTo>
                    <a:cubicBezTo>
                      <a:pt x="474345" y="137160"/>
                      <a:pt x="394335" y="189548"/>
                      <a:pt x="300990" y="189548"/>
                    </a:cubicBezTo>
                    <a:cubicBezTo>
                      <a:pt x="184785" y="189548"/>
                      <a:pt x="87630" y="108585"/>
                      <a:pt x="62865" y="0"/>
                    </a:cubicBezTo>
                    <a:lnTo>
                      <a:pt x="0" y="0"/>
                    </a:lnTo>
                    <a:cubicBezTo>
                      <a:pt x="26670" y="142875"/>
                      <a:pt x="151448" y="251460"/>
                      <a:pt x="300990" y="251460"/>
                    </a:cubicBezTo>
                    <a:lnTo>
                      <a:pt x="300990" y="251460"/>
                    </a:lnTo>
                    <a:cubicBezTo>
                      <a:pt x="410528" y="251460"/>
                      <a:pt x="505778" y="194310"/>
                      <a:pt x="560070" y="107633"/>
                    </a:cubicBezTo>
                    <a:lnTo>
                      <a:pt x="608648" y="159068"/>
                    </a:lnTo>
                    <a:lnTo>
                      <a:pt x="608648" y="953"/>
                    </a:lnTo>
                    <a:lnTo>
                      <a:pt x="459105" y="953"/>
                    </a:lnTo>
                    <a:lnTo>
                      <a:pt x="516255" y="60960"/>
                    </a:lnTo>
                    <a:close/>
                  </a:path>
                </a:pathLst>
              </a:custGeom>
              <a:solidFill>
                <a:srgbClr val="40AA1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pic>
        <p:nvPicPr>
          <p:cNvPr id="213" name="Graphic 212">
            <a:extLst>
              <a:ext uri="{FF2B5EF4-FFF2-40B4-BE49-F238E27FC236}">
                <a16:creationId xmlns:a16="http://schemas.microsoft.com/office/drawing/2014/main" id="{E7007BDE-DDBC-D033-0A1C-46A5DE17CD4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715318" y="5782463"/>
            <a:ext cx="575622" cy="731520"/>
          </a:xfrm>
          <a:prstGeom prst="rect">
            <a:avLst/>
          </a:prstGeom>
        </p:spPr>
      </p:pic>
      <p:sp>
        <p:nvSpPr>
          <p:cNvPr id="214" name="object 29">
            <a:extLst>
              <a:ext uri="{FF2B5EF4-FFF2-40B4-BE49-F238E27FC236}">
                <a16:creationId xmlns:a16="http://schemas.microsoft.com/office/drawing/2014/main" id="{5C6E1A07-570C-2000-3519-169ED03048DF}"/>
              </a:ext>
            </a:extLst>
          </p:cNvPr>
          <p:cNvSpPr txBox="1"/>
          <p:nvPr/>
        </p:nvSpPr>
        <p:spPr>
          <a:xfrm>
            <a:off x="307164" y="5357505"/>
            <a:ext cx="109489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</a:t>
            </a:r>
            <a:r>
              <a:rPr dirty="0"/>
              <a:t>ngagement</a:t>
            </a:r>
            <a:r>
              <a:rPr lang="en-US" dirty="0"/>
              <a:t> Culture</a:t>
            </a:r>
            <a:endParaRPr dirty="0"/>
          </a:p>
        </p:txBody>
      </p:sp>
      <p:pic>
        <p:nvPicPr>
          <p:cNvPr id="216" name="Graphic 215">
            <a:extLst>
              <a:ext uri="{FF2B5EF4-FFF2-40B4-BE49-F238E27FC236}">
                <a16:creationId xmlns:a16="http://schemas.microsoft.com/office/drawing/2014/main" id="{BD1E8E32-C535-399F-32CE-733CA9E32C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67260" y="5843423"/>
            <a:ext cx="774700" cy="609600"/>
          </a:xfrm>
          <a:prstGeom prst="rect">
            <a:avLst/>
          </a:prstGeom>
        </p:spPr>
      </p:pic>
      <p:sp>
        <p:nvSpPr>
          <p:cNvPr id="219" name="object 21">
            <a:extLst>
              <a:ext uri="{FF2B5EF4-FFF2-40B4-BE49-F238E27FC236}">
                <a16:creationId xmlns:a16="http://schemas.microsoft.com/office/drawing/2014/main" id="{333E0B2B-8164-9EB2-E7BC-1ED29FEEBFC7}"/>
              </a:ext>
            </a:extLst>
          </p:cNvPr>
          <p:cNvSpPr txBox="1"/>
          <p:nvPr/>
        </p:nvSpPr>
        <p:spPr>
          <a:xfrm>
            <a:off x="1409564" y="2666746"/>
            <a:ext cx="118486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esign</a:t>
            </a:r>
            <a:endParaRPr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C538DE-373C-ABE6-2D54-73E1B6550CA9}"/>
              </a:ext>
            </a:extLst>
          </p:cNvPr>
          <p:cNvSpPr txBox="1"/>
          <p:nvPr/>
        </p:nvSpPr>
        <p:spPr>
          <a:xfrm>
            <a:off x="10983738" y="1533106"/>
            <a:ext cx="605297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upport </a:t>
            </a:r>
          </a:p>
        </p:txBody>
      </p:sp>
      <p:sp>
        <p:nvSpPr>
          <p:cNvPr id="11" name="object 49">
            <a:extLst>
              <a:ext uri="{FF2B5EF4-FFF2-40B4-BE49-F238E27FC236}">
                <a16:creationId xmlns:a16="http://schemas.microsoft.com/office/drawing/2014/main" id="{EC31A396-DEBC-1BBE-F423-3DD5A9804B57}"/>
              </a:ext>
            </a:extLst>
          </p:cNvPr>
          <p:cNvSpPr txBox="1"/>
          <p:nvPr/>
        </p:nvSpPr>
        <p:spPr>
          <a:xfrm>
            <a:off x="255987" y="2666746"/>
            <a:ext cx="1197247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Webinars, Events</a:t>
            </a:r>
            <a:endParaRPr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C4C02B88-9D0D-D8D6-F83C-EA7B0874375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64085" y="3030966"/>
            <a:ext cx="781050" cy="6096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E3A13776-3C33-C7D0-B686-308F640CA10E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898015" y="1793553"/>
            <a:ext cx="781050" cy="6096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8026E0C-E63B-D557-C768-FBCE14FB116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614648" y="3030966"/>
            <a:ext cx="774700" cy="609600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490715CB-AFDD-B4C2-082B-C9761F3A3FED}"/>
              </a:ext>
            </a:extLst>
          </p:cNvPr>
          <p:cNvGrpSpPr/>
          <p:nvPr/>
        </p:nvGrpSpPr>
        <p:grpSpPr>
          <a:xfrm>
            <a:off x="6544808" y="1790618"/>
            <a:ext cx="567756" cy="615470"/>
            <a:chOff x="6984152" y="3185430"/>
            <a:chExt cx="567756" cy="615470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2146F322-9179-3AE6-5734-55D43C6E82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6992517" y="3185430"/>
              <a:ext cx="554851" cy="612648"/>
            </a:xfrm>
            <a:prstGeom prst="rect">
              <a:avLst/>
            </a:prstGeom>
          </p:spPr>
        </p:pic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D72B29A-CD81-5F53-910B-F4DAB0EBFC14}"/>
                </a:ext>
              </a:extLst>
            </p:cNvPr>
            <p:cNvSpPr>
              <a:spLocks/>
            </p:cNvSpPr>
            <p:nvPr/>
          </p:nvSpPr>
          <p:spPr>
            <a:xfrm>
              <a:off x="6984152" y="3596762"/>
              <a:ext cx="567756" cy="204138"/>
            </a:xfrm>
            <a:custGeom>
              <a:avLst/>
              <a:gdLst>
                <a:gd name="connsiteX0" fmla="*/ 469042 w 503668"/>
                <a:gd name="connsiteY0" fmla="*/ 60105 h 181095"/>
                <a:gd name="connsiteX1" fmla="*/ 422610 w 503668"/>
                <a:gd name="connsiteY1" fmla="*/ 18734 h 181095"/>
                <a:gd name="connsiteX2" fmla="*/ 339977 w 503668"/>
                <a:gd name="connsiteY2" fmla="*/ 0 h 181095"/>
                <a:gd name="connsiteX3" fmla="*/ 321089 w 503668"/>
                <a:gd name="connsiteY3" fmla="*/ 13270 h 181095"/>
                <a:gd name="connsiteX4" fmla="*/ 251834 w 503668"/>
                <a:gd name="connsiteY4" fmla="*/ 69472 h 181095"/>
                <a:gd name="connsiteX5" fmla="*/ 183367 w 503668"/>
                <a:gd name="connsiteY5" fmla="*/ 14051 h 181095"/>
                <a:gd name="connsiteX6" fmla="*/ 164479 w 503668"/>
                <a:gd name="connsiteY6" fmla="*/ 0 h 181095"/>
                <a:gd name="connsiteX7" fmla="*/ 81059 w 503668"/>
                <a:gd name="connsiteY7" fmla="*/ 18734 h 181095"/>
                <a:gd name="connsiteX8" fmla="*/ 34627 w 503668"/>
                <a:gd name="connsiteY8" fmla="*/ 60105 h 181095"/>
                <a:gd name="connsiteX9" fmla="*/ 0 w 503668"/>
                <a:gd name="connsiteY9" fmla="*/ 181096 h 181095"/>
                <a:gd name="connsiteX10" fmla="*/ 503669 w 503668"/>
                <a:gd name="connsiteY10" fmla="*/ 181096 h 181095"/>
                <a:gd name="connsiteX11" fmla="*/ 469042 w 503668"/>
                <a:gd name="connsiteY11" fmla="*/ 60105 h 18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3668" h="181095">
                  <a:moveTo>
                    <a:pt x="469042" y="60105"/>
                  </a:moveTo>
                  <a:cubicBezTo>
                    <a:pt x="468255" y="56983"/>
                    <a:pt x="461959" y="27320"/>
                    <a:pt x="422610" y="18734"/>
                  </a:cubicBezTo>
                  <a:lnTo>
                    <a:pt x="339977" y="0"/>
                  </a:lnTo>
                  <a:lnTo>
                    <a:pt x="321089" y="13270"/>
                  </a:lnTo>
                  <a:lnTo>
                    <a:pt x="251834" y="69472"/>
                  </a:lnTo>
                  <a:lnTo>
                    <a:pt x="183367" y="14051"/>
                  </a:lnTo>
                  <a:lnTo>
                    <a:pt x="164479" y="0"/>
                  </a:lnTo>
                  <a:lnTo>
                    <a:pt x="81059" y="18734"/>
                  </a:lnTo>
                  <a:cubicBezTo>
                    <a:pt x="39349" y="28101"/>
                    <a:pt x="34627" y="59325"/>
                    <a:pt x="34627" y="60105"/>
                  </a:cubicBezTo>
                  <a:lnTo>
                    <a:pt x="0" y="181096"/>
                  </a:lnTo>
                  <a:lnTo>
                    <a:pt x="503669" y="181096"/>
                  </a:lnTo>
                  <a:lnTo>
                    <a:pt x="469042" y="60105"/>
                  </a:lnTo>
                  <a:close/>
                </a:path>
              </a:pathLst>
            </a:custGeom>
            <a:solidFill>
              <a:srgbClr val="40AA1D"/>
            </a:solidFill>
            <a:ln w="77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7F93FE3-EE83-70D0-A68B-7B58C250CBDF}"/>
              </a:ext>
            </a:extLst>
          </p:cNvPr>
          <p:cNvGrpSpPr/>
          <p:nvPr/>
        </p:nvGrpSpPr>
        <p:grpSpPr>
          <a:xfrm>
            <a:off x="7339309" y="1791400"/>
            <a:ext cx="567756" cy="613907"/>
            <a:chOff x="7778653" y="3140457"/>
            <a:chExt cx="567756" cy="613907"/>
          </a:xfrm>
        </p:grpSpPr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684F3FE4-0DAB-15CD-C5C0-968DB6E0BD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7785384" y="3140457"/>
              <a:ext cx="554851" cy="612648"/>
            </a:xfrm>
            <a:prstGeom prst="rect">
              <a:avLst/>
            </a:prstGeom>
          </p:spPr>
        </p:pic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0F043E0-2DD4-7FC4-0CC2-98BCABCB22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78653" y="3550226"/>
              <a:ext cx="567756" cy="204138"/>
            </a:xfrm>
            <a:custGeom>
              <a:avLst/>
              <a:gdLst>
                <a:gd name="connsiteX0" fmla="*/ 469042 w 503668"/>
                <a:gd name="connsiteY0" fmla="*/ 60105 h 181095"/>
                <a:gd name="connsiteX1" fmla="*/ 422610 w 503668"/>
                <a:gd name="connsiteY1" fmla="*/ 18734 h 181095"/>
                <a:gd name="connsiteX2" fmla="*/ 339977 w 503668"/>
                <a:gd name="connsiteY2" fmla="*/ 0 h 181095"/>
                <a:gd name="connsiteX3" fmla="*/ 321089 w 503668"/>
                <a:gd name="connsiteY3" fmla="*/ 13270 h 181095"/>
                <a:gd name="connsiteX4" fmla="*/ 251834 w 503668"/>
                <a:gd name="connsiteY4" fmla="*/ 69472 h 181095"/>
                <a:gd name="connsiteX5" fmla="*/ 183367 w 503668"/>
                <a:gd name="connsiteY5" fmla="*/ 14051 h 181095"/>
                <a:gd name="connsiteX6" fmla="*/ 164479 w 503668"/>
                <a:gd name="connsiteY6" fmla="*/ 0 h 181095"/>
                <a:gd name="connsiteX7" fmla="*/ 81059 w 503668"/>
                <a:gd name="connsiteY7" fmla="*/ 18734 h 181095"/>
                <a:gd name="connsiteX8" fmla="*/ 34627 w 503668"/>
                <a:gd name="connsiteY8" fmla="*/ 60105 h 181095"/>
                <a:gd name="connsiteX9" fmla="*/ 0 w 503668"/>
                <a:gd name="connsiteY9" fmla="*/ 181096 h 181095"/>
                <a:gd name="connsiteX10" fmla="*/ 503669 w 503668"/>
                <a:gd name="connsiteY10" fmla="*/ 181096 h 181095"/>
                <a:gd name="connsiteX11" fmla="*/ 469042 w 503668"/>
                <a:gd name="connsiteY11" fmla="*/ 60105 h 18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3668" h="181095">
                  <a:moveTo>
                    <a:pt x="469042" y="60105"/>
                  </a:moveTo>
                  <a:cubicBezTo>
                    <a:pt x="468255" y="56983"/>
                    <a:pt x="461959" y="27320"/>
                    <a:pt x="422610" y="18734"/>
                  </a:cubicBezTo>
                  <a:lnTo>
                    <a:pt x="339977" y="0"/>
                  </a:lnTo>
                  <a:lnTo>
                    <a:pt x="321089" y="13270"/>
                  </a:lnTo>
                  <a:lnTo>
                    <a:pt x="251834" y="69472"/>
                  </a:lnTo>
                  <a:lnTo>
                    <a:pt x="183367" y="14051"/>
                  </a:lnTo>
                  <a:lnTo>
                    <a:pt x="164479" y="0"/>
                  </a:lnTo>
                  <a:lnTo>
                    <a:pt x="81059" y="18734"/>
                  </a:lnTo>
                  <a:cubicBezTo>
                    <a:pt x="39349" y="28101"/>
                    <a:pt x="34627" y="59325"/>
                    <a:pt x="34627" y="60105"/>
                  </a:cubicBezTo>
                  <a:lnTo>
                    <a:pt x="0" y="181096"/>
                  </a:lnTo>
                  <a:lnTo>
                    <a:pt x="503669" y="181096"/>
                  </a:lnTo>
                  <a:lnTo>
                    <a:pt x="469042" y="60105"/>
                  </a:lnTo>
                  <a:close/>
                </a:path>
              </a:pathLst>
            </a:custGeom>
            <a:solidFill>
              <a:srgbClr val="40AA1D"/>
            </a:solidFill>
            <a:ln w="77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3" name="object 13">
            <a:extLst>
              <a:ext uri="{FF2B5EF4-FFF2-40B4-BE49-F238E27FC236}">
                <a16:creationId xmlns:a16="http://schemas.microsoft.com/office/drawing/2014/main" id="{02C14AF7-AB8D-02BF-4001-3C0483A2F3F8}"/>
              </a:ext>
            </a:extLst>
          </p:cNvPr>
          <p:cNvSpPr txBox="1"/>
          <p:nvPr/>
        </p:nvSpPr>
        <p:spPr>
          <a:xfrm>
            <a:off x="4765467" y="1533106"/>
            <a:ext cx="161798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ustomer Success</a:t>
            </a:r>
            <a:endParaRPr dirty="0"/>
          </a:p>
        </p:txBody>
      </p:sp>
      <p:sp>
        <p:nvSpPr>
          <p:cNvPr id="63" name="object 39">
            <a:extLst>
              <a:ext uri="{FF2B5EF4-FFF2-40B4-BE49-F238E27FC236}">
                <a16:creationId xmlns:a16="http://schemas.microsoft.com/office/drawing/2014/main" id="{62F0CD8E-11B6-2E20-8C2D-786DB5386F8E}"/>
              </a:ext>
            </a:extLst>
          </p:cNvPr>
          <p:cNvSpPr txBox="1"/>
          <p:nvPr/>
        </p:nvSpPr>
        <p:spPr>
          <a:xfrm>
            <a:off x="3183183" y="5357505"/>
            <a:ext cx="66395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G</a:t>
            </a:r>
            <a:r>
              <a:rPr dirty="0"/>
              <a:t>roup</a:t>
            </a:r>
            <a:r>
              <a:rPr lang="en-US" dirty="0"/>
              <a:t> Hand Click</a:t>
            </a:r>
            <a:endParaRPr dirty="0"/>
          </a:p>
        </p:txBody>
      </p:sp>
      <p:pic>
        <p:nvPicPr>
          <p:cNvPr id="204" name="Graphic 203">
            <a:extLst>
              <a:ext uri="{FF2B5EF4-FFF2-40B4-BE49-F238E27FC236}">
                <a16:creationId xmlns:a16="http://schemas.microsoft.com/office/drawing/2014/main" id="{7AAB3148-2833-E52B-A421-55E9B4EEAD95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134994" y="5809895"/>
            <a:ext cx="676656" cy="676656"/>
          </a:xfrm>
          <a:prstGeom prst="rect">
            <a:avLst/>
          </a:prstGeom>
        </p:spPr>
      </p:pic>
      <p:sp>
        <p:nvSpPr>
          <p:cNvPr id="220" name="object 21">
            <a:extLst>
              <a:ext uri="{FF2B5EF4-FFF2-40B4-BE49-F238E27FC236}">
                <a16:creationId xmlns:a16="http://schemas.microsoft.com/office/drawing/2014/main" id="{9DF109D3-16C8-2658-C08D-F0D3DD084E3A}"/>
              </a:ext>
            </a:extLst>
          </p:cNvPr>
          <p:cNvSpPr txBox="1"/>
          <p:nvPr/>
        </p:nvSpPr>
        <p:spPr>
          <a:xfrm>
            <a:off x="4110224" y="5357505"/>
            <a:ext cx="146513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Requirements</a:t>
            </a:r>
            <a:r>
              <a:rPr lang="en-US" dirty="0"/>
              <a:t> M</a:t>
            </a:r>
            <a:r>
              <a:rPr dirty="0"/>
              <a:t>ana</a:t>
            </a:r>
            <a:r>
              <a:rPr lang="en-US" dirty="0"/>
              <a:t>gement</a:t>
            </a:r>
            <a:endParaRPr dirty="0"/>
          </a:p>
        </p:txBody>
      </p:sp>
      <p:pic>
        <p:nvPicPr>
          <p:cNvPr id="221" name="Graphic 220">
            <a:extLst>
              <a:ext uri="{FF2B5EF4-FFF2-40B4-BE49-F238E27FC236}">
                <a16:creationId xmlns:a16="http://schemas.microsoft.com/office/drawing/2014/main" id="{DCE2FA84-3CC0-657B-0973-A38170A6301E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4453367" y="5843423"/>
            <a:ext cx="774700" cy="6096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8DE8B17-D602-D869-2B6C-7B53DF3FEA7C}"/>
              </a:ext>
            </a:extLst>
          </p:cNvPr>
          <p:cNvSpPr txBox="1"/>
          <p:nvPr/>
        </p:nvSpPr>
        <p:spPr>
          <a:xfrm>
            <a:off x="5714999" y="5426755"/>
            <a:ext cx="1075761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ollaboration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BB0D2D-A24C-ABF4-188B-248FB2E9C50F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869784" y="5843423"/>
            <a:ext cx="781050" cy="609600"/>
          </a:xfrm>
          <a:prstGeom prst="rect">
            <a:avLst/>
          </a:prstGeom>
        </p:spPr>
      </p:pic>
      <p:sp>
        <p:nvSpPr>
          <p:cNvPr id="20" name="object 13">
            <a:extLst>
              <a:ext uri="{FF2B5EF4-FFF2-40B4-BE49-F238E27FC236}">
                <a16:creationId xmlns:a16="http://schemas.microsoft.com/office/drawing/2014/main" id="{8C97868B-358F-4D72-6B53-D44E0537A8F4}"/>
              </a:ext>
            </a:extLst>
          </p:cNvPr>
          <p:cNvSpPr txBox="1"/>
          <p:nvPr/>
        </p:nvSpPr>
        <p:spPr>
          <a:xfrm>
            <a:off x="6944994" y="5357505"/>
            <a:ext cx="131649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ustomer Service/Success</a:t>
            </a:r>
            <a:endParaRPr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BFA50AF-B1D5-7DB6-7097-B6789F393D2B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7292551" y="5757698"/>
            <a:ext cx="781050" cy="78105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60EBB698-33D6-9E00-421D-E8FA6504DFB3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5183932" y="1793553"/>
            <a:ext cx="781050" cy="609600"/>
          </a:xfrm>
          <a:prstGeom prst="rect">
            <a:avLst/>
          </a:prstGeom>
        </p:spPr>
      </p:pic>
      <p:sp>
        <p:nvSpPr>
          <p:cNvPr id="9" name="object 9">
            <a:extLst>
              <a:ext uri="{FF2B5EF4-FFF2-40B4-BE49-F238E27FC236}">
                <a16:creationId xmlns:a16="http://schemas.microsoft.com/office/drawing/2014/main" id="{A7999CAA-5F91-9C70-90D6-E3C8ADA07539}"/>
              </a:ext>
            </a:extLst>
          </p:cNvPr>
          <p:cNvSpPr txBox="1"/>
          <p:nvPr/>
        </p:nvSpPr>
        <p:spPr>
          <a:xfrm>
            <a:off x="203889" y="1533106"/>
            <a:ext cx="130144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U</a:t>
            </a:r>
            <a:r>
              <a:rPr dirty="0"/>
              <a:t>ser</a:t>
            </a:r>
            <a:r>
              <a:rPr lang="en-US" dirty="0"/>
              <a:t> </a:t>
            </a:r>
            <a:r>
              <a:rPr dirty="0"/>
              <a:t>person</a:t>
            </a:r>
          </a:p>
        </p:txBody>
      </p:sp>
      <p:sp>
        <p:nvSpPr>
          <p:cNvPr id="13" name="object 49">
            <a:extLst>
              <a:ext uri="{FF2B5EF4-FFF2-40B4-BE49-F238E27FC236}">
                <a16:creationId xmlns:a16="http://schemas.microsoft.com/office/drawing/2014/main" id="{F2861362-875A-C84A-CD86-AE05F7222FBA}"/>
              </a:ext>
            </a:extLst>
          </p:cNvPr>
          <p:cNvSpPr txBox="1"/>
          <p:nvPr/>
        </p:nvSpPr>
        <p:spPr>
          <a:xfrm>
            <a:off x="6237472" y="2666746"/>
            <a:ext cx="140589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Value Works</a:t>
            </a:r>
            <a:r>
              <a:rPr lang="en-US" dirty="0"/>
              <a:t>hop</a:t>
            </a:r>
            <a:endParaRPr dirty="0"/>
          </a:p>
        </p:txBody>
      </p:sp>
      <p:sp>
        <p:nvSpPr>
          <p:cNvPr id="16" name="object 25">
            <a:extLst>
              <a:ext uri="{FF2B5EF4-FFF2-40B4-BE49-F238E27FC236}">
                <a16:creationId xmlns:a16="http://schemas.microsoft.com/office/drawing/2014/main" id="{550F6E0E-EAFB-F872-5FFC-18B7FE151965}"/>
              </a:ext>
            </a:extLst>
          </p:cNvPr>
          <p:cNvSpPr txBox="1"/>
          <p:nvPr/>
        </p:nvSpPr>
        <p:spPr>
          <a:xfrm>
            <a:off x="7479383" y="2666746"/>
            <a:ext cx="132969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Person AR</a:t>
            </a:r>
          </a:p>
        </p:txBody>
      </p:sp>
      <p:sp>
        <p:nvSpPr>
          <p:cNvPr id="22" name="object 23">
            <a:extLst>
              <a:ext uri="{FF2B5EF4-FFF2-40B4-BE49-F238E27FC236}">
                <a16:creationId xmlns:a16="http://schemas.microsoft.com/office/drawing/2014/main" id="{2F5578A9-0738-26A4-7DD9-5787F419936B}"/>
              </a:ext>
            </a:extLst>
          </p:cNvPr>
          <p:cNvSpPr txBox="1"/>
          <p:nvPr/>
        </p:nvSpPr>
        <p:spPr>
          <a:xfrm>
            <a:off x="189765" y="4028902"/>
            <a:ext cx="132969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Group of Stu</a:t>
            </a:r>
            <a:r>
              <a:rPr lang="en-US" dirty="0"/>
              <a:t>dents</a:t>
            </a:r>
            <a:endParaRPr dirty="0"/>
          </a:p>
        </p:txBody>
      </p:sp>
      <p:sp>
        <p:nvSpPr>
          <p:cNvPr id="25" name="object 45">
            <a:extLst>
              <a:ext uri="{FF2B5EF4-FFF2-40B4-BE49-F238E27FC236}">
                <a16:creationId xmlns:a16="http://schemas.microsoft.com/office/drawing/2014/main" id="{9F57CAD7-0353-563A-A3F2-05B8BF56C719}"/>
              </a:ext>
            </a:extLst>
          </p:cNvPr>
          <p:cNvSpPr txBox="1"/>
          <p:nvPr/>
        </p:nvSpPr>
        <p:spPr>
          <a:xfrm>
            <a:off x="1529558" y="3971752"/>
            <a:ext cx="1036309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Educator an</a:t>
            </a:r>
            <a:r>
              <a:rPr lang="en-US" dirty="0"/>
              <a:t>d Student</a:t>
            </a:r>
            <a:endParaRPr dirty="0"/>
          </a:p>
        </p:txBody>
      </p:sp>
      <p:sp>
        <p:nvSpPr>
          <p:cNvPr id="30" name="object 21">
            <a:extLst>
              <a:ext uri="{FF2B5EF4-FFF2-40B4-BE49-F238E27FC236}">
                <a16:creationId xmlns:a16="http://schemas.microsoft.com/office/drawing/2014/main" id="{6487F903-B64D-312B-E5E1-3A62CBB812DA}"/>
              </a:ext>
            </a:extLst>
          </p:cNvPr>
          <p:cNvSpPr txBox="1"/>
          <p:nvPr/>
        </p:nvSpPr>
        <p:spPr>
          <a:xfrm>
            <a:off x="6347983" y="4028902"/>
            <a:ext cx="118486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Customer F</a:t>
            </a:r>
            <a:r>
              <a:rPr lang="en-US" dirty="0"/>
              <a:t>acing</a:t>
            </a:r>
            <a:endParaRPr dirty="0"/>
          </a:p>
        </p:txBody>
      </p:sp>
      <p:sp>
        <p:nvSpPr>
          <p:cNvPr id="35" name="object 7">
            <a:extLst>
              <a:ext uri="{FF2B5EF4-FFF2-40B4-BE49-F238E27FC236}">
                <a16:creationId xmlns:a16="http://schemas.microsoft.com/office/drawing/2014/main" id="{2FF1F02D-9D9D-7C90-CF13-956B116F370B}"/>
              </a:ext>
            </a:extLst>
          </p:cNvPr>
          <p:cNvSpPr txBox="1"/>
          <p:nvPr/>
        </p:nvSpPr>
        <p:spPr>
          <a:xfrm>
            <a:off x="4980040" y="2666746"/>
            <a:ext cx="135509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Attracting th</a:t>
            </a:r>
            <a:r>
              <a:rPr lang="en-US" dirty="0"/>
              <a:t>e best</a:t>
            </a:r>
            <a:endParaRPr dirty="0"/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FD81B884-17BB-C105-5298-CF5C9EF8C1AF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2713662" y="1793553"/>
            <a:ext cx="609600" cy="609600"/>
          </a:xfrm>
          <a:prstGeom prst="rect">
            <a:avLst/>
          </a:prstGeom>
        </p:spPr>
      </p:pic>
      <p:sp>
        <p:nvSpPr>
          <p:cNvPr id="44" name="Text Placeholder 81">
            <a:extLst>
              <a:ext uri="{FF2B5EF4-FFF2-40B4-BE49-F238E27FC236}">
                <a16:creationId xmlns:a16="http://schemas.microsoft.com/office/drawing/2014/main" id="{AFA55A0F-6B01-A046-2A7F-77F8C9D0B0CB}"/>
              </a:ext>
            </a:extLst>
          </p:cNvPr>
          <p:cNvSpPr txBox="1">
            <a:spLocks/>
          </p:cNvSpPr>
          <p:nvPr/>
        </p:nvSpPr>
        <p:spPr>
          <a:xfrm>
            <a:off x="2494385" y="1533106"/>
            <a:ext cx="1049972" cy="1523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Follow</a:t>
            </a:r>
          </a:p>
        </p:txBody>
      </p:sp>
      <p:sp>
        <p:nvSpPr>
          <p:cNvPr id="218" name="object 32">
            <a:extLst>
              <a:ext uri="{FF2B5EF4-FFF2-40B4-BE49-F238E27FC236}">
                <a16:creationId xmlns:a16="http://schemas.microsoft.com/office/drawing/2014/main" id="{A6E8E160-4F88-9B82-539E-FBB305B28B7D}"/>
              </a:ext>
            </a:extLst>
          </p:cNvPr>
          <p:cNvSpPr txBox="1"/>
          <p:nvPr/>
        </p:nvSpPr>
        <p:spPr>
          <a:xfrm>
            <a:off x="2498097" y="2666746"/>
            <a:ext cx="12541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dministrator CAD</a:t>
            </a:r>
            <a:endParaRPr dirty="0"/>
          </a:p>
        </p:txBody>
      </p:sp>
      <p:sp>
        <p:nvSpPr>
          <p:cNvPr id="240" name="object 7">
            <a:extLst>
              <a:ext uri="{FF2B5EF4-FFF2-40B4-BE49-F238E27FC236}">
                <a16:creationId xmlns:a16="http://schemas.microsoft.com/office/drawing/2014/main" id="{E90E0774-EA0D-28F3-7A1A-7479506138C1}"/>
              </a:ext>
            </a:extLst>
          </p:cNvPr>
          <p:cNvSpPr txBox="1"/>
          <p:nvPr/>
        </p:nvSpPr>
        <p:spPr>
          <a:xfrm>
            <a:off x="8687577" y="2666746"/>
            <a:ext cx="12541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ontrols Engineer</a:t>
            </a:r>
            <a:endParaRPr dirty="0"/>
          </a:p>
        </p:txBody>
      </p:sp>
      <p:sp>
        <p:nvSpPr>
          <p:cNvPr id="242" name="object 34">
            <a:extLst>
              <a:ext uri="{FF2B5EF4-FFF2-40B4-BE49-F238E27FC236}">
                <a16:creationId xmlns:a16="http://schemas.microsoft.com/office/drawing/2014/main" id="{4B452647-F39E-A6FF-E41C-54B78115AC68}"/>
              </a:ext>
            </a:extLst>
          </p:cNvPr>
          <p:cNvSpPr txBox="1"/>
          <p:nvPr/>
        </p:nvSpPr>
        <p:spPr>
          <a:xfrm>
            <a:off x="9866619" y="2666746"/>
            <a:ext cx="12541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esign Engineer</a:t>
            </a:r>
            <a:endParaRPr dirty="0"/>
          </a:p>
        </p:txBody>
      </p:sp>
      <p:sp>
        <p:nvSpPr>
          <p:cNvPr id="244" name="object 47">
            <a:extLst>
              <a:ext uri="{FF2B5EF4-FFF2-40B4-BE49-F238E27FC236}">
                <a16:creationId xmlns:a16="http://schemas.microsoft.com/office/drawing/2014/main" id="{E9525FD4-4B10-0E42-77D5-3AE7723530F0}"/>
              </a:ext>
            </a:extLst>
          </p:cNvPr>
          <p:cNvSpPr txBox="1"/>
          <p:nvPr/>
        </p:nvSpPr>
        <p:spPr>
          <a:xfrm>
            <a:off x="2498097" y="4028902"/>
            <a:ext cx="12541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eveloper IOT</a:t>
            </a:r>
            <a:endParaRPr dirty="0"/>
          </a:p>
        </p:txBody>
      </p:sp>
      <p:sp>
        <p:nvSpPr>
          <p:cNvPr id="246" name="object 9">
            <a:extLst>
              <a:ext uri="{FF2B5EF4-FFF2-40B4-BE49-F238E27FC236}">
                <a16:creationId xmlns:a16="http://schemas.microsoft.com/office/drawing/2014/main" id="{2108716B-4BE3-89EF-4394-DA68E21E2584}"/>
              </a:ext>
            </a:extLst>
          </p:cNvPr>
          <p:cNvSpPr txBox="1"/>
          <p:nvPr/>
        </p:nvSpPr>
        <p:spPr>
          <a:xfrm>
            <a:off x="3833447" y="3959652"/>
            <a:ext cx="125412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Manufacturing Executive</a:t>
            </a:r>
            <a:endParaRPr dirty="0"/>
          </a:p>
        </p:txBody>
      </p:sp>
      <p:sp>
        <p:nvSpPr>
          <p:cNvPr id="248" name="object 23">
            <a:extLst>
              <a:ext uri="{FF2B5EF4-FFF2-40B4-BE49-F238E27FC236}">
                <a16:creationId xmlns:a16="http://schemas.microsoft.com/office/drawing/2014/main" id="{B820EA06-3B23-30BC-26B1-8547336096D3}"/>
              </a:ext>
            </a:extLst>
          </p:cNvPr>
          <p:cNvSpPr txBox="1"/>
          <p:nvPr/>
        </p:nvSpPr>
        <p:spPr>
          <a:xfrm>
            <a:off x="5030523" y="3959652"/>
            <a:ext cx="125412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Network Administrator</a:t>
            </a:r>
            <a:endParaRPr dirty="0"/>
          </a:p>
        </p:txBody>
      </p:sp>
      <p:sp>
        <p:nvSpPr>
          <p:cNvPr id="252" name="object 49">
            <a:extLst>
              <a:ext uri="{FF2B5EF4-FFF2-40B4-BE49-F238E27FC236}">
                <a16:creationId xmlns:a16="http://schemas.microsoft.com/office/drawing/2014/main" id="{DD7DA158-36A3-B510-88D8-54D49AE7BAB5}"/>
              </a:ext>
            </a:extLst>
          </p:cNvPr>
          <p:cNvSpPr txBox="1"/>
          <p:nvPr/>
        </p:nvSpPr>
        <p:spPr>
          <a:xfrm>
            <a:off x="7496384" y="4028902"/>
            <a:ext cx="12541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upervisor</a:t>
            </a:r>
            <a:endParaRPr dirty="0"/>
          </a:p>
        </p:txBody>
      </p:sp>
      <p:sp>
        <p:nvSpPr>
          <p:cNvPr id="254" name="object 62">
            <a:extLst>
              <a:ext uri="{FF2B5EF4-FFF2-40B4-BE49-F238E27FC236}">
                <a16:creationId xmlns:a16="http://schemas.microsoft.com/office/drawing/2014/main" id="{2494E79D-B5FA-03BC-8D9E-BE5B7CA7B2BD}"/>
              </a:ext>
            </a:extLst>
          </p:cNvPr>
          <p:cNvSpPr txBox="1"/>
          <p:nvPr/>
        </p:nvSpPr>
        <p:spPr>
          <a:xfrm>
            <a:off x="8687577" y="3959652"/>
            <a:ext cx="125412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ystems Administrator PLM</a:t>
            </a:r>
            <a:endParaRPr dirty="0"/>
          </a:p>
        </p:txBody>
      </p:sp>
      <p:sp>
        <p:nvSpPr>
          <p:cNvPr id="257" name="object 7">
            <a:extLst>
              <a:ext uri="{FF2B5EF4-FFF2-40B4-BE49-F238E27FC236}">
                <a16:creationId xmlns:a16="http://schemas.microsoft.com/office/drawing/2014/main" id="{6BBCBADD-605C-4593-9293-008F71196962}"/>
              </a:ext>
            </a:extLst>
          </p:cNvPr>
          <p:cNvSpPr txBox="1"/>
          <p:nvPr/>
        </p:nvSpPr>
        <p:spPr>
          <a:xfrm>
            <a:off x="1396208" y="1533106"/>
            <a:ext cx="121158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G</a:t>
            </a:r>
            <a:r>
              <a:rPr dirty="0"/>
              <a:t>roup</a:t>
            </a:r>
            <a:r>
              <a:rPr lang="en-US" dirty="0"/>
              <a:t> </a:t>
            </a:r>
            <a:endParaRPr dirty="0"/>
          </a:p>
        </p:txBody>
      </p:sp>
      <p:sp>
        <p:nvSpPr>
          <p:cNvPr id="259" name="object 11">
            <a:extLst>
              <a:ext uri="{FF2B5EF4-FFF2-40B4-BE49-F238E27FC236}">
                <a16:creationId xmlns:a16="http://schemas.microsoft.com/office/drawing/2014/main" id="{15ECA39F-78BC-86CA-3DC1-9EE33E914FE3}"/>
              </a:ext>
            </a:extLst>
          </p:cNvPr>
          <p:cNvSpPr txBox="1"/>
          <p:nvPr/>
        </p:nvSpPr>
        <p:spPr>
          <a:xfrm>
            <a:off x="9773100" y="3959652"/>
            <a:ext cx="125412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ystems Administrator</a:t>
            </a:r>
            <a:endParaRPr dirty="0"/>
          </a:p>
        </p:txBody>
      </p:sp>
      <p:sp>
        <p:nvSpPr>
          <p:cNvPr id="263" name="object 58">
            <a:extLst>
              <a:ext uri="{FF2B5EF4-FFF2-40B4-BE49-F238E27FC236}">
                <a16:creationId xmlns:a16="http://schemas.microsoft.com/office/drawing/2014/main" id="{E931538D-20CA-0010-3E7C-0E1590032C88}"/>
              </a:ext>
            </a:extLst>
          </p:cNvPr>
          <p:cNvSpPr txBox="1"/>
          <p:nvPr/>
        </p:nvSpPr>
        <p:spPr>
          <a:xfrm>
            <a:off x="10827733" y="3959652"/>
            <a:ext cx="125412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utomation </a:t>
            </a:r>
            <a:br>
              <a:rPr lang="en-US" dirty="0"/>
            </a:br>
            <a:r>
              <a:rPr lang="en-US" dirty="0"/>
              <a:t>Process Engineer</a:t>
            </a:r>
            <a:endParaRPr dirty="0"/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83BC76E4-0E78-FF83-2539-6A525400D142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6568942" y="4330108"/>
            <a:ext cx="742950" cy="733425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E7C05C33-C94C-2658-83BF-EFA41CFA2F13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611473" y="4306295"/>
            <a:ext cx="781050" cy="781050"/>
          </a:xfrm>
          <a:prstGeom prst="rect">
            <a:avLst/>
          </a:prstGeom>
        </p:spPr>
      </p:pic>
      <p:pic>
        <p:nvPicPr>
          <p:cNvPr id="197" name="Graphic 196">
            <a:extLst>
              <a:ext uri="{FF2B5EF4-FFF2-40B4-BE49-F238E27FC236}">
                <a16:creationId xmlns:a16="http://schemas.microsoft.com/office/drawing/2014/main" id="{10570699-D63C-B470-A171-DD22DBAA9D2C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464085" y="4306295"/>
            <a:ext cx="781050" cy="781050"/>
          </a:xfrm>
          <a:prstGeom prst="rect">
            <a:avLst/>
          </a:prstGeom>
        </p:spPr>
      </p:pic>
      <p:pic>
        <p:nvPicPr>
          <p:cNvPr id="215" name="Graphic 214">
            <a:extLst>
              <a:ext uri="{FF2B5EF4-FFF2-40B4-BE49-F238E27FC236}">
                <a16:creationId xmlns:a16="http://schemas.microsoft.com/office/drawing/2014/main" id="{1E7E3B10-1D12-0AA1-F13F-1CCC41EE97C4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1126616" y="4306295"/>
            <a:ext cx="781050" cy="781050"/>
          </a:xfrm>
          <a:prstGeom prst="rect">
            <a:avLst/>
          </a:prstGeom>
        </p:spPr>
      </p:pic>
      <p:pic>
        <p:nvPicPr>
          <p:cNvPr id="229" name="Graphic 228">
            <a:extLst>
              <a:ext uri="{FF2B5EF4-FFF2-40B4-BE49-F238E27FC236}">
                <a16:creationId xmlns:a16="http://schemas.microsoft.com/office/drawing/2014/main" id="{92FD6F33-EC6C-9BAF-C958-38A1F29BF493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3990165" y="4306295"/>
            <a:ext cx="781050" cy="781050"/>
          </a:xfrm>
          <a:prstGeom prst="rect">
            <a:avLst/>
          </a:prstGeom>
        </p:spPr>
      </p:pic>
      <p:pic>
        <p:nvPicPr>
          <p:cNvPr id="231" name="Graphic 230">
            <a:extLst>
              <a:ext uri="{FF2B5EF4-FFF2-40B4-BE49-F238E27FC236}">
                <a16:creationId xmlns:a16="http://schemas.microsoft.com/office/drawing/2014/main" id="{36074866-D736-5D3F-B329-BC3476FF71F2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5267060" y="4320583"/>
            <a:ext cx="781050" cy="781050"/>
          </a:xfrm>
          <a:prstGeom prst="rect">
            <a:avLst/>
          </a:prstGeom>
        </p:spPr>
      </p:pic>
      <p:pic>
        <p:nvPicPr>
          <p:cNvPr id="233" name="Graphic 232">
            <a:extLst>
              <a:ext uri="{FF2B5EF4-FFF2-40B4-BE49-F238E27FC236}">
                <a16:creationId xmlns:a16="http://schemas.microsoft.com/office/drawing/2014/main" id="{722901EF-D30B-7DD5-04E6-B80C56DCD4FC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7732921" y="4306295"/>
            <a:ext cx="781050" cy="781050"/>
          </a:xfrm>
          <a:prstGeom prst="rect">
            <a:avLst/>
          </a:prstGeom>
        </p:spPr>
      </p:pic>
      <p:pic>
        <p:nvPicPr>
          <p:cNvPr id="236" name="Graphic 235">
            <a:extLst>
              <a:ext uri="{FF2B5EF4-FFF2-40B4-BE49-F238E27FC236}">
                <a16:creationId xmlns:a16="http://schemas.microsoft.com/office/drawing/2014/main" id="{47A56768-0303-631F-8385-6C3945DF3F1E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0009637" y="4306295"/>
            <a:ext cx="781050" cy="781050"/>
          </a:xfrm>
          <a:prstGeom prst="rect">
            <a:avLst/>
          </a:prstGeom>
        </p:spPr>
      </p:pic>
      <p:pic>
        <p:nvPicPr>
          <p:cNvPr id="238" name="Graphic 237">
            <a:extLst>
              <a:ext uri="{FF2B5EF4-FFF2-40B4-BE49-F238E27FC236}">
                <a16:creationId xmlns:a16="http://schemas.microsoft.com/office/drawing/2014/main" id="{D2EACAF3-091F-AD1F-3441-BD38943F91AD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8924114" y="4306295"/>
            <a:ext cx="781050" cy="781050"/>
          </a:xfrm>
          <a:prstGeom prst="rect">
            <a:avLst/>
          </a:prstGeom>
        </p:spPr>
      </p:pic>
      <p:pic>
        <p:nvPicPr>
          <p:cNvPr id="265" name="Graphic 264">
            <a:extLst>
              <a:ext uri="{FF2B5EF4-FFF2-40B4-BE49-F238E27FC236}">
                <a16:creationId xmlns:a16="http://schemas.microsoft.com/office/drawing/2014/main" id="{2DD8236D-F477-232E-6468-71FC59FFECFB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7791803" y="2983008"/>
            <a:ext cx="704850" cy="704850"/>
          </a:xfrm>
          <a:prstGeom prst="rect">
            <a:avLst/>
          </a:prstGeom>
        </p:spPr>
      </p:pic>
      <p:pic>
        <p:nvPicPr>
          <p:cNvPr id="267" name="Graphic 266">
            <a:extLst>
              <a:ext uri="{FF2B5EF4-FFF2-40B4-BE49-F238E27FC236}">
                <a16:creationId xmlns:a16="http://schemas.microsoft.com/office/drawing/2014/main" id="{30CC118C-B9A1-5F33-52FA-ADD1108A9467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6549892" y="2906808"/>
            <a:ext cx="781050" cy="78105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B23D0F87-61B3-E31F-C1ED-5A101DAE1BB5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3990165" y="2906808"/>
            <a:ext cx="781050" cy="781050"/>
          </a:xfrm>
          <a:prstGeom prst="rect">
            <a:avLst/>
          </a:prstGeom>
        </p:spPr>
      </p:pic>
      <p:sp>
        <p:nvSpPr>
          <p:cNvPr id="59" name="object 32">
            <a:extLst>
              <a:ext uri="{FF2B5EF4-FFF2-40B4-BE49-F238E27FC236}">
                <a16:creationId xmlns:a16="http://schemas.microsoft.com/office/drawing/2014/main" id="{3DAE8295-7F1E-782A-88F1-AEB0F1144810}"/>
              </a:ext>
            </a:extLst>
          </p:cNvPr>
          <p:cNvSpPr txBox="1"/>
          <p:nvPr/>
        </p:nvSpPr>
        <p:spPr>
          <a:xfrm>
            <a:off x="3753628" y="2666746"/>
            <a:ext cx="12541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dministrator PLM</a:t>
            </a:r>
            <a:endParaRPr dirty="0"/>
          </a:p>
        </p:txBody>
      </p:sp>
      <p:pic>
        <p:nvPicPr>
          <p:cNvPr id="195" name="Graphic 194">
            <a:extLst>
              <a:ext uri="{FF2B5EF4-FFF2-40B4-BE49-F238E27FC236}">
                <a16:creationId xmlns:a16="http://schemas.microsoft.com/office/drawing/2014/main" id="{69398D19-C4A8-B4D8-65B6-703F2B06AF4F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1126616" y="2906808"/>
            <a:ext cx="781050" cy="781050"/>
          </a:xfrm>
          <a:prstGeom prst="rect">
            <a:avLst/>
          </a:prstGeom>
        </p:spPr>
      </p:pic>
      <p:sp>
        <p:nvSpPr>
          <p:cNvPr id="196" name="object 32">
            <a:extLst>
              <a:ext uri="{FF2B5EF4-FFF2-40B4-BE49-F238E27FC236}">
                <a16:creationId xmlns:a16="http://schemas.microsoft.com/office/drawing/2014/main" id="{3D15FB17-6345-65AA-4219-7A1E3C03A9F3}"/>
              </a:ext>
            </a:extLst>
          </p:cNvPr>
          <p:cNvSpPr txBox="1"/>
          <p:nvPr/>
        </p:nvSpPr>
        <p:spPr>
          <a:xfrm>
            <a:off x="11008348" y="2597496"/>
            <a:ext cx="101758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rchitect Solutions</a:t>
            </a:r>
            <a:endParaRPr dirty="0"/>
          </a:p>
        </p:txBody>
      </p:sp>
      <p:pic>
        <p:nvPicPr>
          <p:cNvPr id="201" name="Graphic 200">
            <a:extLst>
              <a:ext uri="{FF2B5EF4-FFF2-40B4-BE49-F238E27FC236}">
                <a16:creationId xmlns:a16="http://schemas.microsoft.com/office/drawing/2014/main" id="{709D3ECC-B98B-3C67-928E-39B0947E012D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5267060" y="2906808"/>
            <a:ext cx="781050" cy="781050"/>
          </a:xfrm>
          <a:prstGeom prst="rect">
            <a:avLst/>
          </a:prstGeom>
        </p:spPr>
      </p:pic>
      <p:pic>
        <p:nvPicPr>
          <p:cNvPr id="212" name="Graphic 211">
            <a:extLst>
              <a:ext uri="{FF2B5EF4-FFF2-40B4-BE49-F238E27FC236}">
                <a16:creationId xmlns:a16="http://schemas.microsoft.com/office/drawing/2014/main" id="{C47F80CF-E18F-2064-F7BF-E58996D8F3F2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549810" y="1793553"/>
            <a:ext cx="609600" cy="609600"/>
          </a:xfrm>
          <a:prstGeom prst="rect">
            <a:avLst/>
          </a:prstGeom>
        </p:spPr>
      </p:pic>
      <p:pic>
        <p:nvPicPr>
          <p:cNvPr id="224" name="Graphic 223">
            <a:extLst>
              <a:ext uri="{FF2B5EF4-FFF2-40B4-BE49-F238E27FC236}">
                <a16:creationId xmlns:a16="http://schemas.microsoft.com/office/drawing/2014/main" id="{FA7528EF-DF0A-30D4-51E2-1E8A73A32032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1697198" y="179355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3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raphic 152">
            <a:extLst>
              <a:ext uri="{FF2B5EF4-FFF2-40B4-BE49-F238E27FC236}">
                <a16:creationId xmlns:a16="http://schemas.microsoft.com/office/drawing/2014/main" id="{FB1715A9-2567-683C-6D91-4FC5E52A3D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19052" y="5799768"/>
            <a:ext cx="609600" cy="609600"/>
          </a:xfrm>
          <a:prstGeom prst="rect">
            <a:avLst/>
          </a:prstGeom>
        </p:spPr>
      </p:pic>
      <p:pic>
        <p:nvPicPr>
          <p:cNvPr id="151" name="Graphic 150">
            <a:extLst>
              <a:ext uri="{FF2B5EF4-FFF2-40B4-BE49-F238E27FC236}">
                <a16:creationId xmlns:a16="http://schemas.microsoft.com/office/drawing/2014/main" id="{B657DB06-C1E3-A6B1-80ED-F800F2A4CC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78022" y="5799768"/>
            <a:ext cx="609600" cy="609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BD444C-AE17-51FC-E123-BC698D7AD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ICONS</a:t>
            </a:r>
          </a:p>
        </p:txBody>
      </p:sp>
      <p:sp>
        <p:nvSpPr>
          <p:cNvPr id="29" name="Text Placeholder 81">
            <a:extLst>
              <a:ext uri="{FF2B5EF4-FFF2-40B4-BE49-F238E27FC236}">
                <a16:creationId xmlns:a16="http://schemas.microsoft.com/office/drawing/2014/main" id="{A5939058-82A6-CF8B-2BB2-62E935D1D5EE}"/>
              </a:ext>
            </a:extLst>
          </p:cNvPr>
          <p:cNvSpPr txBox="1">
            <a:spLocks/>
          </p:cNvSpPr>
          <p:nvPr/>
        </p:nvSpPr>
        <p:spPr>
          <a:xfrm>
            <a:off x="6484264" y="4195901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ctuator</a:t>
            </a:r>
          </a:p>
        </p:txBody>
      </p:sp>
      <p:sp>
        <p:nvSpPr>
          <p:cNvPr id="31" name="Text Placeholder 81">
            <a:extLst>
              <a:ext uri="{FF2B5EF4-FFF2-40B4-BE49-F238E27FC236}">
                <a16:creationId xmlns:a16="http://schemas.microsoft.com/office/drawing/2014/main" id="{DB2745E6-C23E-7DAF-7376-4F97AED092F6}"/>
              </a:ext>
            </a:extLst>
          </p:cNvPr>
          <p:cNvSpPr txBox="1">
            <a:spLocks/>
          </p:cNvSpPr>
          <p:nvPr/>
        </p:nvSpPr>
        <p:spPr>
          <a:xfrm>
            <a:off x="177153" y="5503038"/>
            <a:ext cx="1366434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rtificial Intelligence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35" name="Text Placeholder 81">
            <a:extLst>
              <a:ext uri="{FF2B5EF4-FFF2-40B4-BE49-F238E27FC236}">
                <a16:creationId xmlns:a16="http://schemas.microsoft.com/office/drawing/2014/main" id="{CA50CC39-EA7C-6AEE-88F4-32631D17C3D2}"/>
              </a:ext>
            </a:extLst>
          </p:cNvPr>
          <p:cNvSpPr txBox="1">
            <a:spLocks/>
          </p:cNvSpPr>
          <p:nvPr/>
        </p:nvSpPr>
        <p:spPr>
          <a:xfrm>
            <a:off x="6921118" y="1592993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imulation</a:t>
            </a:r>
          </a:p>
        </p:txBody>
      </p:sp>
      <p:sp>
        <p:nvSpPr>
          <p:cNvPr id="36" name="Text Placeholder 81">
            <a:extLst>
              <a:ext uri="{FF2B5EF4-FFF2-40B4-BE49-F238E27FC236}">
                <a16:creationId xmlns:a16="http://schemas.microsoft.com/office/drawing/2014/main" id="{90012551-ACC7-6619-847F-E27EE8557D36}"/>
              </a:ext>
            </a:extLst>
          </p:cNvPr>
          <p:cNvSpPr txBox="1">
            <a:spLocks/>
          </p:cNvSpPr>
          <p:nvPr/>
        </p:nvSpPr>
        <p:spPr>
          <a:xfrm>
            <a:off x="4224605" y="4195901"/>
            <a:ext cx="82296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erver</a:t>
            </a:r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94E38C33-59E0-0ACF-799F-ABBE03DBE5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31285" y="4521973"/>
            <a:ext cx="609600" cy="609600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916A38B6-5462-B04B-AF3A-E01DD3EDFC36}"/>
              </a:ext>
            </a:extLst>
          </p:cNvPr>
          <p:cNvSpPr txBox="1"/>
          <p:nvPr/>
        </p:nvSpPr>
        <p:spPr>
          <a:xfrm>
            <a:off x="3018448" y="5503038"/>
            <a:ext cx="79508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pp Switcher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CDA2B68-C097-C829-5E09-A38535BDC4E0}"/>
              </a:ext>
            </a:extLst>
          </p:cNvPr>
          <p:cNvSpPr txBox="1"/>
          <p:nvPr/>
        </p:nvSpPr>
        <p:spPr>
          <a:xfrm>
            <a:off x="6742350" y="2822537"/>
            <a:ext cx="5338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alibrate</a:t>
            </a:r>
          </a:p>
        </p:txBody>
      </p:sp>
      <p:sp>
        <p:nvSpPr>
          <p:cNvPr id="119" name="Text Placeholder 81">
            <a:extLst>
              <a:ext uri="{FF2B5EF4-FFF2-40B4-BE49-F238E27FC236}">
                <a16:creationId xmlns:a16="http://schemas.microsoft.com/office/drawing/2014/main" id="{B86D023B-924C-52E1-0216-A542BA606D1D}"/>
              </a:ext>
            </a:extLst>
          </p:cNvPr>
          <p:cNvSpPr txBox="1">
            <a:spLocks/>
          </p:cNvSpPr>
          <p:nvPr/>
        </p:nvSpPr>
        <p:spPr>
          <a:xfrm>
            <a:off x="4005791" y="5503038"/>
            <a:ext cx="1302153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dirty="0">
                <a:ea typeface="+mn-lt"/>
                <a:cs typeface="+mn-lt"/>
              </a:rPr>
              <a:t>Eyedropper </a:t>
            </a:r>
          </a:p>
        </p:txBody>
      </p:sp>
      <p:sp>
        <p:nvSpPr>
          <p:cNvPr id="121" name="Text Placeholder 81">
            <a:extLst>
              <a:ext uri="{FF2B5EF4-FFF2-40B4-BE49-F238E27FC236}">
                <a16:creationId xmlns:a16="http://schemas.microsoft.com/office/drawing/2014/main" id="{5BCFABE9-57B1-BBF9-4FFD-B2AB781351B2}"/>
              </a:ext>
            </a:extLst>
          </p:cNvPr>
          <p:cNvSpPr txBox="1">
            <a:spLocks/>
          </p:cNvSpPr>
          <p:nvPr/>
        </p:nvSpPr>
        <p:spPr>
          <a:xfrm>
            <a:off x="11004274" y="5551259"/>
            <a:ext cx="84023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utomation</a:t>
            </a:r>
          </a:p>
        </p:txBody>
      </p:sp>
      <p:sp>
        <p:nvSpPr>
          <p:cNvPr id="123" name="Text Placeholder 81">
            <a:extLst>
              <a:ext uri="{FF2B5EF4-FFF2-40B4-BE49-F238E27FC236}">
                <a16:creationId xmlns:a16="http://schemas.microsoft.com/office/drawing/2014/main" id="{4FF9A1A8-1362-2FFD-3F5A-F6458F1076BA}"/>
              </a:ext>
            </a:extLst>
          </p:cNvPr>
          <p:cNvSpPr txBox="1">
            <a:spLocks/>
          </p:cNvSpPr>
          <p:nvPr/>
        </p:nvSpPr>
        <p:spPr>
          <a:xfrm>
            <a:off x="5210964" y="4195901"/>
            <a:ext cx="1302153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xplode view  </a:t>
            </a:r>
          </a:p>
        </p:txBody>
      </p:sp>
      <p:pic>
        <p:nvPicPr>
          <p:cNvPr id="124" name="Graphic 123">
            <a:extLst>
              <a:ext uri="{FF2B5EF4-FFF2-40B4-BE49-F238E27FC236}">
                <a16:creationId xmlns:a16="http://schemas.microsoft.com/office/drawing/2014/main" id="{85D72EE0-A243-ABFF-F114-32D0905317D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57240" y="4521973"/>
            <a:ext cx="609600" cy="609600"/>
          </a:xfrm>
          <a:prstGeom prst="rect">
            <a:avLst/>
          </a:prstGeom>
        </p:spPr>
      </p:pic>
      <p:sp>
        <p:nvSpPr>
          <p:cNvPr id="141" name="object 3">
            <a:extLst>
              <a:ext uri="{FF2B5EF4-FFF2-40B4-BE49-F238E27FC236}">
                <a16:creationId xmlns:a16="http://schemas.microsoft.com/office/drawing/2014/main" id="{FED37A5D-5D50-7648-E301-22E390E22592}"/>
              </a:ext>
            </a:extLst>
          </p:cNvPr>
          <p:cNvSpPr txBox="1"/>
          <p:nvPr/>
        </p:nvSpPr>
        <p:spPr>
          <a:xfrm>
            <a:off x="3048603" y="2822537"/>
            <a:ext cx="693214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API</a:t>
            </a:r>
          </a:p>
        </p:txBody>
      </p:sp>
      <p:sp>
        <p:nvSpPr>
          <p:cNvPr id="144" name="object 11">
            <a:extLst>
              <a:ext uri="{FF2B5EF4-FFF2-40B4-BE49-F238E27FC236}">
                <a16:creationId xmlns:a16="http://schemas.microsoft.com/office/drawing/2014/main" id="{B210369E-42DC-E938-3D83-5D869106D0D2}"/>
              </a:ext>
            </a:extLst>
          </p:cNvPr>
          <p:cNvSpPr txBox="1"/>
          <p:nvPr/>
        </p:nvSpPr>
        <p:spPr>
          <a:xfrm>
            <a:off x="1609787" y="4195901"/>
            <a:ext cx="1009477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</a:t>
            </a:r>
            <a:r>
              <a:rPr dirty="0"/>
              <a:t>hip</a:t>
            </a:r>
            <a:r>
              <a:rPr lang="en-US" dirty="0"/>
              <a:t> </a:t>
            </a:r>
            <a:r>
              <a:rPr dirty="0"/>
              <a:t>and</a:t>
            </a:r>
            <a:r>
              <a:rPr lang="en-US" dirty="0"/>
              <a:t> Search</a:t>
            </a:r>
            <a:endParaRPr dirty="0"/>
          </a:p>
        </p:txBody>
      </p:sp>
      <p:sp>
        <p:nvSpPr>
          <p:cNvPr id="146" name="object 45">
            <a:extLst>
              <a:ext uri="{FF2B5EF4-FFF2-40B4-BE49-F238E27FC236}">
                <a16:creationId xmlns:a16="http://schemas.microsoft.com/office/drawing/2014/main" id="{BBFA71D9-1ED4-8A9A-ACCC-4FC7D2F76CC0}"/>
              </a:ext>
            </a:extLst>
          </p:cNvPr>
          <p:cNvSpPr txBox="1"/>
          <p:nvPr/>
        </p:nvSpPr>
        <p:spPr>
          <a:xfrm>
            <a:off x="2844348" y="4126651"/>
            <a:ext cx="110172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hip, Digital Product</a:t>
            </a:r>
          </a:p>
        </p:txBody>
      </p:sp>
      <p:sp>
        <p:nvSpPr>
          <p:cNvPr id="11" name="Text Placeholder 81">
            <a:extLst>
              <a:ext uri="{FF2B5EF4-FFF2-40B4-BE49-F238E27FC236}">
                <a16:creationId xmlns:a16="http://schemas.microsoft.com/office/drawing/2014/main" id="{80E1418E-7274-BE2D-D482-C565B49654C6}"/>
              </a:ext>
            </a:extLst>
          </p:cNvPr>
          <p:cNvSpPr txBox="1">
            <a:spLocks/>
          </p:cNvSpPr>
          <p:nvPr/>
        </p:nvSpPr>
        <p:spPr>
          <a:xfrm>
            <a:off x="1723509" y="1523743"/>
            <a:ext cx="91440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loud, Wifi, Connected</a:t>
            </a:r>
          </a:p>
        </p:txBody>
      </p:sp>
      <p:sp>
        <p:nvSpPr>
          <p:cNvPr id="27" name="Text Placeholder 81">
            <a:extLst>
              <a:ext uri="{FF2B5EF4-FFF2-40B4-BE49-F238E27FC236}">
                <a16:creationId xmlns:a16="http://schemas.microsoft.com/office/drawing/2014/main" id="{1F63AB87-48C7-C3DB-EA79-02F7F6FFC063}"/>
              </a:ext>
            </a:extLst>
          </p:cNvPr>
          <p:cNvSpPr txBox="1">
            <a:spLocks/>
          </p:cNvSpPr>
          <p:nvPr/>
        </p:nvSpPr>
        <p:spPr>
          <a:xfrm>
            <a:off x="537699" y="1592993"/>
            <a:ext cx="60377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loud</a:t>
            </a:r>
          </a:p>
        </p:txBody>
      </p:sp>
      <p:sp>
        <p:nvSpPr>
          <p:cNvPr id="150" name="object 3">
            <a:extLst>
              <a:ext uri="{FF2B5EF4-FFF2-40B4-BE49-F238E27FC236}">
                <a16:creationId xmlns:a16="http://schemas.microsoft.com/office/drawing/2014/main" id="{5D979DA3-1F32-5593-4546-822DFE010A20}"/>
              </a:ext>
            </a:extLst>
          </p:cNvPr>
          <p:cNvSpPr txBox="1"/>
          <p:nvPr/>
        </p:nvSpPr>
        <p:spPr>
          <a:xfrm>
            <a:off x="3103350" y="1592993"/>
            <a:ext cx="78359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PTC</a:t>
            </a:r>
            <a:r>
              <a:rPr lang="en-US" dirty="0"/>
              <a:t> </a:t>
            </a:r>
            <a:r>
              <a:rPr dirty="0"/>
              <a:t>Cloud</a:t>
            </a:r>
          </a:p>
        </p:txBody>
      </p:sp>
      <p:sp>
        <p:nvSpPr>
          <p:cNvPr id="154" name="object 31">
            <a:extLst>
              <a:ext uri="{FF2B5EF4-FFF2-40B4-BE49-F238E27FC236}">
                <a16:creationId xmlns:a16="http://schemas.microsoft.com/office/drawing/2014/main" id="{A1D67127-2313-3B77-1157-2E3ABB68F95D}"/>
              </a:ext>
            </a:extLst>
          </p:cNvPr>
          <p:cNvSpPr txBox="1"/>
          <p:nvPr/>
        </p:nvSpPr>
        <p:spPr>
          <a:xfrm>
            <a:off x="10821991" y="1592993"/>
            <a:ext cx="116323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</a:t>
            </a:r>
            <a:r>
              <a:rPr dirty="0"/>
              <a:t>igital</a:t>
            </a:r>
            <a:r>
              <a:rPr lang="en-US" dirty="0"/>
              <a:t> Disruption</a:t>
            </a:r>
            <a:endParaRPr dirty="0"/>
          </a:p>
        </p:txBody>
      </p:sp>
      <p:sp>
        <p:nvSpPr>
          <p:cNvPr id="163" name="object 7">
            <a:extLst>
              <a:ext uri="{FF2B5EF4-FFF2-40B4-BE49-F238E27FC236}">
                <a16:creationId xmlns:a16="http://schemas.microsoft.com/office/drawing/2014/main" id="{C4DDF05B-2126-F751-FD38-DDDCF2FCEF80}"/>
              </a:ext>
            </a:extLst>
          </p:cNvPr>
          <p:cNvSpPr txBox="1"/>
          <p:nvPr/>
        </p:nvSpPr>
        <p:spPr>
          <a:xfrm>
            <a:off x="8815720" y="2822537"/>
            <a:ext cx="774701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Linked</a:t>
            </a:r>
            <a:r>
              <a:rPr lang="en-US" dirty="0"/>
              <a:t> </a:t>
            </a:r>
            <a:r>
              <a:rPr dirty="0"/>
              <a:t>Data</a:t>
            </a:r>
          </a:p>
        </p:txBody>
      </p:sp>
      <p:sp>
        <p:nvSpPr>
          <p:cNvPr id="165" name="object 47">
            <a:extLst>
              <a:ext uri="{FF2B5EF4-FFF2-40B4-BE49-F238E27FC236}">
                <a16:creationId xmlns:a16="http://schemas.microsoft.com/office/drawing/2014/main" id="{4813C281-18D8-2CE6-231E-8B4C5E7176BC}"/>
              </a:ext>
            </a:extLst>
          </p:cNvPr>
          <p:cNvSpPr txBox="1"/>
          <p:nvPr/>
        </p:nvSpPr>
        <p:spPr>
          <a:xfrm>
            <a:off x="10872300" y="2753287"/>
            <a:ext cx="1062619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Model-Based</a:t>
            </a:r>
            <a:br>
              <a:rPr lang="en-US" dirty="0"/>
            </a:br>
            <a:r>
              <a:rPr dirty="0"/>
              <a:t>Syste</a:t>
            </a:r>
            <a:r>
              <a:rPr lang="en-US" dirty="0"/>
              <a:t>m</a:t>
            </a:r>
            <a:endParaRPr dirty="0"/>
          </a:p>
        </p:txBody>
      </p:sp>
      <p:sp>
        <p:nvSpPr>
          <p:cNvPr id="167" name="object 15">
            <a:extLst>
              <a:ext uri="{FF2B5EF4-FFF2-40B4-BE49-F238E27FC236}">
                <a16:creationId xmlns:a16="http://schemas.microsoft.com/office/drawing/2014/main" id="{4FE85847-4D77-9D54-BBA5-830C16019522}"/>
              </a:ext>
            </a:extLst>
          </p:cNvPr>
          <p:cNvSpPr txBox="1"/>
          <p:nvPr/>
        </p:nvSpPr>
        <p:spPr>
          <a:xfrm>
            <a:off x="7743547" y="4195901"/>
            <a:ext cx="7747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IT Security</a:t>
            </a:r>
          </a:p>
        </p:txBody>
      </p:sp>
      <p:sp>
        <p:nvSpPr>
          <p:cNvPr id="169" name="object 5">
            <a:extLst>
              <a:ext uri="{FF2B5EF4-FFF2-40B4-BE49-F238E27FC236}">
                <a16:creationId xmlns:a16="http://schemas.microsoft.com/office/drawing/2014/main" id="{3DA590E7-5A48-7F89-42B4-63E0A6B03A88}"/>
              </a:ext>
            </a:extLst>
          </p:cNvPr>
          <p:cNvSpPr txBox="1"/>
          <p:nvPr/>
        </p:nvSpPr>
        <p:spPr>
          <a:xfrm>
            <a:off x="9865994" y="2753287"/>
            <a:ext cx="87245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Embedded</a:t>
            </a:r>
            <a:r>
              <a:rPr lang="en-US" dirty="0"/>
              <a:t> </a:t>
            </a:r>
            <a:br>
              <a:rPr lang="en-US" dirty="0"/>
            </a:br>
            <a:r>
              <a:rPr dirty="0"/>
              <a:t>Softwar</a:t>
            </a:r>
            <a:r>
              <a:rPr lang="en-US" dirty="0"/>
              <a:t>e</a:t>
            </a:r>
            <a:endParaRPr dirty="0"/>
          </a:p>
        </p:txBody>
      </p:sp>
      <p:sp>
        <p:nvSpPr>
          <p:cNvPr id="183" name="object 9">
            <a:extLst>
              <a:ext uri="{FF2B5EF4-FFF2-40B4-BE49-F238E27FC236}">
                <a16:creationId xmlns:a16="http://schemas.microsoft.com/office/drawing/2014/main" id="{F249040E-813F-46B8-596F-AABBF6386978}"/>
              </a:ext>
            </a:extLst>
          </p:cNvPr>
          <p:cNvSpPr txBox="1"/>
          <p:nvPr/>
        </p:nvSpPr>
        <p:spPr>
          <a:xfrm>
            <a:off x="4167632" y="1592993"/>
            <a:ext cx="16097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Software</a:t>
            </a:r>
            <a:r>
              <a:rPr lang="en-US" dirty="0"/>
              <a:t> D</a:t>
            </a:r>
            <a:r>
              <a:rPr dirty="0"/>
              <a:t>evelopme</a:t>
            </a:r>
            <a:r>
              <a:rPr lang="en-US" dirty="0"/>
              <a:t>nt</a:t>
            </a:r>
            <a:endParaRPr dirty="0"/>
          </a:p>
        </p:txBody>
      </p:sp>
      <p:sp>
        <p:nvSpPr>
          <p:cNvPr id="185" name="object 21">
            <a:extLst>
              <a:ext uri="{FF2B5EF4-FFF2-40B4-BE49-F238E27FC236}">
                <a16:creationId xmlns:a16="http://schemas.microsoft.com/office/drawing/2014/main" id="{0DE8D270-F387-AD42-06CF-C833F853E075}"/>
              </a:ext>
            </a:extLst>
          </p:cNvPr>
          <p:cNvSpPr txBox="1"/>
          <p:nvPr/>
        </p:nvSpPr>
        <p:spPr>
          <a:xfrm>
            <a:off x="1458463" y="2822537"/>
            <a:ext cx="1312124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Software</a:t>
            </a:r>
            <a:r>
              <a:rPr lang="en-US" dirty="0"/>
              <a:t> </a:t>
            </a:r>
            <a:r>
              <a:rPr dirty="0"/>
              <a:t>Modeling</a:t>
            </a:r>
          </a:p>
        </p:txBody>
      </p:sp>
      <p:sp>
        <p:nvSpPr>
          <p:cNvPr id="199" name="object 11">
            <a:extLst>
              <a:ext uri="{FF2B5EF4-FFF2-40B4-BE49-F238E27FC236}">
                <a16:creationId xmlns:a16="http://schemas.microsoft.com/office/drawing/2014/main" id="{6F5BA293-CF2A-F08E-17C7-8490CE5F5DF2}"/>
              </a:ext>
            </a:extLst>
          </p:cNvPr>
          <p:cNvSpPr txBox="1"/>
          <p:nvPr/>
        </p:nvSpPr>
        <p:spPr>
          <a:xfrm>
            <a:off x="8189436" y="1592993"/>
            <a:ext cx="1097933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Visual</a:t>
            </a:r>
            <a:r>
              <a:rPr lang="en-US" dirty="0"/>
              <a:t> </a:t>
            </a:r>
            <a:r>
              <a:rPr dirty="0"/>
              <a:t>Simulation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19CF5FC0-B3FB-F9BC-85D5-4158246B06EF}"/>
              </a:ext>
            </a:extLst>
          </p:cNvPr>
          <p:cNvSpPr txBox="1"/>
          <p:nvPr/>
        </p:nvSpPr>
        <p:spPr>
          <a:xfrm>
            <a:off x="7834465" y="2822537"/>
            <a:ext cx="45062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RP</a:t>
            </a:r>
          </a:p>
        </p:txBody>
      </p:sp>
      <p:sp>
        <p:nvSpPr>
          <p:cNvPr id="161" name="Text Placeholder 81">
            <a:extLst>
              <a:ext uri="{FF2B5EF4-FFF2-40B4-BE49-F238E27FC236}">
                <a16:creationId xmlns:a16="http://schemas.microsoft.com/office/drawing/2014/main" id="{070F419F-09F1-12D3-DA38-FA0F8AF9C80E}"/>
              </a:ext>
            </a:extLst>
          </p:cNvPr>
          <p:cNvSpPr txBox="1">
            <a:spLocks/>
          </p:cNvSpPr>
          <p:nvPr/>
        </p:nvSpPr>
        <p:spPr>
          <a:xfrm>
            <a:off x="5756710" y="1592993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3D Product</a:t>
            </a:r>
          </a:p>
        </p:txBody>
      </p:sp>
      <p:pic>
        <p:nvPicPr>
          <p:cNvPr id="188" name="Graphic 187">
            <a:extLst>
              <a:ext uri="{FF2B5EF4-FFF2-40B4-BE49-F238E27FC236}">
                <a16:creationId xmlns:a16="http://schemas.microsoft.com/office/drawing/2014/main" id="{D1D409B5-1EBF-411F-10FD-43072E46149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48728" y="1828881"/>
            <a:ext cx="609600" cy="6096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F17B3D7-EBAB-909F-A7B8-5A93AA000109}"/>
              </a:ext>
            </a:extLst>
          </p:cNvPr>
          <p:cNvSpPr/>
          <p:nvPr/>
        </p:nvSpPr>
        <p:spPr>
          <a:xfrm>
            <a:off x="502478" y="1189578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Technology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54AB202-CC94-4347-65BB-619EB7BA818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089487" y="1905081"/>
            <a:ext cx="645459" cy="457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BEA704CB-C393-B4E3-7D6D-CAC6517863F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746225" y="4521973"/>
            <a:ext cx="736600" cy="6096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FCB94E51-632E-B608-17AB-33C831A70D5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090410" y="4521973"/>
            <a:ext cx="609600" cy="6096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40F12BC8-FE37-B418-A1AD-03CCD04FC82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390797" y="1828881"/>
            <a:ext cx="774700" cy="6096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9A71D390-AF4B-FE67-A992-55DF58E6252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34788" y="1828881"/>
            <a:ext cx="609600" cy="6096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1277EF46-FE71-CAFD-4F3D-345B08D5530F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 b="40015"/>
          <a:stretch/>
        </p:blipFill>
        <p:spPr>
          <a:xfrm>
            <a:off x="1789848" y="1901330"/>
            <a:ext cx="673100" cy="464703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7B2CF972-34A0-62BE-4FB3-7B98514C28C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108408" y="1949531"/>
            <a:ext cx="774700" cy="3683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19A279EF-496E-9A1F-DB78-965F9BD5EF6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4528568" y="1828881"/>
            <a:ext cx="774700" cy="609600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BABC19E7-9567-BECE-CF90-6CBE17FE063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1124209" y="1765381"/>
            <a:ext cx="558800" cy="7366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1FCD4BEB-3A45-C2DE-28F4-4E306284A0DA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8815720" y="3218472"/>
            <a:ext cx="774700" cy="609600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73DEA9A9-3D71-FA1B-140C-9A94E086A40B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727175" y="3218472"/>
            <a:ext cx="774700" cy="609600"/>
          </a:xfrm>
          <a:prstGeom prst="rect">
            <a:avLst/>
          </a:prstGeom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0D0FFAA3-4238-2237-04D5-ACACCDB02AE8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007860" y="3218472"/>
            <a:ext cx="774700" cy="609600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16F7A39D-31B9-F593-97C9-48A4A0D72BE9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7787997" y="4521973"/>
            <a:ext cx="685800" cy="609600"/>
          </a:xfrm>
          <a:prstGeom prst="rect">
            <a:avLst/>
          </a:prstGeom>
        </p:spPr>
      </p:pic>
      <p:pic>
        <p:nvPicPr>
          <p:cNvPr id="86" name="Graphic 85">
            <a:extLst>
              <a:ext uri="{FF2B5EF4-FFF2-40B4-BE49-F238E27FC236}">
                <a16:creationId xmlns:a16="http://schemas.microsoft.com/office/drawing/2014/main" id="{BA170122-5C3B-1CA2-33C3-56C433FD58ED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6704450" y="3218472"/>
            <a:ext cx="609600" cy="609600"/>
          </a:xfrm>
          <a:prstGeom prst="rect">
            <a:avLst/>
          </a:prstGeom>
        </p:spPr>
      </p:pic>
      <p:pic>
        <p:nvPicPr>
          <p:cNvPr id="92" name="Graphic 91">
            <a:extLst>
              <a:ext uri="{FF2B5EF4-FFF2-40B4-BE49-F238E27FC236}">
                <a16:creationId xmlns:a16="http://schemas.microsoft.com/office/drawing/2014/main" id="{1D6DEFE3-6221-B571-2E95-E045F58294B4}"/>
              </a:ext>
            </a:extLst>
          </p:cNvPr>
          <p:cNvPicPr>
            <a:picLocks noChangeAspect="1"/>
          </p:cNvPicPr>
          <p:nvPr/>
        </p:nvPicPr>
        <p:blipFill rotWithShape="1"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16150" r="16139"/>
          <a:stretch/>
        </p:blipFill>
        <p:spPr>
          <a:xfrm>
            <a:off x="10039938" y="3218472"/>
            <a:ext cx="524562" cy="609600"/>
          </a:xfrm>
          <a:prstGeom prst="rect">
            <a:avLst/>
          </a:prstGeom>
        </p:spPr>
      </p:pic>
      <p:pic>
        <p:nvPicPr>
          <p:cNvPr id="94" name="Graphic 93">
            <a:extLst>
              <a:ext uri="{FF2B5EF4-FFF2-40B4-BE49-F238E27FC236}">
                <a16:creationId xmlns:a16="http://schemas.microsoft.com/office/drawing/2014/main" id="{DDDBB51A-855C-3505-1BAE-9FF79E5452A6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1016259" y="3218472"/>
            <a:ext cx="774700" cy="6096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8BC50A1C-0D33-A720-46D1-C79751EA5463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3111192" y="5799768"/>
            <a:ext cx="609600" cy="609600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60DD8064-D7B9-1C64-8582-65EC7D384BCE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7754977" y="3218472"/>
            <a:ext cx="609600" cy="609600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C0EE1FA8-58D1-7946-D94D-69BAF6E3ADF8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6704450" y="4521973"/>
            <a:ext cx="609600" cy="609600"/>
          </a:xfrm>
          <a:prstGeom prst="rect">
            <a:avLst/>
          </a:prstGeom>
        </p:spPr>
      </p:pic>
      <p:sp>
        <p:nvSpPr>
          <p:cNvPr id="26" name="Text Placeholder 81">
            <a:extLst>
              <a:ext uri="{FF2B5EF4-FFF2-40B4-BE49-F238E27FC236}">
                <a16:creationId xmlns:a16="http://schemas.microsoft.com/office/drawing/2014/main" id="{EC3F4A5B-A496-2BC8-D74F-38B9D5407879}"/>
              </a:ext>
            </a:extLst>
          </p:cNvPr>
          <p:cNvSpPr txBox="1">
            <a:spLocks/>
          </p:cNvSpPr>
          <p:nvPr/>
        </p:nvSpPr>
        <p:spPr>
          <a:xfrm>
            <a:off x="555893" y="2822537"/>
            <a:ext cx="56739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dirty="0">
                <a:ea typeface="+mn-lt"/>
                <a:cs typeface="+mn-lt"/>
              </a:rPr>
              <a:t>Wifi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86F7BF7E-D09F-021F-9347-5F28F794E69D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533264" y="3334445"/>
            <a:ext cx="612648" cy="377654"/>
          </a:xfrm>
          <a:prstGeom prst="rect">
            <a:avLst/>
          </a:prstGeom>
        </p:spPr>
      </p:pic>
      <p:grpSp>
        <p:nvGrpSpPr>
          <p:cNvPr id="67" name="Group 31">
            <a:extLst>
              <a:ext uri="{FF2B5EF4-FFF2-40B4-BE49-F238E27FC236}">
                <a16:creationId xmlns:a16="http://schemas.microsoft.com/office/drawing/2014/main" id="{A70E9778-B318-C2AE-2936-5EE326E3F1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14828" y="5782383"/>
            <a:ext cx="619126" cy="619129"/>
            <a:chOff x="2341" y="1913"/>
            <a:chExt cx="390" cy="390"/>
          </a:xfrm>
        </p:grpSpPr>
        <p:sp>
          <p:nvSpPr>
            <p:cNvPr id="70" name="Freeform 32">
              <a:extLst>
                <a:ext uri="{FF2B5EF4-FFF2-40B4-BE49-F238E27FC236}">
                  <a16:creationId xmlns:a16="http://schemas.microsoft.com/office/drawing/2014/main" id="{D247215D-539C-D043-CB67-FD1FB9E04E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3" y="2046"/>
              <a:ext cx="124" cy="125"/>
            </a:xfrm>
            <a:custGeom>
              <a:avLst/>
              <a:gdLst>
                <a:gd name="T0" fmla="*/ 161 w 271"/>
                <a:gd name="T1" fmla="*/ 180 h 273"/>
                <a:gd name="T2" fmla="*/ 161 w 271"/>
                <a:gd name="T3" fmla="*/ 180 h 273"/>
                <a:gd name="T4" fmla="*/ 129 w 271"/>
                <a:gd name="T5" fmla="*/ 187 h 273"/>
                <a:gd name="T6" fmla="*/ 99 w 271"/>
                <a:gd name="T7" fmla="*/ 172 h 273"/>
                <a:gd name="T8" fmla="*/ 84 w 271"/>
                <a:gd name="T9" fmla="*/ 142 h 273"/>
                <a:gd name="T10" fmla="*/ 91 w 271"/>
                <a:gd name="T11" fmla="*/ 110 h 273"/>
                <a:gd name="T12" fmla="*/ 116 w 271"/>
                <a:gd name="T13" fmla="*/ 88 h 273"/>
                <a:gd name="T14" fmla="*/ 149 w 271"/>
                <a:gd name="T15" fmla="*/ 86 h 273"/>
                <a:gd name="T16" fmla="*/ 176 w 271"/>
                <a:gd name="T17" fmla="*/ 105 h 273"/>
                <a:gd name="T18" fmla="*/ 187 w 271"/>
                <a:gd name="T19" fmla="*/ 136 h 273"/>
                <a:gd name="T20" fmla="*/ 180 w 271"/>
                <a:gd name="T21" fmla="*/ 161 h 273"/>
                <a:gd name="T22" fmla="*/ 161 w 271"/>
                <a:gd name="T23" fmla="*/ 180 h 273"/>
                <a:gd name="T24" fmla="*/ 161 w 271"/>
                <a:gd name="T25" fmla="*/ 180 h 273"/>
                <a:gd name="T26" fmla="*/ 161 w 271"/>
                <a:gd name="T27" fmla="*/ 180 h 273"/>
                <a:gd name="T28" fmla="*/ 246 w 271"/>
                <a:gd name="T29" fmla="*/ 229 h 273"/>
                <a:gd name="T30" fmla="*/ 246 w 271"/>
                <a:gd name="T31" fmla="*/ 229 h 273"/>
                <a:gd name="T32" fmla="*/ 271 w 271"/>
                <a:gd name="T33" fmla="*/ 185 h 273"/>
                <a:gd name="T34" fmla="*/ 239 w 271"/>
                <a:gd name="T35" fmla="*/ 158 h 273"/>
                <a:gd name="T36" fmla="*/ 239 w 271"/>
                <a:gd name="T37" fmla="*/ 113 h 273"/>
                <a:gd name="T38" fmla="*/ 271 w 271"/>
                <a:gd name="T39" fmla="*/ 86 h 273"/>
                <a:gd name="T40" fmla="*/ 246 w 271"/>
                <a:gd name="T41" fmla="*/ 42 h 273"/>
                <a:gd name="T42" fmla="*/ 207 w 271"/>
                <a:gd name="T43" fmla="*/ 57 h 273"/>
                <a:gd name="T44" fmla="*/ 167 w 271"/>
                <a:gd name="T45" fmla="*/ 35 h 273"/>
                <a:gd name="T46" fmla="*/ 161 w 271"/>
                <a:gd name="T47" fmla="*/ 0 h 273"/>
                <a:gd name="T48" fmla="*/ 110 w 271"/>
                <a:gd name="T49" fmla="*/ 0 h 273"/>
                <a:gd name="T50" fmla="*/ 104 w 271"/>
                <a:gd name="T51" fmla="*/ 35 h 273"/>
                <a:gd name="T52" fmla="*/ 64 w 271"/>
                <a:gd name="T53" fmla="*/ 58 h 273"/>
                <a:gd name="T54" fmla="*/ 27 w 271"/>
                <a:gd name="T55" fmla="*/ 45 h 273"/>
                <a:gd name="T56" fmla="*/ 1 w 271"/>
                <a:gd name="T57" fmla="*/ 89 h 273"/>
                <a:gd name="T58" fmla="*/ 32 w 271"/>
                <a:gd name="T59" fmla="*/ 114 h 273"/>
                <a:gd name="T60" fmla="*/ 32 w 271"/>
                <a:gd name="T61" fmla="*/ 160 h 273"/>
                <a:gd name="T62" fmla="*/ 0 w 271"/>
                <a:gd name="T63" fmla="*/ 186 h 273"/>
                <a:gd name="T64" fmla="*/ 26 w 271"/>
                <a:gd name="T65" fmla="*/ 231 h 273"/>
                <a:gd name="T66" fmla="*/ 65 w 271"/>
                <a:gd name="T67" fmla="*/ 216 h 273"/>
                <a:gd name="T68" fmla="*/ 104 w 271"/>
                <a:gd name="T69" fmla="*/ 238 h 273"/>
                <a:gd name="T70" fmla="*/ 110 w 271"/>
                <a:gd name="T71" fmla="*/ 273 h 273"/>
                <a:gd name="T72" fmla="*/ 161 w 271"/>
                <a:gd name="T73" fmla="*/ 273 h 273"/>
                <a:gd name="T74" fmla="*/ 167 w 271"/>
                <a:gd name="T75" fmla="*/ 238 h 273"/>
                <a:gd name="T76" fmla="*/ 207 w 271"/>
                <a:gd name="T77" fmla="*/ 215 h 273"/>
                <a:gd name="T78" fmla="*/ 246 w 271"/>
                <a:gd name="T79" fmla="*/ 229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1" h="273">
                  <a:moveTo>
                    <a:pt x="161" y="180"/>
                  </a:moveTo>
                  <a:lnTo>
                    <a:pt x="161" y="180"/>
                  </a:lnTo>
                  <a:cubicBezTo>
                    <a:pt x="151" y="186"/>
                    <a:pt x="140" y="188"/>
                    <a:pt x="129" y="187"/>
                  </a:cubicBezTo>
                  <a:cubicBezTo>
                    <a:pt x="117" y="185"/>
                    <a:pt x="107" y="180"/>
                    <a:pt x="99" y="172"/>
                  </a:cubicBezTo>
                  <a:cubicBezTo>
                    <a:pt x="91" y="164"/>
                    <a:pt x="86" y="154"/>
                    <a:pt x="84" y="142"/>
                  </a:cubicBezTo>
                  <a:cubicBezTo>
                    <a:pt x="83" y="131"/>
                    <a:pt x="85" y="120"/>
                    <a:pt x="91" y="110"/>
                  </a:cubicBezTo>
                  <a:cubicBezTo>
                    <a:pt x="97" y="100"/>
                    <a:pt x="105" y="93"/>
                    <a:pt x="116" y="88"/>
                  </a:cubicBezTo>
                  <a:cubicBezTo>
                    <a:pt x="126" y="84"/>
                    <a:pt x="138" y="83"/>
                    <a:pt x="149" y="86"/>
                  </a:cubicBezTo>
                  <a:cubicBezTo>
                    <a:pt x="159" y="89"/>
                    <a:pt x="169" y="96"/>
                    <a:pt x="176" y="105"/>
                  </a:cubicBezTo>
                  <a:cubicBezTo>
                    <a:pt x="183" y="113"/>
                    <a:pt x="187" y="124"/>
                    <a:pt x="187" y="136"/>
                  </a:cubicBezTo>
                  <a:cubicBezTo>
                    <a:pt x="187" y="145"/>
                    <a:pt x="184" y="154"/>
                    <a:pt x="180" y="161"/>
                  </a:cubicBezTo>
                  <a:cubicBezTo>
                    <a:pt x="175" y="169"/>
                    <a:pt x="169" y="176"/>
                    <a:pt x="161" y="180"/>
                  </a:cubicBezTo>
                  <a:lnTo>
                    <a:pt x="161" y="180"/>
                  </a:lnTo>
                  <a:lnTo>
                    <a:pt x="161" y="180"/>
                  </a:lnTo>
                  <a:close/>
                  <a:moveTo>
                    <a:pt x="246" y="229"/>
                  </a:moveTo>
                  <a:lnTo>
                    <a:pt x="246" y="229"/>
                  </a:lnTo>
                  <a:lnTo>
                    <a:pt x="271" y="185"/>
                  </a:lnTo>
                  <a:lnTo>
                    <a:pt x="239" y="158"/>
                  </a:lnTo>
                  <a:lnTo>
                    <a:pt x="239" y="113"/>
                  </a:lnTo>
                  <a:lnTo>
                    <a:pt x="271" y="86"/>
                  </a:lnTo>
                  <a:lnTo>
                    <a:pt x="246" y="42"/>
                  </a:lnTo>
                  <a:lnTo>
                    <a:pt x="207" y="57"/>
                  </a:lnTo>
                  <a:lnTo>
                    <a:pt x="167" y="35"/>
                  </a:lnTo>
                  <a:lnTo>
                    <a:pt x="161" y="0"/>
                  </a:lnTo>
                  <a:lnTo>
                    <a:pt x="110" y="0"/>
                  </a:lnTo>
                  <a:lnTo>
                    <a:pt x="104" y="35"/>
                  </a:lnTo>
                  <a:lnTo>
                    <a:pt x="64" y="58"/>
                  </a:lnTo>
                  <a:lnTo>
                    <a:pt x="27" y="45"/>
                  </a:lnTo>
                  <a:lnTo>
                    <a:pt x="1" y="89"/>
                  </a:lnTo>
                  <a:lnTo>
                    <a:pt x="32" y="114"/>
                  </a:lnTo>
                  <a:lnTo>
                    <a:pt x="32" y="160"/>
                  </a:lnTo>
                  <a:lnTo>
                    <a:pt x="0" y="186"/>
                  </a:lnTo>
                  <a:lnTo>
                    <a:pt x="26" y="231"/>
                  </a:lnTo>
                  <a:lnTo>
                    <a:pt x="65" y="216"/>
                  </a:lnTo>
                  <a:lnTo>
                    <a:pt x="104" y="238"/>
                  </a:lnTo>
                  <a:lnTo>
                    <a:pt x="110" y="273"/>
                  </a:lnTo>
                  <a:lnTo>
                    <a:pt x="161" y="273"/>
                  </a:lnTo>
                  <a:lnTo>
                    <a:pt x="167" y="238"/>
                  </a:lnTo>
                  <a:lnTo>
                    <a:pt x="207" y="215"/>
                  </a:lnTo>
                  <a:lnTo>
                    <a:pt x="246" y="229"/>
                  </a:ln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33">
              <a:extLst>
                <a:ext uri="{FF2B5EF4-FFF2-40B4-BE49-F238E27FC236}">
                  <a16:creationId xmlns:a16="http://schemas.microsoft.com/office/drawing/2014/main" id="{D596702E-258E-E9A1-E09A-F926ECE86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" y="1991"/>
              <a:ext cx="32" cy="23"/>
            </a:xfrm>
            <a:custGeom>
              <a:avLst/>
              <a:gdLst>
                <a:gd name="T0" fmla="*/ 0 w 70"/>
                <a:gd name="T1" fmla="*/ 0 h 49"/>
                <a:gd name="T2" fmla="*/ 0 w 70"/>
                <a:gd name="T3" fmla="*/ 0 h 49"/>
                <a:gd name="T4" fmla="*/ 70 w 70"/>
                <a:gd name="T5" fmla="*/ 18 h 49"/>
                <a:gd name="T6" fmla="*/ 57 w 70"/>
                <a:gd name="T7" fmla="*/ 49 h 49"/>
                <a:gd name="T8" fmla="*/ 3 w 70"/>
                <a:gd name="T9" fmla="*/ 3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49">
                  <a:moveTo>
                    <a:pt x="0" y="0"/>
                  </a:moveTo>
                  <a:lnTo>
                    <a:pt x="0" y="0"/>
                  </a:lnTo>
                  <a:cubicBezTo>
                    <a:pt x="18" y="1"/>
                    <a:pt x="52" y="10"/>
                    <a:pt x="70" y="18"/>
                  </a:cubicBezTo>
                  <a:lnTo>
                    <a:pt x="57" y="49"/>
                  </a:lnTo>
                  <a:cubicBezTo>
                    <a:pt x="46" y="44"/>
                    <a:pt x="15" y="36"/>
                    <a:pt x="3" y="35"/>
                  </a:cubicBezTo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34">
              <a:extLst>
                <a:ext uri="{FF2B5EF4-FFF2-40B4-BE49-F238E27FC236}">
                  <a16:creationId xmlns:a16="http://schemas.microsoft.com/office/drawing/2014/main" id="{DC0680A1-9556-14B2-1CA5-D37E6AF77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" y="1991"/>
              <a:ext cx="105" cy="147"/>
            </a:xfrm>
            <a:custGeom>
              <a:avLst/>
              <a:gdLst>
                <a:gd name="T0" fmla="*/ 10 w 230"/>
                <a:gd name="T1" fmla="*/ 320 h 320"/>
                <a:gd name="T2" fmla="*/ 10 w 230"/>
                <a:gd name="T3" fmla="*/ 320 h 320"/>
                <a:gd name="T4" fmla="*/ 0 w 230"/>
                <a:gd name="T5" fmla="*/ 250 h 320"/>
                <a:gd name="T6" fmla="*/ 224 w 230"/>
                <a:gd name="T7" fmla="*/ 0 h 320"/>
                <a:gd name="T8" fmla="*/ 230 w 230"/>
                <a:gd name="T9" fmla="*/ 0 h 320"/>
                <a:gd name="T10" fmla="*/ 228 w 230"/>
                <a:gd name="T11" fmla="*/ 25 h 320"/>
                <a:gd name="T12" fmla="*/ 227 w 230"/>
                <a:gd name="T13" fmla="*/ 35 h 320"/>
                <a:gd name="T14" fmla="*/ 35 w 230"/>
                <a:gd name="T15" fmla="*/ 250 h 320"/>
                <a:gd name="T16" fmla="*/ 43 w 230"/>
                <a:gd name="T17" fmla="*/ 310 h 320"/>
                <a:gd name="T18" fmla="*/ 10 w 230"/>
                <a:gd name="T19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0" h="320">
                  <a:moveTo>
                    <a:pt x="10" y="320"/>
                  </a:moveTo>
                  <a:lnTo>
                    <a:pt x="10" y="320"/>
                  </a:lnTo>
                  <a:cubicBezTo>
                    <a:pt x="4" y="297"/>
                    <a:pt x="0" y="274"/>
                    <a:pt x="0" y="250"/>
                  </a:cubicBezTo>
                  <a:cubicBezTo>
                    <a:pt x="0" y="122"/>
                    <a:pt x="97" y="14"/>
                    <a:pt x="224" y="0"/>
                  </a:cubicBezTo>
                  <a:cubicBezTo>
                    <a:pt x="225" y="0"/>
                    <a:pt x="230" y="0"/>
                    <a:pt x="230" y="0"/>
                  </a:cubicBezTo>
                  <a:lnTo>
                    <a:pt x="228" y="25"/>
                  </a:lnTo>
                  <a:cubicBezTo>
                    <a:pt x="228" y="25"/>
                    <a:pt x="227" y="32"/>
                    <a:pt x="227" y="35"/>
                  </a:cubicBezTo>
                  <a:cubicBezTo>
                    <a:pt x="117" y="47"/>
                    <a:pt x="35" y="140"/>
                    <a:pt x="35" y="250"/>
                  </a:cubicBezTo>
                  <a:cubicBezTo>
                    <a:pt x="35" y="271"/>
                    <a:pt x="38" y="291"/>
                    <a:pt x="43" y="310"/>
                  </a:cubicBezTo>
                  <a:lnTo>
                    <a:pt x="10" y="320"/>
                  </a:ln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35">
              <a:extLst>
                <a:ext uri="{FF2B5EF4-FFF2-40B4-BE49-F238E27FC236}">
                  <a16:creationId xmlns:a16="http://schemas.microsoft.com/office/drawing/2014/main" id="{24F31EFE-2A80-D149-2D41-8E4334665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0" y="1950"/>
              <a:ext cx="43" cy="40"/>
            </a:xfrm>
            <a:custGeom>
              <a:avLst/>
              <a:gdLst>
                <a:gd name="T0" fmla="*/ 93 w 93"/>
                <a:gd name="T1" fmla="*/ 33 h 89"/>
                <a:gd name="T2" fmla="*/ 93 w 93"/>
                <a:gd name="T3" fmla="*/ 33 h 89"/>
                <a:gd name="T4" fmla="*/ 69 w 93"/>
                <a:gd name="T5" fmla="*/ 0 h 89"/>
                <a:gd name="T6" fmla="*/ 53 w 93"/>
                <a:gd name="T7" fmla="*/ 12 h 89"/>
                <a:gd name="T8" fmla="*/ 53 w 93"/>
                <a:gd name="T9" fmla="*/ 12 h 89"/>
                <a:gd name="T10" fmla="*/ 53 w 93"/>
                <a:gd name="T11" fmla="*/ 12 h 89"/>
                <a:gd name="T12" fmla="*/ 53 w 93"/>
                <a:gd name="T13" fmla="*/ 12 h 89"/>
                <a:gd name="T14" fmla="*/ 53 w 93"/>
                <a:gd name="T15" fmla="*/ 12 h 89"/>
                <a:gd name="T16" fmla="*/ 53 w 93"/>
                <a:gd name="T17" fmla="*/ 12 h 89"/>
                <a:gd name="T18" fmla="*/ 53 w 93"/>
                <a:gd name="T19" fmla="*/ 12 h 89"/>
                <a:gd name="T20" fmla="*/ 53 w 93"/>
                <a:gd name="T21" fmla="*/ 12 h 89"/>
                <a:gd name="T22" fmla="*/ 52 w 93"/>
                <a:gd name="T23" fmla="*/ 13 h 89"/>
                <a:gd name="T24" fmla="*/ 52 w 93"/>
                <a:gd name="T25" fmla="*/ 13 h 89"/>
                <a:gd name="T26" fmla="*/ 52 w 93"/>
                <a:gd name="T27" fmla="*/ 13 h 89"/>
                <a:gd name="T28" fmla="*/ 52 w 93"/>
                <a:gd name="T29" fmla="*/ 13 h 89"/>
                <a:gd name="T30" fmla="*/ 52 w 93"/>
                <a:gd name="T31" fmla="*/ 13 h 89"/>
                <a:gd name="T32" fmla="*/ 52 w 93"/>
                <a:gd name="T33" fmla="*/ 13 h 89"/>
                <a:gd name="T34" fmla="*/ 52 w 93"/>
                <a:gd name="T35" fmla="*/ 13 h 89"/>
                <a:gd name="T36" fmla="*/ 52 w 93"/>
                <a:gd name="T37" fmla="*/ 13 h 89"/>
                <a:gd name="T38" fmla="*/ 52 w 93"/>
                <a:gd name="T39" fmla="*/ 13 h 89"/>
                <a:gd name="T40" fmla="*/ 52 w 93"/>
                <a:gd name="T41" fmla="*/ 13 h 89"/>
                <a:gd name="T42" fmla="*/ 52 w 93"/>
                <a:gd name="T43" fmla="*/ 13 h 89"/>
                <a:gd name="T44" fmla="*/ 52 w 93"/>
                <a:gd name="T45" fmla="*/ 13 h 89"/>
                <a:gd name="T46" fmla="*/ 52 w 93"/>
                <a:gd name="T47" fmla="*/ 13 h 89"/>
                <a:gd name="T48" fmla="*/ 52 w 93"/>
                <a:gd name="T49" fmla="*/ 13 h 89"/>
                <a:gd name="T50" fmla="*/ 51 w 93"/>
                <a:gd name="T51" fmla="*/ 14 h 89"/>
                <a:gd name="T52" fmla="*/ 51 w 93"/>
                <a:gd name="T53" fmla="*/ 14 h 89"/>
                <a:gd name="T54" fmla="*/ 51 w 93"/>
                <a:gd name="T55" fmla="*/ 14 h 89"/>
                <a:gd name="T56" fmla="*/ 51 w 93"/>
                <a:gd name="T57" fmla="*/ 14 h 89"/>
                <a:gd name="T58" fmla="*/ 51 w 93"/>
                <a:gd name="T59" fmla="*/ 14 h 89"/>
                <a:gd name="T60" fmla="*/ 51 w 93"/>
                <a:gd name="T61" fmla="*/ 14 h 89"/>
                <a:gd name="T62" fmla="*/ 51 w 93"/>
                <a:gd name="T63" fmla="*/ 14 h 89"/>
                <a:gd name="T64" fmla="*/ 51 w 93"/>
                <a:gd name="T65" fmla="*/ 14 h 89"/>
                <a:gd name="T66" fmla="*/ 51 w 93"/>
                <a:gd name="T67" fmla="*/ 14 h 89"/>
                <a:gd name="T68" fmla="*/ 51 w 93"/>
                <a:gd name="T69" fmla="*/ 14 h 89"/>
                <a:gd name="T70" fmla="*/ 51 w 93"/>
                <a:gd name="T71" fmla="*/ 14 h 89"/>
                <a:gd name="T72" fmla="*/ 51 w 93"/>
                <a:gd name="T73" fmla="*/ 14 h 89"/>
                <a:gd name="T74" fmla="*/ 50 w 93"/>
                <a:gd name="T75" fmla="*/ 14 h 89"/>
                <a:gd name="T76" fmla="*/ 50 w 93"/>
                <a:gd name="T77" fmla="*/ 14 h 89"/>
                <a:gd name="T78" fmla="*/ 50 w 93"/>
                <a:gd name="T79" fmla="*/ 15 h 89"/>
                <a:gd name="T80" fmla="*/ 50 w 93"/>
                <a:gd name="T81" fmla="*/ 15 h 89"/>
                <a:gd name="T82" fmla="*/ 50 w 93"/>
                <a:gd name="T83" fmla="*/ 15 h 89"/>
                <a:gd name="T84" fmla="*/ 50 w 93"/>
                <a:gd name="T85" fmla="*/ 15 h 89"/>
                <a:gd name="T86" fmla="*/ 50 w 93"/>
                <a:gd name="T87" fmla="*/ 15 h 89"/>
                <a:gd name="T88" fmla="*/ 50 w 93"/>
                <a:gd name="T89" fmla="*/ 15 h 89"/>
                <a:gd name="T90" fmla="*/ 50 w 93"/>
                <a:gd name="T91" fmla="*/ 15 h 89"/>
                <a:gd name="T92" fmla="*/ 49 w 93"/>
                <a:gd name="T93" fmla="*/ 15 h 89"/>
                <a:gd name="T94" fmla="*/ 49 w 93"/>
                <a:gd name="T95" fmla="*/ 15 h 89"/>
                <a:gd name="T96" fmla="*/ 49 w 93"/>
                <a:gd name="T97" fmla="*/ 15 h 89"/>
                <a:gd name="T98" fmla="*/ 49 w 93"/>
                <a:gd name="T99" fmla="*/ 16 h 89"/>
                <a:gd name="T100" fmla="*/ 0 w 93"/>
                <a:gd name="T101" fmla="*/ 63 h 89"/>
                <a:gd name="T102" fmla="*/ 30 w 93"/>
                <a:gd name="T103" fmla="*/ 89 h 89"/>
                <a:gd name="T104" fmla="*/ 93 w 93"/>
                <a:gd name="T105" fmla="*/ 3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3" h="89">
                  <a:moveTo>
                    <a:pt x="93" y="33"/>
                  </a:moveTo>
                  <a:lnTo>
                    <a:pt x="93" y="33"/>
                  </a:lnTo>
                  <a:lnTo>
                    <a:pt x="69" y="0"/>
                  </a:lnTo>
                  <a:cubicBezTo>
                    <a:pt x="64" y="4"/>
                    <a:pt x="59" y="8"/>
                    <a:pt x="53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12"/>
                    <a:pt x="53" y="12"/>
                    <a:pt x="53" y="12"/>
                  </a:cubicBezTo>
                  <a:lnTo>
                    <a:pt x="53" y="12"/>
                  </a:lnTo>
                  <a:cubicBezTo>
                    <a:pt x="53" y="12"/>
                    <a:pt x="53" y="12"/>
                    <a:pt x="53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13"/>
                    <a:pt x="53" y="13"/>
                    <a:pt x="52" y="13"/>
                  </a:cubicBezTo>
                  <a:lnTo>
                    <a:pt x="52" y="13"/>
                  </a:ln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4"/>
                    <a:pt x="52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31" y="30"/>
                    <a:pt x="15" y="46"/>
                    <a:pt x="0" y="63"/>
                  </a:cubicBezTo>
                  <a:lnTo>
                    <a:pt x="30" y="89"/>
                  </a:lnTo>
                  <a:cubicBezTo>
                    <a:pt x="49" y="68"/>
                    <a:pt x="70" y="49"/>
                    <a:pt x="93" y="33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36">
              <a:extLst>
                <a:ext uri="{FF2B5EF4-FFF2-40B4-BE49-F238E27FC236}">
                  <a16:creationId xmlns:a16="http://schemas.microsoft.com/office/drawing/2014/main" id="{D9287235-0211-E37C-D3B1-C7B950BFC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7" y="1922"/>
              <a:ext cx="44" cy="33"/>
            </a:xfrm>
            <a:custGeom>
              <a:avLst/>
              <a:gdLst>
                <a:gd name="T0" fmla="*/ 97 w 97"/>
                <a:gd name="T1" fmla="*/ 38 h 73"/>
                <a:gd name="T2" fmla="*/ 66 w 97"/>
                <a:gd name="T3" fmla="*/ 6 h 73"/>
                <a:gd name="T4" fmla="*/ 66 w 97"/>
                <a:gd name="T5" fmla="*/ 6 h 73"/>
                <a:gd name="T6" fmla="*/ 66 w 97"/>
                <a:gd name="T7" fmla="*/ 6 h 73"/>
                <a:gd name="T8" fmla="*/ 65 w 97"/>
                <a:gd name="T9" fmla="*/ 7 h 73"/>
                <a:gd name="T10" fmla="*/ 65 w 97"/>
                <a:gd name="T11" fmla="*/ 7 h 73"/>
                <a:gd name="T12" fmla="*/ 65 w 97"/>
                <a:gd name="T13" fmla="*/ 7 h 73"/>
                <a:gd name="T14" fmla="*/ 65 w 97"/>
                <a:gd name="T15" fmla="*/ 7 h 73"/>
                <a:gd name="T16" fmla="*/ 65 w 97"/>
                <a:gd name="T17" fmla="*/ 7 h 73"/>
                <a:gd name="T18" fmla="*/ 64 w 97"/>
                <a:gd name="T19" fmla="*/ 7 h 73"/>
                <a:gd name="T20" fmla="*/ 64 w 97"/>
                <a:gd name="T21" fmla="*/ 7 h 73"/>
                <a:gd name="T22" fmla="*/ 64 w 97"/>
                <a:gd name="T23" fmla="*/ 7 h 73"/>
                <a:gd name="T24" fmla="*/ 64 w 97"/>
                <a:gd name="T25" fmla="*/ 7 h 73"/>
                <a:gd name="T26" fmla="*/ 64 w 97"/>
                <a:gd name="T27" fmla="*/ 7 h 73"/>
                <a:gd name="T28" fmla="*/ 63 w 97"/>
                <a:gd name="T29" fmla="*/ 7 h 73"/>
                <a:gd name="T30" fmla="*/ 63 w 97"/>
                <a:gd name="T31" fmla="*/ 7 h 73"/>
                <a:gd name="T32" fmla="*/ 63 w 97"/>
                <a:gd name="T33" fmla="*/ 7 h 73"/>
                <a:gd name="T34" fmla="*/ 63 w 97"/>
                <a:gd name="T35" fmla="*/ 8 h 73"/>
                <a:gd name="T36" fmla="*/ 63 w 97"/>
                <a:gd name="T37" fmla="*/ 8 h 73"/>
                <a:gd name="T38" fmla="*/ 63 w 97"/>
                <a:gd name="T39" fmla="*/ 8 h 73"/>
                <a:gd name="T40" fmla="*/ 62 w 97"/>
                <a:gd name="T41" fmla="*/ 8 h 73"/>
                <a:gd name="T42" fmla="*/ 62 w 97"/>
                <a:gd name="T43" fmla="*/ 8 h 73"/>
                <a:gd name="T44" fmla="*/ 62 w 97"/>
                <a:gd name="T45" fmla="*/ 8 h 73"/>
                <a:gd name="T46" fmla="*/ 62 w 97"/>
                <a:gd name="T47" fmla="*/ 8 h 73"/>
                <a:gd name="T48" fmla="*/ 62 w 97"/>
                <a:gd name="T49" fmla="*/ 8 h 73"/>
                <a:gd name="T50" fmla="*/ 61 w 97"/>
                <a:gd name="T51" fmla="*/ 8 h 73"/>
                <a:gd name="T52" fmla="*/ 61 w 97"/>
                <a:gd name="T53" fmla="*/ 8 h 73"/>
                <a:gd name="T54" fmla="*/ 61 w 97"/>
                <a:gd name="T55" fmla="*/ 8 h 73"/>
                <a:gd name="T56" fmla="*/ 61 w 97"/>
                <a:gd name="T57" fmla="*/ 8 h 73"/>
                <a:gd name="T58" fmla="*/ 61 w 97"/>
                <a:gd name="T59" fmla="*/ 8 h 73"/>
                <a:gd name="T60" fmla="*/ 21 w 97"/>
                <a:gd name="T61" fmla="*/ 26 h 73"/>
                <a:gd name="T62" fmla="*/ 21 w 97"/>
                <a:gd name="T63" fmla="*/ 26 h 73"/>
                <a:gd name="T64" fmla="*/ 21 w 97"/>
                <a:gd name="T65" fmla="*/ 26 h 73"/>
                <a:gd name="T66" fmla="*/ 20 w 97"/>
                <a:gd name="T67" fmla="*/ 27 h 73"/>
                <a:gd name="T68" fmla="*/ 20 w 97"/>
                <a:gd name="T69" fmla="*/ 27 h 73"/>
                <a:gd name="T70" fmla="*/ 20 w 97"/>
                <a:gd name="T71" fmla="*/ 27 h 73"/>
                <a:gd name="T72" fmla="*/ 20 w 97"/>
                <a:gd name="T73" fmla="*/ 27 h 73"/>
                <a:gd name="T74" fmla="*/ 20 w 97"/>
                <a:gd name="T75" fmla="*/ 27 h 73"/>
                <a:gd name="T76" fmla="*/ 20 w 97"/>
                <a:gd name="T77" fmla="*/ 27 h 73"/>
                <a:gd name="T78" fmla="*/ 19 w 97"/>
                <a:gd name="T79" fmla="*/ 27 h 73"/>
                <a:gd name="T80" fmla="*/ 19 w 97"/>
                <a:gd name="T81" fmla="*/ 27 h 73"/>
                <a:gd name="T82" fmla="*/ 19 w 97"/>
                <a:gd name="T83" fmla="*/ 27 h 73"/>
                <a:gd name="T84" fmla="*/ 19 w 97"/>
                <a:gd name="T85" fmla="*/ 27 h 73"/>
                <a:gd name="T86" fmla="*/ 19 w 97"/>
                <a:gd name="T87" fmla="*/ 28 h 73"/>
                <a:gd name="T88" fmla="*/ 18 w 97"/>
                <a:gd name="T89" fmla="*/ 28 h 73"/>
                <a:gd name="T90" fmla="*/ 18 w 97"/>
                <a:gd name="T91" fmla="*/ 28 h 73"/>
                <a:gd name="T92" fmla="*/ 18 w 97"/>
                <a:gd name="T93" fmla="*/ 28 h 73"/>
                <a:gd name="T94" fmla="*/ 18 w 97"/>
                <a:gd name="T95" fmla="*/ 28 h 73"/>
                <a:gd name="T96" fmla="*/ 18 w 97"/>
                <a:gd name="T97" fmla="*/ 28 h 73"/>
                <a:gd name="T98" fmla="*/ 17 w 97"/>
                <a:gd name="T99" fmla="*/ 28 h 73"/>
                <a:gd name="T100" fmla="*/ 17 w 97"/>
                <a:gd name="T101" fmla="*/ 28 h 73"/>
                <a:gd name="T102" fmla="*/ 17 w 97"/>
                <a:gd name="T103" fmla="*/ 28 h 73"/>
                <a:gd name="T104" fmla="*/ 17 w 97"/>
                <a:gd name="T105" fmla="*/ 28 h 73"/>
                <a:gd name="T106" fmla="*/ 17 w 97"/>
                <a:gd name="T107" fmla="*/ 28 h 73"/>
                <a:gd name="T108" fmla="*/ 16 w 97"/>
                <a:gd name="T109" fmla="*/ 29 h 73"/>
                <a:gd name="T110" fmla="*/ 16 w 97"/>
                <a:gd name="T111" fmla="*/ 29 h 73"/>
                <a:gd name="T112" fmla="*/ 0 w 97"/>
                <a:gd name="T113" fmla="*/ 38 h 73"/>
                <a:gd name="T114" fmla="*/ 97 w 97"/>
                <a:gd name="T115" fmla="*/ 3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7" h="73">
                  <a:moveTo>
                    <a:pt x="97" y="38"/>
                  </a:moveTo>
                  <a:lnTo>
                    <a:pt x="97" y="38"/>
                  </a:lnTo>
                  <a:lnTo>
                    <a:pt x="85" y="0"/>
                  </a:lnTo>
                  <a:cubicBezTo>
                    <a:pt x="78" y="2"/>
                    <a:pt x="72" y="4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3" y="8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lnTo>
                    <a:pt x="62" y="8"/>
                  </a:lnTo>
                  <a:cubicBezTo>
                    <a:pt x="62" y="8"/>
                    <a:pt x="61" y="8"/>
                    <a:pt x="61" y="8"/>
                  </a:cubicBezTo>
                  <a:lnTo>
                    <a:pt x="61" y="8"/>
                  </a:lnTo>
                  <a:cubicBezTo>
                    <a:pt x="61" y="8"/>
                    <a:pt x="61" y="8"/>
                    <a:pt x="61" y="8"/>
                  </a:cubicBezTo>
                  <a:lnTo>
                    <a:pt x="61" y="8"/>
                  </a:ln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1" y="8"/>
                    <a:pt x="61" y="8"/>
                  </a:cubicBezTo>
                  <a:lnTo>
                    <a:pt x="61" y="8"/>
                  </a:ln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47" y="14"/>
                    <a:pt x="34" y="20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1" y="26"/>
                  </a:ln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7"/>
                    <a:pt x="20" y="27"/>
                  </a:cubicBezTo>
                  <a:lnTo>
                    <a:pt x="20" y="27"/>
                  </a:ln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lnTo>
                    <a:pt x="17" y="28"/>
                  </a:lnTo>
                  <a:cubicBezTo>
                    <a:pt x="17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0" y="32"/>
                    <a:pt x="5" y="35"/>
                    <a:pt x="0" y="38"/>
                  </a:cubicBezTo>
                  <a:lnTo>
                    <a:pt x="20" y="73"/>
                  </a:lnTo>
                  <a:cubicBezTo>
                    <a:pt x="44" y="58"/>
                    <a:pt x="70" y="47"/>
                    <a:pt x="97" y="38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37">
              <a:extLst>
                <a:ext uri="{FF2B5EF4-FFF2-40B4-BE49-F238E27FC236}">
                  <a16:creationId xmlns:a16="http://schemas.microsoft.com/office/drawing/2014/main" id="{9E08700F-4A6C-EF23-A04C-EB6DFD4E5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1" y="2106"/>
              <a:ext cx="22" cy="43"/>
            </a:xfrm>
            <a:custGeom>
              <a:avLst/>
              <a:gdLst>
                <a:gd name="T0" fmla="*/ 0 w 48"/>
                <a:gd name="T1" fmla="*/ 1 h 93"/>
                <a:gd name="T2" fmla="*/ 0 w 48"/>
                <a:gd name="T3" fmla="*/ 2 h 93"/>
                <a:gd name="T4" fmla="*/ 0 w 48"/>
                <a:gd name="T5" fmla="*/ 3 h 93"/>
                <a:gd name="T6" fmla="*/ 0 w 48"/>
                <a:gd name="T7" fmla="*/ 3 h 93"/>
                <a:gd name="T8" fmla="*/ 0 w 48"/>
                <a:gd name="T9" fmla="*/ 4 h 93"/>
                <a:gd name="T10" fmla="*/ 0 w 48"/>
                <a:gd name="T11" fmla="*/ 4 h 93"/>
                <a:gd name="T12" fmla="*/ 0 w 48"/>
                <a:gd name="T13" fmla="*/ 5 h 93"/>
                <a:gd name="T14" fmla="*/ 0 w 48"/>
                <a:gd name="T15" fmla="*/ 5 h 93"/>
                <a:gd name="T16" fmla="*/ 0 w 48"/>
                <a:gd name="T17" fmla="*/ 6 h 93"/>
                <a:gd name="T18" fmla="*/ 0 w 48"/>
                <a:gd name="T19" fmla="*/ 6 h 93"/>
                <a:gd name="T20" fmla="*/ 0 w 48"/>
                <a:gd name="T21" fmla="*/ 7 h 93"/>
                <a:gd name="T22" fmla="*/ 0 w 48"/>
                <a:gd name="T23" fmla="*/ 7 h 93"/>
                <a:gd name="T24" fmla="*/ 0 w 48"/>
                <a:gd name="T25" fmla="*/ 8 h 93"/>
                <a:gd name="T26" fmla="*/ 0 w 48"/>
                <a:gd name="T27" fmla="*/ 8 h 93"/>
                <a:gd name="T28" fmla="*/ 0 w 48"/>
                <a:gd name="T29" fmla="*/ 8 h 93"/>
                <a:gd name="T30" fmla="*/ 0 w 48"/>
                <a:gd name="T31" fmla="*/ 9 h 93"/>
                <a:gd name="T32" fmla="*/ 0 w 48"/>
                <a:gd name="T33" fmla="*/ 9 h 93"/>
                <a:gd name="T34" fmla="*/ 0 w 48"/>
                <a:gd name="T35" fmla="*/ 10 h 93"/>
                <a:gd name="T36" fmla="*/ 0 w 48"/>
                <a:gd name="T37" fmla="*/ 11 h 93"/>
                <a:gd name="T38" fmla="*/ 0 w 48"/>
                <a:gd name="T39" fmla="*/ 11 h 93"/>
                <a:gd name="T40" fmla="*/ 0 w 48"/>
                <a:gd name="T41" fmla="*/ 11 h 93"/>
                <a:gd name="T42" fmla="*/ 0 w 48"/>
                <a:gd name="T43" fmla="*/ 12 h 93"/>
                <a:gd name="T44" fmla="*/ 0 w 48"/>
                <a:gd name="T45" fmla="*/ 12 h 93"/>
                <a:gd name="T46" fmla="*/ 0 w 48"/>
                <a:gd name="T47" fmla="*/ 13 h 93"/>
                <a:gd name="T48" fmla="*/ 0 w 48"/>
                <a:gd name="T49" fmla="*/ 13 h 93"/>
                <a:gd name="T50" fmla="*/ 0 w 48"/>
                <a:gd name="T51" fmla="*/ 14 h 93"/>
                <a:gd name="T52" fmla="*/ 0 w 48"/>
                <a:gd name="T53" fmla="*/ 14 h 93"/>
                <a:gd name="T54" fmla="*/ 0 w 48"/>
                <a:gd name="T55" fmla="*/ 15 h 93"/>
                <a:gd name="T56" fmla="*/ 0 w 48"/>
                <a:gd name="T57" fmla="*/ 15 h 93"/>
                <a:gd name="T58" fmla="*/ 0 w 48"/>
                <a:gd name="T59" fmla="*/ 15 h 93"/>
                <a:gd name="T60" fmla="*/ 0 w 48"/>
                <a:gd name="T61" fmla="*/ 16 h 93"/>
                <a:gd name="T62" fmla="*/ 0 w 48"/>
                <a:gd name="T63" fmla="*/ 16 h 93"/>
                <a:gd name="T64" fmla="*/ 0 w 48"/>
                <a:gd name="T65" fmla="*/ 17 h 93"/>
                <a:gd name="T66" fmla="*/ 0 w 48"/>
                <a:gd name="T67" fmla="*/ 17 h 93"/>
                <a:gd name="T68" fmla="*/ 0 w 48"/>
                <a:gd name="T69" fmla="*/ 18 h 93"/>
                <a:gd name="T70" fmla="*/ 0 w 48"/>
                <a:gd name="T71" fmla="*/ 18 h 93"/>
                <a:gd name="T72" fmla="*/ 0 w 48"/>
                <a:gd name="T73" fmla="*/ 19 h 93"/>
                <a:gd name="T74" fmla="*/ 0 w 48"/>
                <a:gd name="T75" fmla="*/ 19 h 93"/>
                <a:gd name="T76" fmla="*/ 0 w 48"/>
                <a:gd name="T77" fmla="*/ 20 h 93"/>
                <a:gd name="T78" fmla="*/ 0 w 48"/>
                <a:gd name="T79" fmla="*/ 21 h 93"/>
                <a:gd name="T80" fmla="*/ 0 w 48"/>
                <a:gd name="T81" fmla="*/ 21 h 93"/>
                <a:gd name="T82" fmla="*/ 0 w 48"/>
                <a:gd name="T83" fmla="*/ 22 h 93"/>
                <a:gd name="T84" fmla="*/ 0 w 48"/>
                <a:gd name="T85" fmla="*/ 22 h 93"/>
                <a:gd name="T86" fmla="*/ 0 w 48"/>
                <a:gd name="T87" fmla="*/ 22 h 93"/>
                <a:gd name="T88" fmla="*/ 0 w 48"/>
                <a:gd name="T89" fmla="*/ 23 h 93"/>
                <a:gd name="T90" fmla="*/ 0 w 48"/>
                <a:gd name="T91" fmla="*/ 24 h 93"/>
                <a:gd name="T92" fmla="*/ 0 w 48"/>
                <a:gd name="T93" fmla="*/ 25 h 93"/>
                <a:gd name="T94" fmla="*/ 0 w 48"/>
                <a:gd name="T95" fmla="*/ 25 h 93"/>
                <a:gd name="T96" fmla="*/ 0 w 48"/>
                <a:gd name="T97" fmla="*/ 26 h 93"/>
                <a:gd name="T98" fmla="*/ 0 w 48"/>
                <a:gd name="T99" fmla="*/ 26 h 93"/>
                <a:gd name="T100" fmla="*/ 0 w 48"/>
                <a:gd name="T101" fmla="*/ 26 h 93"/>
                <a:gd name="T102" fmla="*/ 0 w 48"/>
                <a:gd name="T103" fmla="*/ 28 h 93"/>
                <a:gd name="T104" fmla="*/ 0 w 48"/>
                <a:gd name="T105" fmla="*/ 29 h 93"/>
                <a:gd name="T106" fmla="*/ 0 w 48"/>
                <a:gd name="T107" fmla="*/ 29 h 93"/>
                <a:gd name="T108" fmla="*/ 0 w 48"/>
                <a:gd name="T109" fmla="*/ 29 h 93"/>
                <a:gd name="T110" fmla="*/ 0 w 48"/>
                <a:gd name="T111" fmla="*/ 32 h 93"/>
                <a:gd name="T112" fmla="*/ 1 w 48"/>
                <a:gd name="T113" fmla="*/ 33 h 93"/>
                <a:gd name="T114" fmla="*/ 9 w 48"/>
                <a:gd name="T115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" h="93">
                  <a:moveTo>
                    <a:pt x="40" y="3"/>
                  </a:moveTo>
                  <a:lnTo>
                    <a:pt x="40" y="3"/>
                  </a:lnTo>
                  <a:lnTo>
                    <a:pt x="40" y="1"/>
                  </a:lnTo>
                  <a:lnTo>
                    <a:pt x="0" y="0"/>
                  </a:ln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3"/>
                  </a:ln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lnTo>
                    <a:pt x="0" y="28"/>
                  </a:lnTo>
                  <a:cubicBezTo>
                    <a:pt x="0" y="28"/>
                    <a:pt x="0" y="28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0" y="29"/>
                  </a:lnTo>
                  <a:cubicBezTo>
                    <a:pt x="0" y="29"/>
                    <a:pt x="0" y="30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0" y="31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1" y="32"/>
                    <a:pt x="1" y="32"/>
                  </a:cubicBezTo>
                  <a:cubicBezTo>
                    <a:pt x="1" y="33"/>
                    <a:pt x="1" y="33"/>
                    <a:pt x="1" y="33"/>
                  </a:cubicBezTo>
                  <a:lnTo>
                    <a:pt x="1" y="33"/>
                  </a:lnTo>
                  <a:cubicBezTo>
                    <a:pt x="1" y="33"/>
                    <a:pt x="1" y="33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lnTo>
                    <a:pt x="1" y="33"/>
                  </a:lnTo>
                  <a:cubicBezTo>
                    <a:pt x="1" y="34"/>
                    <a:pt x="1" y="35"/>
                    <a:pt x="1" y="36"/>
                  </a:cubicBezTo>
                  <a:cubicBezTo>
                    <a:pt x="2" y="55"/>
                    <a:pt x="5" y="74"/>
                    <a:pt x="9" y="93"/>
                  </a:cubicBezTo>
                  <a:lnTo>
                    <a:pt x="48" y="85"/>
                  </a:lnTo>
                  <a:cubicBezTo>
                    <a:pt x="43" y="58"/>
                    <a:pt x="40" y="30"/>
                    <a:pt x="40" y="3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38">
              <a:extLst>
                <a:ext uri="{FF2B5EF4-FFF2-40B4-BE49-F238E27FC236}">
                  <a16:creationId xmlns:a16="http://schemas.microsoft.com/office/drawing/2014/main" id="{E56367F9-21A4-39C8-4B02-F43D34089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1913"/>
              <a:ext cx="48" cy="22"/>
            </a:xfrm>
            <a:custGeom>
              <a:avLst/>
              <a:gdLst>
                <a:gd name="T0" fmla="*/ 103 w 103"/>
                <a:gd name="T1" fmla="*/ 0 h 49"/>
                <a:gd name="T2" fmla="*/ 103 w 103"/>
                <a:gd name="T3" fmla="*/ 0 h 49"/>
                <a:gd name="T4" fmla="*/ 94 w 103"/>
                <a:gd name="T5" fmla="*/ 0 h 49"/>
                <a:gd name="T6" fmla="*/ 94 w 103"/>
                <a:gd name="T7" fmla="*/ 0 h 49"/>
                <a:gd name="T8" fmla="*/ 93 w 103"/>
                <a:gd name="T9" fmla="*/ 0 h 49"/>
                <a:gd name="T10" fmla="*/ 93 w 103"/>
                <a:gd name="T11" fmla="*/ 0 h 49"/>
                <a:gd name="T12" fmla="*/ 92 w 103"/>
                <a:gd name="T13" fmla="*/ 0 h 49"/>
                <a:gd name="T14" fmla="*/ 92 w 103"/>
                <a:gd name="T15" fmla="*/ 0 h 49"/>
                <a:gd name="T16" fmla="*/ 92 w 103"/>
                <a:gd name="T17" fmla="*/ 0 h 49"/>
                <a:gd name="T18" fmla="*/ 91 w 103"/>
                <a:gd name="T19" fmla="*/ 0 h 49"/>
                <a:gd name="T20" fmla="*/ 91 w 103"/>
                <a:gd name="T21" fmla="*/ 0 h 49"/>
                <a:gd name="T22" fmla="*/ 90 w 103"/>
                <a:gd name="T23" fmla="*/ 0 h 49"/>
                <a:gd name="T24" fmla="*/ 90 w 103"/>
                <a:gd name="T25" fmla="*/ 0 h 49"/>
                <a:gd name="T26" fmla="*/ 89 w 103"/>
                <a:gd name="T27" fmla="*/ 0 h 49"/>
                <a:gd name="T28" fmla="*/ 89 w 103"/>
                <a:gd name="T29" fmla="*/ 0 h 49"/>
                <a:gd name="T30" fmla="*/ 88 w 103"/>
                <a:gd name="T31" fmla="*/ 0 h 49"/>
                <a:gd name="T32" fmla="*/ 88 w 103"/>
                <a:gd name="T33" fmla="*/ 0 h 49"/>
                <a:gd name="T34" fmla="*/ 87 w 103"/>
                <a:gd name="T35" fmla="*/ 0 h 49"/>
                <a:gd name="T36" fmla="*/ 87 w 103"/>
                <a:gd name="T37" fmla="*/ 0 h 49"/>
                <a:gd name="T38" fmla="*/ 86 w 103"/>
                <a:gd name="T39" fmla="*/ 0 h 49"/>
                <a:gd name="T40" fmla="*/ 86 w 103"/>
                <a:gd name="T41" fmla="*/ 0 h 49"/>
                <a:gd name="T42" fmla="*/ 85 w 103"/>
                <a:gd name="T43" fmla="*/ 0 h 49"/>
                <a:gd name="T44" fmla="*/ 85 w 103"/>
                <a:gd name="T45" fmla="*/ 0 h 49"/>
                <a:gd name="T46" fmla="*/ 84 w 103"/>
                <a:gd name="T47" fmla="*/ 0 h 49"/>
                <a:gd name="T48" fmla="*/ 84 w 103"/>
                <a:gd name="T49" fmla="*/ 0 h 49"/>
                <a:gd name="T50" fmla="*/ 83 w 103"/>
                <a:gd name="T51" fmla="*/ 0 h 49"/>
                <a:gd name="T52" fmla="*/ 83 w 103"/>
                <a:gd name="T53" fmla="*/ 0 h 49"/>
                <a:gd name="T54" fmla="*/ 83 w 103"/>
                <a:gd name="T55" fmla="*/ 0 h 49"/>
                <a:gd name="T56" fmla="*/ 82 w 103"/>
                <a:gd name="T57" fmla="*/ 0 h 49"/>
                <a:gd name="T58" fmla="*/ 81 w 103"/>
                <a:gd name="T59" fmla="*/ 0 h 49"/>
                <a:gd name="T60" fmla="*/ 81 w 103"/>
                <a:gd name="T61" fmla="*/ 0 h 49"/>
                <a:gd name="T62" fmla="*/ 80 w 103"/>
                <a:gd name="T63" fmla="*/ 0 h 49"/>
                <a:gd name="T64" fmla="*/ 80 w 103"/>
                <a:gd name="T65" fmla="*/ 0 h 49"/>
                <a:gd name="T66" fmla="*/ 79 w 103"/>
                <a:gd name="T67" fmla="*/ 0 h 49"/>
                <a:gd name="T68" fmla="*/ 79 w 103"/>
                <a:gd name="T69" fmla="*/ 0 h 49"/>
                <a:gd name="T70" fmla="*/ 78 w 103"/>
                <a:gd name="T71" fmla="*/ 0 h 49"/>
                <a:gd name="T72" fmla="*/ 78 w 103"/>
                <a:gd name="T73" fmla="*/ 0 h 49"/>
                <a:gd name="T74" fmla="*/ 77 w 103"/>
                <a:gd name="T75" fmla="*/ 0 h 49"/>
                <a:gd name="T76" fmla="*/ 77 w 103"/>
                <a:gd name="T77" fmla="*/ 0 h 49"/>
                <a:gd name="T78" fmla="*/ 76 w 103"/>
                <a:gd name="T79" fmla="*/ 0 h 49"/>
                <a:gd name="T80" fmla="*/ 76 w 103"/>
                <a:gd name="T81" fmla="*/ 1 h 49"/>
                <a:gd name="T82" fmla="*/ 75 w 103"/>
                <a:gd name="T83" fmla="*/ 1 h 49"/>
                <a:gd name="T84" fmla="*/ 74 w 103"/>
                <a:gd name="T85" fmla="*/ 1 h 49"/>
                <a:gd name="T86" fmla="*/ 74 w 103"/>
                <a:gd name="T87" fmla="*/ 1 h 49"/>
                <a:gd name="T88" fmla="*/ 73 w 103"/>
                <a:gd name="T89" fmla="*/ 1 h 49"/>
                <a:gd name="T90" fmla="*/ 72 w 103"/>
                <a:gd name="T91" fmla="*/ 1 h 49"/>
                <a:gd name="T92" fmla="*/ 72 w 103"/>
                <a:gd name="T93" fmla="*/ 1 h 49"/>
                <a:gd name="T94" fmla="*/ 71 w 103"/>
                <a:gd name="T95" fmla="*/ 1 h 49"/>
                <a:gd name="T96" fmla="*/ 69 w 103"/>
                <a:gd name="T97" fmla="*/ 1 h 49"/>
                <a:gd name="T98" fmla="*/ 69 w 103"/>
                <a:gd name="T99" fmla="*/ 1 h 49"/>
                <a:gd name="T100" fmla="*/ 0 w 103"/>
                <a:gd name="T101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3" h="49">
                  <a:moveTo>
                    <a:pt x="93" y="39"/>
                  </a:moveTo>
                  <a:lnTo>
                    <a:pt x="93" y="39"/>
                  </a:lnTo>
                  <a:cubicBezTo>
                    <a:pt x="96" y="39"/>
                    <a:pt x="99" y="39"/>
                    <a:pt x="102" y="40"/>
                  </a:cubicBezTo>
                  <a:lnTo>
                    <a:pt x="103" y="0"/>
                  </a:lnTo>
                  <a:cubicBezTo>
                    <a:pt x="103" y="0"/>
                    <a:pt x="103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lnTo>
                    <a:pt x="103" y="0"/>
                  </a:lnTo>
                  <a:cubicBezTo>
                    <a:pt x="100" y="0"/>
                    <a:pt x="97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94" y="0"/>
                  </a:ln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lnTo>
                    <a:pt x="80" y="0"/>
                  </a:lnTo>
                  <a:cubicBezTo>
                    <a:pt x="80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6" y="0"/>
                    <a:pt x="7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6" y="1"/>
                    <a:pt x="76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1"/>
                    <a:pt x="70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70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lnTo>
                    <a:pt x="69" y="1"/>
                  </a:lnTo>
                  <a:cubicBezTo>
                    <a:pt x="68" y="1"/>
                    <a:pt x="68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44" y="2"/>
                    <a:pt x="22" y="6"/>
                    <a:pt x="0" y="9"/>
                  </a:cubicBezTo>
                  <a:lnTo>
                    <a:pt x="9" y="49"/>
                  </a:lnTo>
                  <a:cubicBezTo>
                    <a:pt x="37" y="43"/>
                    <a:pt x="65" y="39"/>
                    <a:pt x="93" y="39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39">
              <a:extLst>
                <a:ext uri="{FF2B5EF4-FFF2-40B4-BE49-F238E27FC236}">
                  <a16:creationId xmlns:a16="http://schemas.microsoft.com/office/drawing/2014/main" id="{D92DA7CC-0034-50D4-6FAA-FD1431DB8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7" y="1993"/>
              <a:ext cx="36" cy="44"/>
            </a:xfrm>
            <a:custGeom>
              <a:avLst/>
              <a:gdLst>
                <a:gd name="T0" fmla="*/ 79 w 79"/>
                <a:gd name="T1" fmla="*/ 24 h 97"/>
                <a:gd name="T2" fmla="*/ 8 w 79"/>
                <a:gd name="T3" fmla="*/ 64 h 97"/>
                <a:gd name="T4" fmla="*/ 8 w 79"/>
                <a:gd name="T5" fmla="*/ 64 h 97"/>
                <a:gd name="T6" fmla="*/ 7 w 79"/>
                <a:gd name="T7" fmla="*/ 65 h 97"/>
                <a:gd name="T8" fmla="*/ 7 w 79"/>
                <a:gd name="T9" fmla="*/ 65 h 97"/>
                <a:gd name="T10" fmla="*/ 7 w 79"/>
                <a:gd name="T11" fmla="*/ 66 h 97"/>
                <a:gd name="T12" fmla="*/ 7 w 79"/>
                <a:gd name="T13" fmla="*/ 67 h 97"/>
                <a:gd name="T14" fmla="*/ 6 w 79"/>
                <a:gd name="T15" fmla="*/ 68 h 97"/>
                <a:gd name="T16" fmla="*/ 6 w 79"/>
                <a:gd name="T17" fmla="*/ 68 h 97"/>
                <a:gd name="T18" fmla="*/ 6 w 79"/>
                <a:gd name="T19" fmla="*/ 68 h 97"/>
                <a:gd name="T20" fmla="*/ 6 w 79"/>
                <a:gd name="T21" fmla="*/ 68 h 97"/>
                <a:gd name="T22" fmla="*/ 6 w 79"/>
                <a:gd name="T23" fmla="*/ 68 h 97"/>
                <a:gd name="T24" fmla="*/ 6 w 79"/>
                <a:gd name="T25" fmla="*/ 69 h 97"/>
                <a:gd name="T26" fmla="*/ 6 w 79"/>
                <a:gd name="T27" fmla="*/ 69 h 97"/>
                <a:gd name="T28" fmla="*/ 6 w 79"/>
                <a:gd name="T29" fmla="*/ 69 h 97"/>
                <a:gd name="T30" fmla="*/ 5 w 79"/>
                <a:gd name="T31" fmla="*/ 69 h 97"/>
                <a:gd name="T32" fmla="*/ 5 w 79"/>
                <a:gd name="T33" fmla="*/ 69 h 97"/>
                <a:gd name="T34" fmla="*/ 5 w 79"/>
                <a:gd name="T35" fmla="*/ 69 h 97"/>
                <a:gd name="T36" fmla="*/ 5 w 79"/>
                <a:gd name="T37" fmla="*/ 70 h 97"/>
                <a:gd name="T38" fmla="*/ 5 w 79"/>
                <a:gd name="T39" fmla="*/ 70 h 97"/>
                <a:gd name="T40" fmla="*/ 5 w 79"/>
                <a:gd name="T41" fmla="*/ 70 h 97"/>
                <a:gd name="T42" fmla="*/ 5 w 79"/>
                <a:gd name="T43" fmla="*/ 70 h 97"/>
                <a:gd name="T44" fmla="*/ 5 w 79"/>
                <a:gd name="T45" fmla="*/ 70 h 97"/>
                <a:gd name="T46" fmla="*/ 5 w 79"/>
                <a:gd name="T47" fmla="*/ 70 h 97"/>
                <a:gd name="T48" fmla="*/ 5 w 79"/>
                <a:gd name="T49" fmla="*/ 71 h 97"/>
                <a:gd name="T50" fmla="*/ 5 w 79"/>
                <a:gd name="T51" fmla="*/ 71 h 97"/>
                <a:gd name="T52" fmla="*/ 5 w 79"/>
                <a:gd name="T53" fmla="*/ 71 h 97"/>
                <a:gd name="T54" fmla="*/ 5 w 79"/>
                <a:gd name="T55" fmla="*/ 71 h 97"/>
                <a:gd name="T56" fmla="*/ 4 w 79"/>
                <a:gd name="T57" fmla="*/ 71 h 97"/>
                <a:gd name="T58" fmla="*/ 4 w 79"/>
                <a:gd name="T59" fmla="*/ 71 h 97"/>
                <a:gd name="T60" fmla="*/ 4 w 79"/>
                <a:gd name="T61" fmla="*/ 72 h 97"/>
                <a:gd name="T62" fmla="*/ 4 w 79"/>
                <a:gd name="T63" fmla="*/ 72 h 97"/>
                <a:gd name="T64" fmla="*/ 4 w 79"/>
                <a:gd name="T65" fmla="*/ 72 h 97"/>
                <a:gd name="T66" fmla="*/ 4 w 79"/>
                <a:gd name="T67" fmla="*/ 72 h 97"/>
                <a:gd name="T68" fmla="*/ 4 w 79"/>
                <a:gd name="T69" fmla="*/ 73 h 97"/>
                <a:gd name="T70" fmla="*/ 4 w 79"/>
                <a:gd name="T71" fmla="*/ 73 h 97"/>
                <a:gd name="T72" fmla="*/ 4 w 79"/>
                <a:gd name="T73" fmla="*/ 73 h 97"/>
                <a:gd name="T74" fmla="*/ 4 w 79"/>
                <a:gd name="T75" fmla="*/ 73 h 97"/>
                <a:gd name="T76" fmla="*/ 4 w 79"/>
                <a:gd name="T77" fmla="*/ 73 h 97"/>
                <a:gd name="T78" fmla="*/ 3 w 79"/>
                <a:gd name="T79" fmla="*/ 74 h 97"/>
                <a:gd name="T80" fmla="*/ 3 w 79"/>
                <a:gd name="T81" fmla="*/ 74 h 97"/>
                <a:gd name="T82" fmla="*/ 3 w 79"/>
                <a:gd name="T83" fmla="*/ 74 h 97"/>
                <a:gd name="T84" fmla="*/ 3 w 79"/>
                <a:gd name="T85" fmla="*/ 74 h 97"/>
                <a:gd name="T86" fmla="*/ 0 w 79"/>
                <a:gd name="T87" fmla="*/ 81 h 97"/>
                <a:gd name="T88" fmla="*/ 79 w 79"/>
                <a:gd name="T89" fmla="*/ 2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9" h="97">
                  <a:moveTo>
                    <a:pt x="79" y="24"/>
                  </a:moveTo>
                  <a:lnTo>
                    <a:pt x="79" y="24"/>
                  </a:lnTo>
                  <a:lnTo>
                    <a:pt x="47" y="0"/>
                  </a:lnTo>
                  <a:cubicBezTo>
                    <a:pt x="32" y="20"/>
                    <a:pt x="19" y="42"/>
                    <a:pt x="8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65"/>
                    <a:pt x="7" y="65"/>
                    <a:pt x="7" y="65"/>
                  </a:cubicBezTo>
                  <a:lnTo>
                    <a:pt x="7" y="65"/>
                  </a:lnTo>
                  <a:cubicBezTo>
                    <a:pt x="7" y="65"/>
                    <a:pt x="7" y="65"/>
                    <a:pt x="7" y="65"/>
                  </a:cubicBezTo>
                  <a:lnTo>
                    <a:pt x="7" y="65"/>
                  </a:ln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7"/>
                    <a:pt x="7" y="67"/>
                    <a:pt x="7" y="67"/>
                  </a:cubicBezTo>
                  <a:lnTo>
                    <a:pt x="7" y="67"/>
                  </a:lnTo>
                  <a:cubicBezTo>
                    <a:pt x="7" y="67"/>
                    <a:pt x="6" y="67"/>
                    <a:pt x="6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6" y="68"/>
                    <a:pt x="6" y="68"/>
                    <a:pt x="6" y="68"/>
                  </a:cubicBezTo>
                  <a:lnTo>
                    <a:pt x="6" y="68"/>
                  </a:lnTo>
                  <a:cubicBezTo>
                    <a:pt x="6" y="68"/>
                    <a:pt x="6" y="69"/>
                    <a:pt x="6" y="69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6" y="69"/>
                    <a:pt x="6" y="69"/>
                    <a:pt x="5" y="69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1"/>
                    <a:pt x="5" y="71"/>
                    <a:pt x="5" y="71"/>
                  </a:cubicBezTo>
                  <a:cubicBezTo>
                    <a:pt x="5" y="71"/>
                    <a:pt x="5" y="71"/>
                    <a:pt x="5" y="71"/>
                  </a:cubicBezTo>
                  <a:cubicBezTo>
                    <a:pt x="5" y="71"/>
                    <a:pt x="5" y="71"/>
                    <a:pt x="5" y="71"/>
                  </a:cubicBezTo>
                  <a:cubicBezTo>
                    <a:pt x="5" y="71"/>
                    <a:pt x="5" y="71"/>
                    <a:pt x="5" y="71"/>
                  </a:cubicBezTo>
                  <a:cubicBezTo>
                    <a:pt x="5" y="71"/>
                    <a:pt x="5" y="71"/>
                    <a:pt x="5" y="71"/>
                  </a:cubicBezTo>
                  <a:cubicBezTo>
                    <a:pt x="5" y="71"/>
                    <a:pt x="5" y="71"/>
                    <a:pt x="5" y="71"/>
                  </a:cubicBezTo>
                  <a:cubicBezTo>
                    <a:pt x="5" y="71"/>
                    <a:pt x="5" y="71"/>
                    <a:pt x="5" y="71"/>
                  </a:cubicBezTo>
                  <a:cubicBezTo>
                    <a:pt x="5" y="71"/>
                    <a:pt x="5" y="71"/>
                    <a:pt x="5" y="71"/>
                  </a:cubicBezTo>
                  <a:cubicBezTo>
                    <a:pt x="5" y="71"/>
                    <a:pt x="4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3" y="73"/>
                    <a:pt x="3" y="74"/>
                    <a:pt x="3" y="74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2" y="77"/>
                    <a:pt x="1" y="79"/>
                    <a:pt x="0" y="81"/>
                  </a:cubicBezTo>
                  <a:lnTo>
                    <a:pt x="37" y="97"/>
                  </a:lnTo>
                  <a:cubicBezTo>
                    <a:pt x="48" y="71"/>
                    <a:pt x="63" y="46"/>
                    <a:pt x="79" y="24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40">
              <a:extLst>
                <a:ext uri="{FF2B5EF4-FFF2-40B4-BE49-F238E27FC236}">
                  <a16:creationId xmlns:a16="http://schemas.microsoft.com/office/drawing/2014/main" id="{EF0B50E9-D3EA-1ADA-138B-68A536604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" y="2012"/>
              <a:ext cx="33" cy="44"/>
            </a:xfrm>
            <a:custGeom>
              <a:avLst/>
              <a:gdLst>
                <a:gd name="T0" fmla="*/ 33 w 71"/>
                <a:gd name="T1" fmla="*/ 97 h 97"/>
                <a:gd name="T2" fmla="*/ 33 w 71"/>
                <a:gd name="T3" fmla="*/ 97 h 97"/>
                <a:gd name="T4" fmla="*/ 71 w 71"/>
                <a:gd name="T5" fmla="*/ 86 h 97"/>
                <a:gd name="T6" fmla="*/ 35 w 71"/>
                <a:gd name="T7" fmla="*/ 0 h 97"/>
                <a:gd name="T8" fmla="*/ 0 w 71"/>
                <a:gd name="T9" fmla="*/ 20 h 97"/>
                <a:gd name="T10" fmla="*/ 33 w 71"/>
                <a:gd name="T11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97">
                  <a:moveTo>
                    <a:pt x="33" y="97"/>
                  </a:moveTo>
                  <a:lnTo>
                    <a:pt x="33" y="97"/>
                  </a:lnTo>
                  <a:lnTo>
                    <a:pt x="71" y="86"/>
                  </a:lnTo>
                  <a:cubicBezTo>
                    <a:pt x="62" y="55"/>
                    <a:pt x="50" y="27"/>
                    <a:pt x="35" y="0"/>
                  </a:cubicBezTo>
                  <a:lnTo>
                    <a:pt x="0" y="20"/>
                  </a:lnTo>
                  <a:cubicBezTo>
                    <a:pt x="14" y="44"/>
                    <a:pt x="25" y="70"/>
                    <a:pt x="33" y="97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41">
              <a:extLst>
                <a:ext uri="{FF2B5EF4-FFF2-40B4-BE49-F238E27FC236}">
                  <a16:creationId xmlns:a16="http://schemas.microsoft.com/office/drawing/2014/main" id="{5037AB96-0889-69F9-4D38-E3F5F6708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6" y="1964"/>
              <a:ext cx="40" cy="43"/>
            </a:xfrm>
            <a:custGeom>
              <a:avLst/>
              <a:gdLst>
                <a:gd name="T0" fmla="*/ 55 w 88"/>
                <a:gd name="T1" fmla="*/ 93 h 93"/>
                <a:gd name="T2" fmla="*/ 55 w 88"/>
                <a:gd name="T3" fmla="*/ 93 h 93"/>
                <a:gd name="T4" fmla="*/ 88 w 88"/>
                <a:gd name="T5" fmla="*/ 70 h 93"/>
                <a:gd name="T6" fmla="*/ 76 w 88"/>
                <a:gd name="T7" fmla="*/ 53 h 93"/>
                <a:gd name="T8" fmla="*/ 76 w 88"/>
                <a:gd name="T9" fmla="*/ 53 h 93"/>
                <a:gd name="T10" fmla="*/ 76 w 88"/>
                <a:gd name="T11" fmla="*/ 53 h 93"/>
                <a:gd name="T12" fmla="*/ 76 w 88"/>
                <a:gd name="T13" fmla="*/ 53 h 93"/>
                <a:gd name="T14" fmla="*/ 76 w 88"/>
                <a:gd name="T15" fmla="*/ 53 h 93"/>
                <a:gd name="T16" fmla="*/ 76 w 88"/>
                <a:gd name="T17" fmla="*/ 53 h 93"/>
                <a:gd name="T18" fmla="*/ 75 w 88"/>
                <a:gd name="T19" fmla="*/ 52 h 93"/>
                <a:gd name="T20" fmla="*/ 75 w 88"/>
                <a:gd name="T21" fmla="*/ 52 h 93"/>
                <a:gd name="T22" fmla="*/ 75 w 88"/>
                <a:gd name="T23" fmla="*/ 52 h 93"/>
                <a:gd name="T24" fmla="*/ 75 w 88"/>
                <a:gd name="T25" fmla="*/ 52 h 93"/>
                <a:gd name="T26" fmla="*/ 75 w 88"/>
                <a:gd name="T27" fmla="*/ 52 h 93"/>
                <a:gd name="T28" fmla="*/ 75 w 88"/>
                <a:gd name="T29" fmla="*/ 52 h 93"/>
                <a:gd name="T30" fmla="*/ 75 w 88"/>
                <a:gd name="T31" fmla="*/ 52 h 93"/>
                <a:gd name="T32" fmla="*/ 75 w 88"/>
                <a:gd name="T33" fmla="*/ 52 h 93"/>
                <a:gd name="T34" fmla="*/ 75 w 88"/>
                <a:gd name="T35" fmla="*/ 52 h 93"/>
                <a:gd name="T36" fmla="*/ 75 w 88"/>
                <a:gd name="T37" fmla="*/ 52 h 93"/>
                <a:gd name="T38" fmla="*/ 75 w 88"/>
                <a:gd name="T39" fmla="*/ 51 h 93"/>
                <a:gd name="T40" fmla="*/ 75 w 88"/>
                <a:gd name="T41" fmla="*/ 51 h 93"/>
                <a:gd name="T42" fmla="*/ 75 w 88"/>
                <a:gd name="T43" fmla="*/ 51 h 93"/>
                <a:gd name="T44" fmla="*/ 75 w 88"/>
                <a:gd name="T45" fmla="*/ 51 h 93"/>
                <a:gd name="T46" fmla="*/ 74 w 88"/>
                <a:gd name="T47" fmla="*/ 51 h 93"/>
                <a:gd name="T48" fmla="*/ 74 w 88"/>
                <a:gd name="T49" fmla="*/ 51 h 93"/>
                <a:gd name="T50" fmla="*/ 74 w 88"/>
                <a:gd name="T51" fmla="*/ 51 h 93"/>
                <a:gd name="T52" fmla="*/ 74 w 88"/>
                <a:gd name="T53" fmla="*/ 51 h 93"/>
                <a:gd name="T54" fmla="*/ 74 w 88"/>
                <a:gd name="T55" fmla="*/ 51 h 93"/>
                <a:gd name="T56" fmla="*/ 74 w 88"/>
                <a:gd name="T57" fmla="*/ 51 h 93"/>
                <a:gd name="T58" fmla="*/ 74 w 88"/>
                <a:gd name="T59" fmla="*/ 51 h 93"/>
                <a:gd name="T60" fmla="*/ 74 w 88"/>
                <a:gd name="T61" fmla="*/ 51 h 93"/>
                <a:gd name="T62" fmla="*/ 74 w 88"/>
                <a:gd name="T63" fmla="*/ 51 h 93"/>
                <a:gd name="T64" fmla="*/ 74 w 88"/>
                <a:gd name="T65" fmla="*/ 51 h 93"/>
                <a:gd name="T66" fmla="*/ 74 w 88"/>
                <a:gd name="T67" fmla="*/ 50 h 93"/>
                <a:gd name="T68" fmla="*/ 74 w 88"/>
                <a:gd name="T69" fmla="*/ 50 h 93"/>
                <a:gd name="T70" fmla="*/ 74 w 88"/>
                <a:gd name="T71" fmla="*/ 50 h 93"/>
                <a:gd name="T72" fmla="*/ 74 w 88"/>
                <a:gd name="T73" fmla="*/ 50 h 93"/>
                <a:gd name="T74" fmla="*/ 74 w 88"/>
                <a:gd name="T75" fmla="*/ 50 h 93"/>
                <a:gd name="T76" fmla="*/ 74 w 88"/>
                <a:gd name="T77" fmla="*/ 50 h 93"/>
                <a:gd name="T78" fmla="*/ 74 w 88"/>
                <a:gd name="T79" fmla="*/ 50 h 93"/>
                <a:gd name="T80" fmla="*/ 73 w 88"/>
                <a:gd name="T81" fmla="*/ 50 h 93"/>
                <a:gd name="T82" fmla="*/ 73 w 88"/>
                <a:gd name="T83" fmla="*/ 50 h 93"/>
                <a:gd name="T84" fmla="*/ 73 w 88"/>
                <a:gd name="T85" fmla="*/ 50 h 93"/>
                <a:gd name="T86" fmla="*/ 73 w 88"/>
                <a:gd name="T87" fmla="*/ 50 h 93"/>
                <a:gd name="T88" fmla="*/ 73 w 88"/>
                <a:gd name="T89" fmla="*/ 50 h 93"/>
                <a:gd name="T90" fmla="*/ 73 w 88"/>
                <a:gd name="T91" fmla="*/ 50 h 93"/>
                <a:gd name="T92" fmla="*/ 73 w 88"/>
                <a:gd name="T93" fmla="*/ 50 h 93"/>
                <a:gd name="T94" fmla="*/ 73 w 88"/>
                <a:gd name="T95" fmla="*/ 50 h 93"/>
                <a:gd name="T96" fmla="*/ 73 w 88"/>
                <a:gd name="T97" fmla="*/ 49 h 93"/>
                <a:gd name="T98" fmla="*/ 73 w 88"/>
                <a:gd name="T99" fmla="*/ 49 h 93"/>
                <a:gd name="T100" fmla="*/ 73 w 88"/>
                <a:gd name="T101" fmla="*/ 49 h 93"/>
                <a:gd name="T102" fmla="*/ 73 w 88"/>
                <a:gd name="T103" fmla="*/ 49 h 93"/>
                <a:gd name="T104" fmla="*/ 73 w 88"/>
                <a:gd name="T105" fmla="*/ 49 h 93"/>
                <a:gd name="T106" fmla="*/ 72 w 88"/>
                <a:gd name="T107" fmla="*/ 49 h 93"/>
                <a:gd name="T108" fmla="*/ 72 w 88"/>
                <a:gd name="T109" fmla="*/ 49 h 93"/>
                <a:gd name="T110" fmla="*/ 72 w 88"/>
                <a:gd name="T111" fmla="*/ 49 h 93"/>
                <a:gd name="T112" fmla="*/ 72 w 88"/>
                <a:gd name="T113" fmla="*/ 49 h 93"/>
                <a:gd name="T114" fmla="*/ 72 w 88"/>
                <a:gd name="T115" fmla="*/ 48 h 93"/>
                <a:gd name="T116" fmla="*/ 72 w 88"/>
                <a:gd name="T117" fmla="*/ 48 h 93"/>
                <a:gd name="T118" fmla="*/ 27 w 88"/>
                <a:gd name="T119" fmla="*/ 0 h 93"/>
                <a:gd name="T120" fmla="*/ 0 w 88"/>
                <a:gd name="T121" fmla="*/ 29 h 93"/>
                <a:gd name="T122" fmla="*/ 55 w 88"/>
                <a:gd name="T12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8" h="93">
                  <a:moveTo>
                    <a:pt x="55" y="93"/>
                  </a:moveTo>
                  <a:lnTo>
                    <a:pt x="55" y="93"/>
                  </a:lnTo>
                  <a:lnTo>
                    <a:pt x="88" y="70"/>
                  </a:lnTo>
                  <a:cubicBezTo>
                    <a:pt x="84" y="64"/>
                    <a:pt x="80" y="58"/>
                    <a:pt x="76" y="53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6" y="53"/>
                    <a:pt x="76" y="53"/>
                    <a:pt x="76" y="53"/>
                  </a:cubicBezTo>
                  <a:lnTo>
                    <a:pt x="76" y="53"/>
                  </a:lnTo>
                  <a:cubicBezTo>
                    <a:pt x="76" y="53"/>
                    <a:pt x="76" y="53"/>
                    <a:pt x="76" y="53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2" y="49"/>
                    <a:pt x="72" y="49"/>
                    <a:pt x="72" y="49"/>
                  </a:cubicBezTo>
                  <a:lnTo>
                    <a:pt x="72" y="49"/>
                  </a:ln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58" y="31"/>
                    <a:pt x="43" y="15"/>
                    <a:pt x="27" y="0"/>
                  </a:cubicBezTo>
                  <a:lnTo>
                    <a:pt x="0" y="29"/>
                  </a:lnTo>
                  <a:cubicBezTo>
                    <a:pt x="20" y="48"/>
                    <a:pt x="39" y="70"/>
                    <a:pt x="55" y="93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42">
              <a:extLst>
                <a:ext uri="{FF2B5EF4-FFF2-40B4-BE49-F238E27FC236}">
                  <a16:creationId xmlns:a16="http://schemas.microsoft.com/office/drawing/2014/main" id="{02E928E7-92AE-3609-0A1B-AE23087C7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7" y="1914"/>
              <a:ext cx="43" cy="27"/>
            </a:xfrm>
            <a:custGeom>
              <a:avLst/>
              <a:gdLst>
                <a:gd name="T0" fmla="*/ 62 w 96"/>
                <a:gd name="T1" fmla="*/ 10 h 58"/>
                <a:gd name="T2" fmla="*/ 61 w 96"/>
                <a:gd name="T3" fmla="*/ 9 h 58"/>
                <a:gd name="T4" fmla="*/ 61 w 96"/>
                <a:gd name="T5" fmla="*/ 9 h 58"/>
                <a:gd name="T6" fmla="*/ 61 w 96"/>
                <a:gd name="T7" fmla="*/ 9 h 58"/>
                <a:gd name="T8" fmla="*/ 60 w 96"/>
                <a:gd name="T9" fmla="*/ 9 h 58"/>
                <a:gd name="T10" fmla="*/ 59 w 96"/>
                <a:gd name="T11" fmla="*/ 9 h 58"/>
                <a:gd name="T12" fmla="*/ 59 w 96"/>
                <a:gd name="T13" fmla="*/ 9 h 58"/>
                <a:gd name="T14" fmla="*/ 59 w 96"/>
                <a:gd name="T15" fmla="*/ 9 h 58"/>
                <a:gd name="T16" fmla="*/ 59 w 96"/>
                <a:gd name="T17" fmla="*/ 9 h 58"/>
                <a:gd name="T18" fmla="*/ 58 w 96"/>
                <a:gd name="T19" fmla="*/ 9 h 58"/>
                <a:gd name="T20" fmla="*/ 58 w 96"/>
                <a:gd name="T21" fmla="*/ 9 h 58"/>
                <a:gd name="T22" fmla="*/ 58 w 96"/>
                <a:gd name="T23" fmla="*/ 9 h 58"/>
                <a:gd name="T24" fmla="*/ 57 w 96"/>
                <a:gd name="T25" fmla="*/ 8 h 58"/>
                <a:gd name="T26" fmla="*/ 57 w 96"/>
                <a:gd name="T27" fmla="*/ 8 h 58"/>
                <a:gd name="T28" fmla="*/ 57 w 96"/>
                <a:gd name="T29" fmla="*/ 8 h 58"/>
                <a:gd name="T30" fmla="*/ 57 w 96"/>
                <a:gd name="T31" fmla="*/ 8 h 58"/>
                <a:gd name="T32" fmla="*/ 56 w 96"/>
                <a:gd name="T33" fmla="*/ 8 h 58"/>
                <a:gd name="T34" fmla="*/ 56 w 96"/>
                <a:gd name="T35" fmla="*/ 8 h 58"/>
                <a:gd name="T36" fmla="*/ 56 w 96"/>
                <a:gd name="T37" fmla="*/ 8 h 58"/>
                <a:gd name="T38" fmla="*/ 55 w 96"/>
                <a:gd name="T39" fmla="*/ 8 h 58"/>
                <a:gd name="T40" fmla="*/ 55 w 96"/>
                <a:gd name="T41" fmla="*/ 8 h 58"/>
                <a:gd name="T42" fmla="*/ 55 w 96"/>
                <a:gd name="T43" fmla="*/ 8 h 58"/>
                <a:gd name="T44" fmla="*/ 55 w 96"/>
                <a:gd name="T45" fmla="*/ 8 h 58"/>
                <a:gd name="T46" fmla="*/ 54 w 96"/>
                <a:gd name="T47" fmla="*/ 8 h 58"/>
                <a:gd name="T48" fmla="*/ 54 w 96"/>
                <a:gd name="T49" fmla="*/ 8 h 58"/>
                <a:gd name="T50" fmla="*/ 54 w 96"/>
                <a:gd name="T51" fmla="*/ 8 h 58"/>
                <a:gd name="T52" fmla="*/ 53 w 96"/>
                <a:gd name="T53" fmla="*/ 8 h 58"/>
                <a:gd name="T54" fmla="*/ 53 w 96"/>
                <a:gd name="T55" fmla="*/ 7 h 58"/>
                <a:gd name="T56" fmla="*/ 53 w 96"/>
                <a:gd name="T57" fmla="*/ 7 h 58"/>
                <a:gd name="T58" fmla="*/ 52 w 96"/>
                <a:gd name="T59" fmla="*/ 7 h 58"/>
                <a:gd name="T60" fmla="*/ 52 w 96"/>
                <a:gd name="T61" fmla="*/ 7 h 58"/>
                <a:gd name="T62" fmla="*/ 52 w 96"/>
                <a:gd name="T63" fmla="*/ 7 h 58"/>
                <a:gd name="T64" fmla="*/ 52 w 96"/>
                <a:gd name="T65" fmla="*/ 7 h 58"/>
                <a:gd name="T66" fmla="*/ 51 w 96"/>
                <a:gd name="T67" fmla="*/ 7 h 58"/>
                <a:gd name="T68" fmla="*/ 50 w 96"/>
                <a:gd name="T69" fmla="*/ 7 h 58"/>
                <a:gd name="T70" fmla="*/ 50 w 96"/>
                <a:gd name="T71" fmla="*/ 7 h 58"/>
                <a:gd name="T72" fmla="*/ 23 w 96"/>
                <a:gd name="T73" fmla="*/ 2 h 58"/>
                <a:gd name="T74" fmla="*/ 22 w 96"/>
                <a:gd name="T75" fmla="*/ 2 h 58"/>
                <a:gd name="T76" fmla="*/ 22 w 96"/>
                <a:gd name="T77" fmla="*/ 2 h 58"/>
                <a:gd name="T78" fmla="*/ 21 w 96"/>
                <a:gd name="T79" fmla="*/ 2 h 58"/>
                <a:gd name="T80" fmla="*/ 21 w 96"/>
                <a:gd name="T81" fmla="*/ 2 h 58"/>
                <a:gd name="T82" fmla="*/ 20 w 96"/>
                <a:gd name="T83" fmla="*/ 2 h 58"/>
                <a:gd name="T84" fmla="*/ 20 w 96"/>
                <a:gd name="T85" fmla="*/ 2 h 58"/>
                <a:gd name="T86" fmla="*/ 19 w 96"/>
                <a:gd name="T87" fmla="*/ 2 h 58"/>
                <a:gd name="T88" fmla="*/ 19 w 96"/>
                <a:gd name="T89" fmla="*/ 2 h 58"/>
                <a:gd name="T90" fmla="*/ 19 w 96"/>
                <a:gd name="T91" fmla="*/ 2 h 58"/>
                <a:gd name="T92" fmla="*/ 19 w 96"/>
                <a:gd name="T93" fmla="*/ 2 h 58"/>
                <a:gd name="T94" fmla="*/ 18 w 96"/>
                <a:gd name="T95" fmla="*/ 2 h 58"/>
                <a:gd name="T96" fmla="*/ 18 w 96"/>
                <a:gd name="T97" fmla="*/ 2 h 58"/>
                <a:gd name="T98" fmla="*/ 18 w 96"/>
                <a:gd name="T99" fmla="*/ 2 h 58"/>
                <a:gd name="T100" fmla="*/ 17 w 96"/>
                <a:gd name="T101" fmla="*/ 2 h 58"/>
                <a:gd name="T102" fmla="*/ 17 w 96"/>
                <a:gd name="T103" fmla="*/ 2 h 58"/>
                <a:gd name="T104" fmla="*/ 17 w 96"/>
                <a:gd name="T105" fmla="*/ 2 h 58"/>
                <a:gd name="T106" fmla="*/ 17 w 96"/>
                <a:gd name="T107" fmla="*/ 2 h 58"/>
                <a:gd name="T108" fmla="*/ 16 w 96"/>
                <a:gd name="T109" fmla="*/ 2 h 58"/>
                <a:gd name="T110" fmla="*/ 16 w 96"/>
                <a:gd name="T111" fmla="*/ 1 h 58"/>
                <a:gd name="T112" fmla="*/ 15 w 96"/>
                <a:gd name="T113" fmla="*/ 1 h 58"/>
                <a:gd name="T114" fmla="*/ 15 w 96"/>
                <a:gd name="T115" fmla="*/ 1 h 58"/>
                <a:gd name="T116" fmla="*/ 15 w 96"/>
                <a:gd name="T117" fmla="*/ 1 h 58"/>
                <a:gd name="T118" fmla="*/ 0 w 96"/>
                <a:gd name="T119" fmla="*/ 3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" h="58">
                  <a:moveTo>
                    <a:pt x="96" y="20"/>
                  </a:moveTo>
                  <a:lnTo>
                    <a:pt x="96" y="20"/>
                  </a:lnTo>
                  <a:cubicBezTo>
                    <a:pt x="85" y="16"/>
                    <a:pt x="74" y="13"/>
                    <a:pt x="62" y="10"/>
                  </a:cubicBezTo>
                  <a:cubicBezTo>
                    <a:pt x="62" y="10"/>
                    <a:pt x="62" y="10"/>
                    <a:pt x="61" y="9"/>
                  </a:cubicBezTo>
                  <a:lnTo>
                    <a:pt x="61" y="9"/>
                  </a:lnTo>
                  <a:cubicBezTo>
                    <a:pt x="61" y="9"/>
                    <a:pt x="61" y="9"/>
                    <a:pt x="61" y="9"/>
                  </a:cubicBezTo>
                  <a:lnTo>
                    <a:pt x="61" y="9"/>
                  </a:lnTo>
                  <a:cubicBezTo>
                    <a:pt x="61" y="9"/>
                    <a:pt x="61" y="9"/>
                    <a:pt x="61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1" y="9"/>
                    <a:pt x="60" y="9"/>
                    <a:pt x="60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8" y="9"/>
                    <a:pt x="58" y="9"/>
                  </a:cubicBezTo>
                  <a:lnTo>
                    <a:pt x="58" y="9"/>
                  </a:ln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8"/>
                    <a:pt x="57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7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3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lnTo>
                    <a:pt x="53" y="8"/>
                  </a:lnTo>
                  <a:cubicBezTo>
                    <a:pt x="53" y="8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lnTo>
                    <a:pt x="53" y="7"/>
                  </a:lnTo>
                  <a:cubicBezTo>
                    <a:pt x="53" y="7"/>
                    <a:pt x="53" y="7"/>
                    <a:pt x="53" y="7"/>
                  </a:cubicBezTo>
                  <a:lnTo>
                    <a:pt x="53" y="7"/>
                  </a:lnTo>
                  <a:cubicBezTo>
                    <a:pt x="53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lnTo>
                    <a:pt x="52" y="7"/>
                  </a:lnTo>
                  <a:cubicBezTo>
                    <a:pt x="51" y="7"/>
                    <a:pt x="51" y="7"/>
                    <a:pt x="51" y="7"/>
                  </a:cubicBezTo>
                  <a:lnTo>
                    <a:pt x="51" y="7"/>
                  </a:ln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0" y="7"/>
                  </a:cubicBezTo>
                  <a:lnTo>
                    <a:pt x="50" y="7"/>
                  </a:lnTo>
                  <a:cubicBezTo>
                    <a:pt x="50" y="7"/>
                    <a:pt x="50" y="7"/>
                    <a:pt x="50" y="7"/>
                  </a:cubicBezTo>
                  <a:lnTo>
                    <a:pt x="50" y="7"/>
                  </a:ln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49" y="7"/>
                    <a:pt x="49" y="6"/>
                  </a:cubicBezTo>
                  <a:cubicBezTo>
                    <a:pt x="40" y="6"/>
                    <a:pt x="31" y="4"/>
                    <a:pt x="23" y="2"/>
                  </a:cubicBezTo>
                  <a:lnTo>
                    <a:pt x="23" y="2"/>
                  </a:lnTo>
                  <a:cubicBezTo>
                    <a:pt x="23" y="2"/>
                    <a:pt x="22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lnTo>
                    <a:pt x="22" y="2"/>
                  </a:ln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lnTo>
                    <a:pt x="20" y="2"/>
                  </a:lnTo>
                  <a:cubicBezTo>
                    <a:pt x="20" y="2"/>
                    <a:pt x="20" y="2"/>
                    <a:pt x="20" y="2"/>
                  </a:cubicBezTo>
                  <a:lnTo>
                    <a:pt x="20" y="2"/>
                  </a:lnTo>
                  <a:cubicBezTo>
                    <a:pt x="20" y="2"/>
                    <a:pt x="19" y="2"/>
                    <a:pt x="19" y="2"/>
                  </a:cubicBezTo>
                  <a:lnTo>
                    <a:pt x="19" y="2"/>
                  </a:ln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2" y="1"/>
                    <a:pt x="8" y="0"/>
                    <a:pt x="5" y="0"/>
                  </a:cubicBezTo>
                  <a:lnTo>
                    <a:pt x="0" y="39"/>
                  </a:lnTo>
                  <a:cubicBezTo>
                    <a:pt x="29" y="42"/>
                    <a:pt x="56" y="49"/>
                    <a:pt x="83" y="58"/>
                  </a:cubicBezTo>
                  <a:lnTo>
                    <a:pt x="96" y="20"/>
                  </a:ln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43">
              <a:extLst>
                <a:ext uri="{FF2B5EF4-FFF2-40B4-BE49-F238E27FC236}">
                  <a16:creationId xmlns:a16="http://schemas.microsoft.com/office/drawing/2014/main" id="{642D173C-69F5-D513-672A-50C70DEA7F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0" y="1930"/>
              <a:ext cx="44" cy="37"/>
            </a:xfrm>
            <a:custGeom>
              <a:avLst/>
              <a:gdLst>
                <a:gd name="T0" fmla="*/ 83 w 97"/>
                <a:gd name="T1" fmla="*/ 38 h 80"/>
                <a:gd name="T2" fmla="*/ 82 w 97"/>
                <a:gd name="T3" fmla="*/ 37 h 80"/>
                <a:gd name="T4" fmla="*/ 82 w 97"/>
                <a:gd name="T5" fmla="*/ 37 h 80"/>
                <a:gd name="T6" fmla="*/ 82 w 97"/>
                <a:gd name="T7" fmla="*/ 37 h 80"/>
                <a:gd name="T8" fmla="*/ 81 w 97"/>
                <a:gd name="T9" fmla="*/ 37 h 80"/>
                <a:gd name="T10" fmla="*/ 81 w 97"/>
                <a:gd name="T11" fmla="*/ 36 h 80"/>
                <a:gd name="T12" fmla="*/ 81 w 97"/>
                <a:gd name="T13" fmla="*/ 36 h 80"/>
                <a:gd name="T14" fmla="*/ 81 w 97"/>
                <a:gd name="T15" fmla="*/ 36 h 80"/>
                <a:gd name="T16" fmla="*/ 80 w 97"/>
                <a:gd name="T17" fmla="*/ 36 h 80"/>
                <a:gd name="T18" fmla="*/ 80 w 97"/>
                <a:gd name="T19" fmla="*/ 36 h 80"/>
                <a:gd name="T20" fmla="*/ 80 w 97"/>
                <a:gd name="T21" fmla="*/ 36 h 80"/>
                <a:gd name="T22" fmla="*/ 80 w 97"/>
                <a:gd name="T23" fmla="*/ 35 h 80"/>
                <a:gd name="T24" fmla="*/ 79 w 97"/>
                <a:gd name="T25" fmla="*/ 35 h 80"/>
                <a:gd name="T26" fmla="*/ 79 w 97"/>
                <a:gd name="T27" fmla="*/ 35 h 80"/>
                <a:gd name="T28" fmla="*/ 79 w 97"/>
                <a:gd name="T29" fmla="*/ 35 h 80"/>
                <a:gd name="T30" fmla="*/ 79 w 97"/>
                <a:gd name="T31" fmla="*/ 35 h 80"/>
                <a:gd name="T32" fmla="*/ 79 w 97"/>
                <a:gd name="T33" fmla="*/ 35 h 80"/>
                <a:gd name="T34" fmla="*/ 78 w 97"/>
                <a:gd name="T35" fmla="*/ 34 h 80"/>
                <a:gd name="T36" fmla="*/ 78 w 97"/>
                <a:gd name="T37" fmla="*/ 34 h 80"/>
                <a:gd name="T38" fmla="*/ 78 w 97"/>
                <a:gd name="T39" fmla="*/ 34 h 80"/>
                <a:gd name="T40" fmla="*/ 77 w 97"/>
                <a:gd name="T41" fmla="*/ 34 h 80"/>
                <a:gd name="T42" fmla="*/ 77 w 97"/>
                <a:gd name="T43" fmla="*/ 34 h 80"/>
                <a:gd name="T44" fmla="*/ 76 w 97"/>
                <a:gd name="T45" fmla="*/ 33 h 80"/>
                <a:gd name="T46" fmla="*/ 76 w 97"/>
                <a:gd name="T47" fmla="*/ 33 h 80"/>
                <a:gd name="T48" fmla="*/ 41 w 97"/>
                <a:gd name="T49" fmla="*/ 12 h 80"/>
                <a:gd name="T50" fmla="*/ 41 w 97"/>
                <a:gd name="T51" fmla="*/ 12 h 80"/>
                <a:gd name="T52" fmla="*/ 41 w 97"/>
                <a:gd name="T53" fmla="*/ 12 h 80"/>
                <a:gd name="T54" fmla="*/ 41 w 97"/>
                <a:gd name="T55" fmla="*/ 12 h 80"/>
                <a:gd name="T56" fmla="*/ 40 w 97"/>
                <a:gd name="T57" fmla="*/ 11 h 80"/>
                <a:gd name="T58" fmla="*/ 40 w 97"/>
                <a:gd name="T59" fmla="*/ 11 h 80"/>
                <a:gd name="T60" fmla="*/ 40 w 97"/>
                <a:gd name="T61" fmla="*/ 11 h 80"/>
                <a:gd name="T62" fmla="*/ 40 w 97"/>
                <a:gd name="T63" fmla="*/ 11 h 80"/>
                <a:gd name="T64" fmla="*/ 39 w 97"/>
                <a:gd name="T65" fmla="*/ 11 h 80"/>
                <a:gd name="T66" fmla="*/ 39 w 97"/>
                <a:gd name="T67" fmla="*/ 11 h 80"/>
                <a:gd name="T68" fmla="*/ 39 w 97"/>
                <a:gd name="T69" fmla="*/ 11 h 80"/>
                <a:gd name="T70" fmla="*/ 39 w 97"/>
                <a:gd name="T71" fmla="*/ 11 h 80"/>
                <a:gd name="T72" fmla="*/ 38 w 97"/>
                <a:gd name="T73" fmla="*/ 10 h 80"/>
                <a:gd name="T74" fmla="*/ 38 w 97"/>
                <a:gd name="T75" fmla="*/ 10 h 80"/>
                <a:gd name="T76" fmla="*/ 38 w 97"/>
                <a:gd name="T77" fmla="*/ 10 h 80"/>
                <a:gd name="T78" fmla="*/ 37 w 97"/>
                <a:gd name="T79" fmla="*/ 10 h 80"/>
                <a:gd name="T80" fmla="*/ 37 w 97"/>
                <a:gd name="T81" fmla="*/ 10 h 80"/>
                <a:gd name="T82" fmla="*/ 37 w 97"/>
                <a:gd name="T83" fmla="*/ 9 h 80"/>
                <a:gd name="T84" fmla="*/ 36 w 97"/>
                <a:gd name="T85" fmla="*/ 9 h 80"/>
                <a:gd name="T86" fmla="*/ 36 w 97"/>
                <a:gd name="T87" fmla="*/ 9 h 80"/>
                <a:gd name="T88" fmla="*/ 35 w 97"/>
                <a:gd name="T89" fmla="*/ 9 h 80"/>
                <a:gd name="T90" fmla="*/ 0 w 97"/>
                <a:gd name="T91" fmla="*/ 3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80">
                  <a:moveTo>
                    <a:pt x="97" y="48"/>
                  </a:moveTo>
                  <a:lnTo>
                    <a:pt x="97" y="48"/>
                  </a:lnTo>
                  <a:cubicBezTo>
                    <a:pt x="93" y="44"/>
                    <a:pt x="88" y="41"/>
                    <a:pt x="83" y="38"/>
                  </a:cubicBezTo>
                  <a:lnTo>
                    <a:pt x="83" y="38"/>
                  </a:lnTo>
                  <a:cubicBezTo>
                    <a:pt x="83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1" y="37"/>
                    <a:pt x="81" y="37"/>
                    <a:pt x="81" y="37"/>
                  </a:cubicBezTo>
                  <a:lnTo>
                    <a:pt x="81" y="37"/>
                  </a:ln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6"/>
                    <a:pt x="80" y="35"/>
                    <a:pt x="80" y="35"/>
                  </a:cubicBezTo>
                  <a:cubicBezTo>
                    <a:pt x="80" y="35"/>
                    <a:pt x="80" y="35"/>
                    <a:pt x="80" y="35"/>
                  </a:cubicBezTo>
                  <a:cubicBezTo>
                    <a:pt x="80" y="35"/>
                    <a:pt x="80" y="35"/>
                    <a:pt x="80" y="35"/>
                  </a:cubicBezTo>
                  <a:cubicBezTo>
                    <a:pt x="80" y="35"/>
                    <a:pt x="80" y="35"/>
                    <a:pt x="80" y="35"/>
                  </a:cubicBezTo>
                  <a:cubicBezTo>
                    <a:pt x="80" y="35"/>
                    <a:pt x="80" y="35"/>
                    <a:pt x="80" y="35"/>
                  </a:cubicBezTo>
                  <a:cubicBezTo>
                    <a:pt x="80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8" y="35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3"/>
                    <a:pt x="77" y="33"/>
                    <a:pt x="76" y="33"/>
                  </a:cubicBezTo>
                  <a:cubicBezTo>
                    <a:pt x="76" y="33"/>
                    <a:pt x="76" y="33"/>
                    <a:pt x="76" y="33"/>
                  </a:cubicBezTo>
                  <a:cubicBezTo>
                    <a:pt x="76" y="33"/>
                    <a:pt x="76" y="33"/>
                    <a:pt x="76" y="33"/>
                  </a:cubicBezTo>
                  <a:cubicBezTo>
                    <a:pt x="76" y="33"/>
                    <a:pt x="76" y="33"/>
                    <a:pt x="76" y="33"/>
                  </a:cubicBezTo>
                  <a:lnTo>
                    <a:pt x="76" y="33"/>
                  </a:lnTo>
                  <a:cubicBezTo>
                    <a:pt x="76" y="33"/>
                    <a:pt x="76" y="33"/>
                    <a:pt x="76" y="33"/>
                  </a:cubicBezTo>
                  <a:cubicBezTo>
                    <a:pt x="76" y="33"/>
                    <a:pt x="76" y="33"/>
                    <a:pt x="76" y="33"/>
                  </a:cubicBezTo>
                  <a:cubicBezTo>
                    <a:pt x="65" y="25"/>
                    <a:pt x="53" y="19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lnTo>
                    <a:pt x="41" y="12"/>
                  </a:ln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lnTo>
                    <a:pt x="41" y="12"/>
                  </a:lnTo>
                  <a:cubicBezTo>
                    <a:pt x="41" y="12"/>
                    <a:pt x="41" y="12"/>
                    <a:pt x="41" y="12"/>
                  </a:cubicBezTo>
                  <a:lnTo>
                    <a:pt x="41" y="12"/>
                  </a:lnTo>
                  <a:cubicBezTo>
                    <a:pt x="40" y="12"/>
                    <a:pt x="40" y="12"/>
                    <a:pt x="40" y="12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lnTo>
                    <a:pt x="40" y="11"/>
                  </a:lnTo>
                  <a:cubicBezTo>
                    <a:pt x="40" y="11"/>
                    <a:pt x="40" y="11"/>
                    <a:pt x="40" y="11"/>
                  </a:cubicBezTo>
                  <a:lnTo>
                    <a:pt x="40" y="11"/>
                  </a:lnTo>
                  <a:cubicBezTo>
                    <a:pt x="40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8" y="11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lnTo>
                    <a:pt x="36" y="9"/>
                  </a:lnTo>
                  <a:cubicBezTo>
                    <a:pt x="36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29" y="6"/>
                    <a:pt x="23" y="3"/>
                    <a:pt x="17" y="0"/>
                  </a:cubicBezTo>
                  <a:lnTo>
                    <a:pt x="0" y="37"/>
                  </a:lnTo>
                  <a:cubicBezTo>
                    <a:pt x="26" y="48"/>
                    <a:pt x="50" y="63"/>
                    <a:pt x="73" y="80"/>
                  </a:cubicBezTo>
                  <a:lnTo>
                    <a:pt x="97" y="48"/>
                  </a:ln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44">
              <a:extLst>
                <a:ext uri="{FF2B5EF4-FFF2-40B4-BE49-F238E27FC236}">
                  <a16:creationId xmlns:a16="http://schemas.microsoft.com/office/drawing/2014/main" id="{E88183C6-3736-EC6D-B0D0-D75389AA0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2" y="2047"/>
              <a:ext cx="26" cy="43"/>
            </a:xfrm>
            <a:custGeom>
              <a:avLst/>
              <a:gdLst>
                <a:gd name="T0" fmla="*/ 57 w 57"/>
                <a:gd name="T1" fmla="*/ 13 h 95"/>
                <a:gd name="T2" fmla="*/ 57 w 57"/>
                <a:gd name="T3" fmla="*/ 13 h 95"/>
                <a:gd name="T4" fmla="*/ 19 w 57"/>
                <a:gd name="T5" fmla="*/ 0 h 95"/>
                <a:gd name="T6" fmla="*/ 0 w 57"/>
                <a:gd name="T7" fmla="*/ 91 h 95"/>
                <a:gd name="T8" fmla="*/ 40 w 57"/>
                <a:gd name="T9" fmla="*/ 95 h 95"/>
                <a:gd name="T10" fmla="*/ 57 w 57"/>
                <a:gd name="T11" fmla="*/ 1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95">
                  <a:moveTo>
                    <a:pt x="57" y="13"/>
                  </a:moveTo>
                  <a:lnTo>
                    <a:pt x="57" y="13"/>
                  </a:lnTo>
                  <a:lnTo>
                    <a:pt x="19" y="0"/>
                  </a:lnTo>
                  <a:cubicBezTo>
                    <a:pt x="9" y="29"/>
                    <a:pt x="3" y="60"/>
                    <a:pt x="0" y="91"/>
                  </a:cubicBezTo>
                  <a:lnTo>
                    <a:pt x="40" y="95"/>
                  </a:lnTo>
                  <a:cubicBezTo>
                    <a:pt x="42" y="67"/>
                    <a:pt x="48" y="39"/>
                    <a:pt x="57" y="13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45">
              <a:extLst>
                <a:ext uri="{FF2B5EF4-FFF2-40B4-BE49-F238E27FC236}">
                  <a16:creationId xmlns:a16="http://schemas.microsoft.com/office/drawing/2014/main" id="{391FC21C-8096-73B1-5649-58EC1B69C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" y="2161"/>
              <a:ext cx="33" cy="45"/>
            </a:xfrm>
            <a:custGeom>
              <a:avLst/>
              <a:gdLst>
                <a:gd name="T0" fmla="*/ 39 w 73"/>
                <a:gd name="T1" fmla="*/ 0 h 97"/>
                <a:gd name="T2" fmla="*/ 21 w 73"/>
                <a:gd name="T3" fmla="*/ 64 h 97"/>
                <a:gd name="T4" fmla="*/ 21 w 73"/>
                <a:gd name="T5" fmla="*/ 65 h 97"/>
                <a:gd name="T6" fmla="*/ 21 w 73"/>
                <a:gd name="T7" fmla="*/ 65 h 97"/>
                <a:gd name="T8" fmla="*/ 21 w 73"/>
                <a:gd name="T9" fmla="*/ 65 h 97"/>
                <a:gd name="T10" fmla="*/ 22 w 73"/>
                <a:gd name="T11" fmla="*/ 66 h 97"/>
                <a:gd name="T12" fmla="*/ 22 w 73"/>
                <a:gd name="T13" fmla="*/ 66 h 97"/>
                <a:gd name="T14" fmla="*/ 22 w 73"/>
                <a:gd name="T15" fmla="*/ 66 h 97"/>
                <a:gd name="T16" fmla="*/ 22 w 73"/>
                <a:gd name="T17" fmla="*/ 66 h 97"/>
                <a:gd name="T18" fmla="*/ 22 w 73"/>
                <a:gd name="T19" fmla="*/ 66 h 97"/>
                <a:gd name="T20" fmla="*/ 22 w 73"/>
                <a:gd name="T21" fmla="*/ 67 h 97"/>
                <a:gd name="T22" fmla="*/ 22 w 73"/>
                <a:gd name="T23" fmla="*/ 67 h 97"/>
                <a:gd name="T24" fmla="*/ 22 w 73"/>
                <a:gd name="T25" fmla="*/ 67 h 97"/>
                <a:gd name="T26" fmla="*/ 22 w 73"/>
                <a:gd name="T27" fmla="*/ 67 h 97"/>
                <a:gd name="T28" fmla="*/ 22 w 73"/>
                <a:gd name="T29" fmla="*/ 67 h 97"/>
                <a:gd name="T30" fmla="*/ 22 w 73"/>
                <a:gd name="T31" fmla="*/ 68 h 97"/>
                <a:gd name="T32" fmla="*/ 23 w 73"/>
                <a:gd name="T33" fmla="*/ 68 h 97"/>
                <a:gd name="T34" fmla="*/ 23 w 73"/>
                <a:gd name="T35" fmla="*/ 68 h 97"/>
                <a:gd name="T36" fmla="*/ 23 w 73"/>
                <a:gd name="T37" fmla="*/ 68 h 97"/>
                <a:gd name="T38" fmla="*/ 23 w 73"/>
                <a:gd name="T39" fmla="*/ 69 h 97"/>
                <a:gd name="T40" fmla="*/ 23 w 73"/>
                <a:gd name="T41" fmla="*/ 69 h 97"/>
                <a:gd name="T42" fmla="*/ 23 w 73"/>
                <a:gd name="T43" fmla="*/ 69 h 97"/>
                <a:gd name="T44" fmla="*/ 23 w 73"/>
                <a:gd name="T45" fmla="*/ 69 h 97"/>
                <a:gd name="T46" fmla="*/ 23 w 73"/>
                <a:gd name="T47" fmla="*/ 69 h 97"/>
                <a:gd name="T48" fmla="*/ 23 w 73"/>
                <a:gd name="T49" fmla="*/ 69 h 97"/>
                <a:gd name="T50" fmla="*/ 23 w 73"/>
                <a:gd name="T51" fmla="*/ 70 h 97"/>
                <a:gd name="T52" fmla="*/ 23 w 73"/>
                <a:gd name="T53" fmla="*/ 70 h 97"/>
                <a:gd name="T54" fmla="*/ 24 w 73"/>
                <a:gd name="T55" fmla="*/ 70 h 97"/>
                <a:gd name="T56" fmla="*/ 24 w 73"/>
                <a:gd name="T57" fmla="*/ 70 h 97"/>
                <a:gd name="T58" fmla="*/ 24 w 73"/>
                <a:gd name="T59" fmla="*/ 70 h 97"/>
                <a:gd name="T60" fmla="*/ 24 w 73"/>
                <a:gd name="T61" fmla="*/ 71 h 97"/>
                <a:gd name="T62" fmla="*/ 24 w 73"/>
                <a:gd name="T63" fmla="*/ 71 h 97"/>
                <a:gd name="T64" fmla="*/ 24 w 73"/>
                <a:gd name="T65" fmla="*/ 71 h 97"/>
                <a:gd name="T66" fmla="*/ 24 w 73"/>
                <a:gd name="T67" fmla="*/ 71 h 97"/>
                <a:gd name="T68" fmla="*/ 24 w 73"/>
                <a:gd name="T69" fmla="*/ 71 h 97"/>
                <a:gd name="T70" fmla="*/ 25 w 73"/>
                <a:gd name="T71" fmla="*/ 72 h 97"/>
                <a:gd name="T72" fmla="*/ 25 w 73"/>
                <a:gd name="T73" fmla="*/ 72 h 97"/>
                <a:gd name="T74" fmla="*/ 73 w 73"/>
                <a:gd name="T75" fmla="*/ 7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97">
                  <a:moveTo>
                    <a:pt x="39" y="0"/>
                  </a:moveTo>
                  <a:lnTo>
                    <a:pt x="39" y="0"/>
                  </a:lnTo>
                  <a:lnTo>
                    <a:pt x="0" y="12"/>
                  </a:lnTo>
                  <a:cubicBezTo>
                    <a:pt x="6" y="30"/>
                    <a:pt x="13" y="47"/>
                    <a:pt x="21" y="64"/>
                  </a:cubicBezTo>
                  <a:cubicBezTo>
                    <a:pt x="21" y="64"/>
                    <a:pt x="21" y="64"/>
                    <a:pt x="21" y="65"/>
                  </a:cubicBezTo>
                  <a:lnTo>
                    <a:pt x="21" y="65"/>
                  </a:lnTo>
                  <a:cubicBezTo>
                    <a:pt x="21" y="65"/>
                    <a:pt x="21" y="65"/>
                    <a:pt x="21" y="65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1" y="65"/>
                    <a:pt x="21" y="65"/>
                    <a:pt x="21" y="65"/>
                  </a:cubicBezTo>
                  <a:lnTo>
                    <a:pt x="21" y="65"/>
                  </a:lnTo>
                  <a:cubicBezTo>
                    <a:pt x="21" y="65"/>
                    <a:pt x="21" y="65"/>
                    <a:pt x="22" y="66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2" y="66"/>
                    <a:pt x="22" y="66"/>
                    <a:pt x="22" y="66"/>
                  </a:cubicBezTo>
                  <a:lnTo>
                    <a:pt x="22" y="66"/>
                  </a:lnTo>
                  <a:cubicBezTo>
                    <a:pt x="22" y="66"/>
                    <a:pt x="22" y="66"/>
                    <a:pt x="22" y="66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2"/>
                    <a:pt x="25" y="72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9" y="81"/>
                    <a:pt x="33" y="89"/>
                    <a:pt x="38" y="97"/>
                  </a:cubicBezTo>
                  <a:lnTo>
                    <a:pt x="73" y="77"/>
                  </a:lnTo>
                  <a:cubicBezTo>
                    <a:pt x="59" y="53"/>
                    <a:pt x="47" y="27"/>
                    <a:pt x="39" y="0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46">
              <a:extLst>
                <a:ext uri="{FF2B5EF4-FFF2-40B4-BE49-F238E27FC236}">
                  <a16:creationId xmlns:a16="http://schemas.microsoft.com/office/drawing/2014/main" id="{F5D8EF41-D80A-41D1-C6AF-A5A83F476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2181"/>
              <a:ext cx="37" cy="44"/>
            </a:xfrm>
            <a:custGeom>
              <a:avLst/>
              <a:gdLst>
                <a:gd name="T0" fmla="*/ 0 w 80"/>
                <a:gd name="T1" fmla="*/ 73 h 97"/>
                <a:gd name="T2" fmla="*/ 0 w 80"/>
                <a:gd name="T3" fmla="*/ 73 h 97"/>
                <a:gd name="T4" fmla="*/ 32 w 80"/>
                <a:gd name="T5" fmla="*/ 97 h 97"/>
                <a:gd name="T6" fmla="*/ 33 w 80"/>
                <a:gd name="T7" fmla="*/ 97 h 97"/>
                <a:gd name="T8" fmla="*/ 33 w 80"/>
                <a:gd name="T9" fmla="*/ 96 h 97"/>
                <a:gd name="T10" fmla="*/ 33 w 80"/>
                <a:gd name="T11" fmla="*/ 96 h 97"/>
                <a:gd name="T12" fmla="*/ 33 w 80"/>
                <a:gd name="T13" fmla="*/ 96 h 97"/>
                <a:gd name="T14" fmla="*/ 33 w 80"/>
                <a:gd name="T15" fmla="*/ 96 h 97"/>
                <a:gd name="T16" fmla="*/ 33 w 80"/>
                <a:gd name="T17" fmla="*/ 96 h 97"/>
                <a:gd name="T18" fmla="*/ 33 w 80"/>
                <a:gd name="T19" fmla="*/ 96 h 97"/>
                <a:gd name="T20" fmla="*/ 33 w 80"/>
                <a:gd name="T21" fmla="*/ 96 h 97"/>
                <a:gd name="T22" fmla="*/ 33 w 80"/>
                <a:gd name="T23" fmla="*/ 96 h 97"/>
                <a:gd name="T24" fmla="*/ 33 w 80"/>
                <a:gd name="T25" fmla="*/ 96 h 97"/>
                <a:gd name="T26" fmla="*/ 33 w 80"/>
                <a:gd name="T27" fmla="*/ 96 h 97"/>
                <a:gd name="T28" fmla="*/ 33 w 80"/>
                <a:gd name="T29" fmla="*/ 96 h 97"/>
                <a:gd name="T30" fmla="*/ 33 w 80"/>
                <a:gd name="T31" fmla="*/ 96 h 97"/>
                <a:gd name="T32" fmla="*/ 34 w 80"/>
                <a:gd name="T33" fmla="*/ 96 h 97"/>
                <a:gd name="T34" fmla="*/ 34 w 80"/>
                <a:gd name="T35" fmla="*/ 95 h 97"/>
                <a:gd name="T36" fmla="*/ 34 w 80"/>
                <a:gd name="T37" fmla="*/ 95 h 97"/>
                <a:gd name="T38" fmla="*/ 34 w 80"/>
                <a:gd name="T39" fmla="*/ 95 h 97"/>
                <a:gd name="T40" fmla="*/ 34 w 80"/>
                <a:gd name="T41" fmla="*/ 95 h 97"/>
                <a:gd name="T42" fmla="*/ 34 w 80"/>
                <a:gd name="T43" fmla="*/ 95 h 97"/>
                <a:gd name="T44" fmla="*/ 34 w 80"/>
                <a:gd name="T45" fmla="*/ 95 h 97"/>
                <a:gd name="T46" fmla="*/ 34 w 80"/>
                <a:gd name="T47" fmla="*/ 95 h 97"/>
                <a:gd name="T48" fmla="*/ 34 w 80"/>
                <a:gd name="T49" fmla="*/ 95 h 97"/>
                <a:gd name="T50" fmla="*/ 34 w 80"/>
                <a:gd name="T51" fmla="*/ 95 h 97"/>
                <a:gd name="T52" fmla="*/ 34 w 80"/>
                <a:gd name="T53" fmla="*/ 95 h 97"/>
                <a:gd name="T54" fmla="*/ 34 w 80"/>
                <a:gd name="T55" fmla="*/ 94 h 97"/>
                <a:gd name="T56" fmla="*/ 34 w 80"/>
                <a:gd name="T57" fmla="*/ 94 h 97"/>
                <a:gd name="T58" fmla="*/ 34 w 80"/>
                <a:gd name="T59" fmla="*/ 94 h 97"/>
                <a:gd name="T60" fmla="*/ 34 w 80"/>
                <a:gd name="T61" fmla="*/ 94 h 97"/>
                <a:gd name="T62" fmla="*/ 80 w 80"/>
                <a:gd name="T63" fmla="*/ 17 h 97"/>
                <a:gd name="T64" fmla="*/ 43 w 80"/>
                <a:gd name="T65" fmla="*/ 0 h 97"/>
                <a:gd name="T66" fmla="*/ 0 w 80"/>
                <a:gd name="T67" fmla="*/ 7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0" h="97">
                  <a:moveTo>
                    <a:pt x="0" y="73"/>
                  </a:moveTo>
                  <a:lnTo>
                    <a:pt x="0" y="73"/>
                  </a:lnTo>
                  <a:lnTo>
                    <a:pt x="32" y="97"/>
                  </a:lnTo>
                  <a:cubicBezTo>
                    <a:pt x="33" y="97"/>
                    <a:pt x="33" y="97"/>
                    <a:pt x="33" y="97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4" y="96"/>
                  </a:cubicBezTo>
                  <a:cubicBezTo>
                    <a:pt x="34" y="96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lnTo>
                    <a:pt x="34" y="95"/>
                  </a:lnTo>
                  <a:cubicBezTo>
                    <a:pt x="34" y="95"/>
                    <a:pt x="34" y="95"/>
                    <a:pt x="34" y="95"/>
                  </a:cubicBezTo>
                  <a:lnTo>
                    <a:pt x="34" y="95"/>
                  </a:ln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4" y="94"/>
                    <a:pt x="34" y="94"/>
                  </a:cubicBezTo>
                  <a:lnTo>
                    <a:pt x="34" y="94"/>
                  </a:lnTo>
                  <a:cubicBezTo>
                    <a:pt x="52" y="70"/>
                    <a:pt x="68" y="44"/>
                    <a:pt x="80" y="17"/>
                  </a:cubicBezTo>
                  <a:lnTo>
                    <a:pt x="43" y="0"/>
                  </a:lnTo>
                  <a:cubicBezTo>
                    <a:pt x="32" y="26"/>
                    <a:pt x="17" y="50"/>
                    <a:pt x="0" y="73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47">
              <a:extLst>
                <a:ext uri="{FF2B5EF4-FFF2-40B4-BE49-F238E27FC236}">
                  <a16:creationId xmlns:a16="http://schemas.microsoft.com/office/drawing/2014/main" id="{454ABF64-7924-BE0E-BDA7-8BAB2F637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" y="2227"/>
              <a:ext cx="43" cy="41"/>
            </a:xfrm>
            <a:custGeom>
              <a:avLst/>
              <a:gdLst>
                <a:gd name="T0" fmla="*/ 0 w 93"/>
                <a:gd name="T1" fmla="*/ 56 h 89"/>
                <a:gd name="T2" fmla="*/ 0 w 93"/>
                <a:gd name="T3" fmla="*/ 56 h 89"/>
                <a:gd name="T4" fmla="*/ 23 w 93"/>
                <a:gd name="T5" fmla="*/ 89 h 89"/>
                <a:gd name="T6" fmla="*/ 34 w 93"/>
                <a:gd name="T7" fmla="*/ 80 h 89"/>
                <a:gd name="T8" fmla="*/ 34 w 93"/>
                <a:gd name="T9" fmla="*/ 80 h 89"/>
                <a:gd name="T10" fmla="*/ 34 w 93"/>
                <a:gd name="T11" fmla="*/ 80 h 89"/>
                <a:gd name="T12" fmla="*/ 34 w 93"/>
                <a:gd name="T13" fmla="*/ 80 h 89"/>
                <a:gd name="T14" fmla="*/ 34 w 93"/>
                <a:gd name="T15" fmla="*/ 80 h 89"/>
                <a:gd name="T16" fmla="*/ 34 w 93"/>
                <a:gd name="T17" fmla="*/ 80 h 89"/>
                <a:gd name="T18" fmla="*/ 35 w 93"/>
                <a:gd name="T19" fmla="*/ 80 h 89"/>
                <a:gd name="T20" fmla="*/ 35 w 93"/>
                <a:gd name="T21" fmla="*/ 80 h 89"/>
                <a:gd name="T22" fmla="*/ 35 w 93"/>
                <a:gd name="T23" fmla="*/ 80 h 89"/>
                <a:gd name="T24" fmla="*/ 35 w 93"/>
                <a:gd name="T25" fmla="*/ 80 h 89"/>
                <a:gd name="T26" fmla="*/ 35 w 93"/>
                <a:gd name="T27" fmla="*/ 80 h 89"/>
                <a:gd name="T28" fmla="*/ 35 w 93"/>
                <a:gd name="T29" fmla="*/ 80 h 89"/>
                <a:gd name="T30" fmla="*/ 35 w 93"/>
                <a:gd name="T31" fmla="*/ 80 h 89"/>
                <a:gd name="T32" fmla="*/ 35 w 93"/>
                <a:gd name="T33" fmla="*/ 80 h 89"/>
                <a:gd name="T34" fmla="*/ 35 w 93"/>
                <a:gd name="T35" fmla="*/ 80 h 89"/>
                <a:gd name="T36" fmla="*/ 35 w 93"/>
                <a:gd name="T37" fmla="*/ 80 h 89"/>
                <a:gd name="T38" fmla="*/ 35 w 93"/>
                <a:gd name="T39" fmla="*/ 80 h 89"/>
                <a:gd name="T40" fmla="*/ 35 w 93"/>
                <a:gd name="T41" fmla="*/ 80 h 89"/>
                <a:gd name="T42" fmla="*/ 35 w 93"/>
                <a:gd name="T43" fmla="*/ 80 h 89"/>
                <a:gd name="T44" fmla="*/ 35 w 93"/>
                <a:gd name="T45" fmla="*/ 79 h 89"/>
                <a:gd name="T46" fmla="*/ 36 w 93"/>
                <a:gd name="T47" fmla="*/ 79 h 89"/>
                <a:gd name="T48" fmla="*/ 36 w 93"/>
                <a:gd name="T49" fmla="*/ 79 h 89"/>
                <a:gd name="T50" fmla="*/ 36 w 93"/>
                <a:gd name="T51" fmla="*/ 79 h 89"/>
                <a:gd name="T52" fmla="*/ 36 w 93"/>
                <a:gd name="T53" fmla="*/ 79 h 89"/>
                <a:gd name="T54" fmla="*/ 36 w 93"/>
                <a:gd name="T55" fmla="*/ 79 h 89"/>
                <a:gd name="T56" fmla="*/ 36 w 93"/>
                <a:gd name="T57" fmla="*/ 79 h 89"/>
                <a:gd name="T58" fmla="*/ 36 w 93"/>
                <a:gd name="T59" fmla="*/ 79 h 89"/>
                <a:gd name="T60" fmla="*/ 36 w 93"/>
                <a:gd name="T61" fmla="*/ 79 h 89"/>
                <a:gd name="T62" fmla="*/ 36 w 93"/>
                <a:gd name="T63" fmla="*/ 79 h 89"/>
                <a:gd name="T64" fmla="*/ 36 w 93"/>
                <a:gd name="T65" fmla="*/ 79 h 89"/>
                <a:gd name="T66" fmla="*/ 36 w 93"/>
                <a:gd name="T67" fmla="*/ 79 h 89"/>
                <a:gd name="T68" fmla="*/ 37 w 93"/>
                <a:gd name="T69" fmla="*/ 79 h 89"/>
                <a:gd name="T70" fmla="*/ 37 w 93"/>
                <a:gd name="T71" fmla="*/ 79 h 89"/>
                <a:gd name="T72" fmla="*/ 93 w 93"/>
                <a:gd name="T73" fmla="*/ 27 h 89"/>
                <a:gd name="T74" fmla="*/ 63 w 93"/>
                <a:gd name="T75" fmla="*/ 0 h 89"/>
                <a:gd name="T76" fmla="*/ 0 w 93"/>
                <a:gd name="T77" fmla="*/ 5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3" h="89">
                  <a:moveTo>
                    <a:pt x="0" y="56"/>
                  </a:moveTo>
                  <a:lnTo>
                    <a:pt x="0" y="56"/>
                  </a:lnTo>
                  <a:lnTo>
                    <a:pt x="23" y="89"/>
                  </a:lnTo>
                  <a:cubicBezTo>
                    <a:pt x="27" y="86"/>
                    <a:pt x="30" y="83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34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lnTo>
                    <a:pt x="36" y="79"/>
                  </a:ln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6" y="79"/>
                    <a:pt x="37" y="79"/>
                  </a:cubicBezTo>
                  <a:cubicBezTo>
                    <a:pt x="37" y="79"/>
                    <a:pt x="37" y="79"/>
                    <a:pt x="37" y="79"/>
                  </a:cubicBezTo>
                  <a:cubicBezTo>
                    <a:pt x="57" y="63"/>
                    <a:pt x="76" y="46"/>
                    <a:pt x="93" y="27"/>
                  </a:cubicBezTo>
                  <a:lnTo>
                    <a:pt x="63" y="0"/>
                  </a:lnTo>
                  <a:cubicBezTo>
                    <a:pt x="44" y="21"/>
                    <a:pt x="23" y="39"/>
                    <a:pt x="0" y="56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48">
              <a:extLst>
                <a:ext uri="{FF2B5EF4-FFF2-40B4-BE49-F238E27FC236}">
                  <a16:creationId xmlns:a16="http://schemas.microsoft.com/office/drawing/2014/main" id="{FAECCCFF-0D84-2132-577A-516D092BA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9" y="2068"/>
              <a:ext cx="22" cy="43"/>
            </a:xfrm>
            <a:custGeom>
              <a:avLst/>
              <a:gdLst>
                <a:gd name="T0" fmla="*/ 48 w 48"/>
                <a:gd name="T1" fmla="*/ 85 h 93"/>
                <a:gd name="T2" fmla="*/ 48 w 48"/>
                <a:gd name="T3" fmla="*/ 85 h 93"/>
                <a:gd name="T4" fmla="*/ 48 w 48"/>
                <a:gd name="T5" fmla="*/ 85 h 93"/>
                <a:gd name="T6" fmla="*/ 48 w 48"/>
                <a:gd name="T7" fmla="*/ 84 h 93"/>
                <a:gd name="T8" fmla="*/ 48 w 48"/>
                <a:gd name="T9" fmla="*/ 84 h 93"/>
                <a:gd name="T10" fmla="*/ 48 w 48"/>
                <a:gd name="T11" fmla="*/ 84 h 93"/>
                <a:gd name="T12" fmla="*/ 48 w 48"/>
                <a:gd name="T13" fmla="*/ 83 h 93"/>
                <a:gd name="T14" fmla="*/ 48 w 48"/>
                <a:gd name="T15" fmla="*/ 83 h 93"/>
                <a:gd name="T16" fmla="*/ 48 w 48"/>
                <a:gd name="T17" fmla="*/ 83 h 93"/>
                <a:gd name="T18" fmla="*/ 48 w 48"/>
                <a:gd name="T19" fmla="*/ 82 h 93"/>
                <a:gd name="T20" fmla="*/ 48 w 48"/>
                <a:gd name="T21" fmla="*/ 82 h 93"/>
                <a:gd name="T22" fmla="*/ 48 w 48"/>
                <a:gd name="T23" fmla="*/ 82 h 93"/>
                <a:gd name="T24" fmla="*/ 48 w 48"/>
                <a:gd name="T25" fmla="*/ 81 h 93"/>
                <a:gd name="T26" fmla="*/ 48 w 48"/>
                <a:gd name="T27" fmla="*/ 81 h 93"/>
                <a:gd name="T28" fmla="*/ 48 w 48"/>
                <a:gd name="T29" fmla="*/ 81 h 93"/>
                <a:gd name="T30" fmla="*/ 48 w 48"/>
                <a:gd name="T31" fmla="*/ 80 h 93"/>
                <a:gd name="T32" fmla="*/ 48 w 48"/>
                <a:gd name="T33" fmla="*/ 80 h 93"/>
                <a:gd name="T34" fmla="*/ 48 w 48"/>
                <a:gd name="T35" fmla="*/ 79 h 93"/>
                <a:gd name="T36" fmla="*/ 48 w 48"/>
                <a:gd name="T37" fmla="*/ 79 h 93"/>
                <a:gd name="T38" fmla="*/ 48 w 48"/>
                <a:gd name="T39" fmla="*/ 79 h 93"/>
                <a:gd name="T40" fmla="*/ 48 w 48"/>
                <a:gd name="T41" fmla="*/ 78 h 93"/>
                <a:gd name="T42" fmla="*/ 48 w 48"/>
                <a:gd name="T43" fmla="*/ 78 h 93"/>
                <a:gd name="T44" fmla="*/ 48 w 48"/>
                <a:gd name="T45" fmla="*/ 78 h 93"/>
                <a:gd name="T46" fmla="*/ 48 w 48"/>
                <a:gd name="T47" fmla="*/ 77 h 93"/>
                <a:gd name="T48" fmla="*/ 48 w 48"/>
                <a:gd name="T49" fmla="*/ 77 h 93"/>
                <a:gd name="T50" fmla="*/ 48 w 48"/>
                <a:gd name="T51" fmla="*/ 77 h 93"/>
                <a:gd name="T52" fmla="*/ 48 w 48"/>
                <a:gd name="T53" fmla="*/ 76 h 93"/>
                <a:gd name="T54" fmla="*/ 48 w 48"/>
                <a:gd name="T55" fmla="*/ 76 h 93"/>
                <a:gd name="T56" fmla="*/ 48 w 48"/>
                <a:gd name="T57" fmla="*/ 76 h 93"/>
                <a:gd name="T58" fmla="*/ 48 w 48"/>
                <a:gd name="T59" fmla="*/ 75 h 93"/>
                <a:gd name="T60" fmla="*/ 48 w 48"/>
                <a:gd name="T61" fmla="*/ 75 h 93"/>
                <a:gd name="T62" fmla="*/ 48 w 48"/>
                <a:gd name="T63" fmla="*/ 75 h 93"/>
                <a:gd name="T64" fmla="*/ 48 w 48"/>
                <a:gd name="T65" fmla="*/ 74 h 93"/>
                <a:gd name="T66" fmla="*/ 48 w 48"/>
                <a:gd name="T67" fmla="*/ 74 h 93"/>
                <a:gd name="T68" fmla="*/ 48 w 48"/>
                <a:gd name="T69" fmla="*/ 74 h 93"/>
                <a:gd name="T70" fmla="*/ 48 w 48"/>
                <a:gd name="T71" fmla="*/ 73 h 93"/>
                <a:gd name="T72" fmla="*/ 48 w 48"/>
                <a:gd name="T73" fmla="*/ 73 h 93"/>
                <a:gd name="T74" fmla="*/ 48 w 48"/>
                <a:gd name="T75" fmla="*/ 73 h 93"/>
                <a:gd name="T76" fmla="*/ 48 w 48"/>
                <a:gd name="T77" fmla="*/ 72 h 93"/>
                <a:gd name="T78" fmla="*/ 48 w 48"/>
                <a:gd name="T79" fmla="*/ 72 h 93"/>
                <a:gd name="T80" fmla="*/ 48 w 48"/>
                <a:gd name="T81" fmla="*/ 72 h 93"/>
                <a:gd name="T82" fmla="*/ 48 w 48"/>
                <a:gd name="T83" fmla="*/ 71 h 93"/>
                <a:gd name="T84" fmla="*/ 48 w 48"/>
                <a:gd name="T85" fmla="*/ 71 h 93"/>
                <a:gd name="T86" fmla="*/ 48 w 48"/>
                <a:gd name="T87" fmla="*/ 71 h 93"/>
                <a:gd name="T88" fmla="*/ 48 w 48"/>
                <a:gd name="T89" fmla="*/ 70 h 93"/>
                <a:gd name="T90" fmla="*/ 0 w 48"/>
                <a:gd name="T91" fmla="*/ 8 h 93"/>
                <a:gd name="T92" fmla="*/ 48 w 48"/>
                <a:gd name="T93" fmla="*/ 88 h 93"/>
                <a:gd name="T94" fmla="*/ 48 w 48"/>
                <a:gd name="T95" fmla="*/ 87 h 93"/>
                <a:gd name="T96" fmla="*/ 48 w 48"/>
                <a:gd name="T97" fmla="*/ 87 h 93"/>
                <a:gd name="T98" fmla="*/ 48 w 48"/>
                <a:gd name="T99" fmla="*/ 86 h 93"/>
                <a:gd name="T100" fmla="*/ 48 w 48"/>
                <a:gd name="T101" fmla="*/ 8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8" h="93">
                  <a:moveTo>
                    <a:pt x="48" y="85"/>
                  </a:moveTo>
                  <a:lnTo>
                    <a:pt x="48" y="85"/>
                  </a:ln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lnTo>
                    <a:pt x="48" y="85"/>
                  </a:ln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lnTo>
                    <a:pt x="48" y="74"/>
                  </a:lnTo>
                  <a:cubicBezTo>
                    <a:pt x="48" y="74"/>
                    <a:pt x="48" y="74"/>
                    <a:pt x="48" y="74"/>
                  </a:cubicBezTo>
                  <a:lnTo>
                    <a:pt x="48" y="74"/>
                  </a:lnTo>
                  <a:cubicBezTo>
                    <a:pt x="48" y="74"/>
                    <a:pt x="48" y="74"/>
                    <a:pt x="48" y="74"/>
                  </a:cubicBezTo>
                  <a:lnTo>
                    <a:pt x="48" y="74"/>
                  </a:lnTo>
                  <a:cubicBezTo>
                    <a:pt x="48" y="74"/>
                    <a:pt x="48" y="74"/>
                    <a:pt x="48" y="74"/>
                  </a:cubicBezTo>
                  <a:lnTo>
                    <a:pt x="48" y="74"/>
                  </a:lnTo>
                  <a:cubicBezTo>
                    <a:pt x="48" y="74"/>
                    <a:pt x="48" y="74"/>
                    <a:pt x="48" y="74"/>
                  </a:cubicBezTo>
                  <a:lnTo>
                    <a:pt x="48" y="74"/>
                  </a:lnTo>
                  <a:cubicBezTo>
                    <a:pt x="48" y="73"/>
                    <a:pt x="48" y="73"/>
                    <a:pt x="48" y="73"/>
                  </a:cubicBezTo>
                  <a:lnTo>
                    <a:pt x="48" y="73"/>
                  </a:ln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1"/>
                    <a:pt x="48" y="72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69"/>
                  </a:cubicBezTo>
                  <a:cubicBezTo>
                    <a:pt x="47" y="46"/>
                    <a:pt x="44" y="23"/>
                    <a:pt x="39" y="0"/>
                  </a:cubicBezTo>
                  <a:lnTo>
                    <a:pt x="0" y="8"/>
                  </a:lnTo>
                  <a:cubicBezTo>
                    <a:pt x="5" y="34"/>
                    <a:pt x="8" y="60"/>
                    <a:pt x="8" y="86"/>
                  </a:cubicBezTo>
                  <a:cubicBezTo>
                    <a:pt x="8" y="88"/>
                    <a:pt x="8" y="90"/>
                    <a:pt x="7" y="93"/>
                  </a:cubicBezTo>
                  <a:lnTo>
                    <a:pt x="48" y="93"/>
                  </a:lnTo>
                  <a:cubicBezTo>
                    <a:pt x="48" y="91"/>
                    <a:pt x="48" y="90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6"/>
                    <a:pt x="48" y="85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49">
              <a:extLst>
                <a:ext uri="{FF2B5EF4-FFF2-40B4-BE49-F238E27FC236}">
                  <a16:creationId xmlns:a16="http://schemas.microsoft.com/office/drawing/2014/main" id="{04FB202E-920D-D730-144B-6B42A6282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3" y="2127"/>
              <a:ext cx="27" cy="44"/>
            </a:xfrm>
            <a:custGeom>
              <a:avLst/>
              <a:gdLst>
                <a:gd name="T0" fmla="*/ 0 w 58"/>
                <a:gd name="T1" fmla="*/ 82 h 95"/>
                <a:gd name="T2" fmla="*/ 0 w 58"/>
                <a:gd name="T3" fmla="*/ 82 h 95"/>
                <a:gd name="T4" fmla="*/ 38 w 58"/>
                <a:gd name="T5" fmla="*/ 95 h 95"/>
                <a:gd name="T6" fmla="*/ 58 w 58"/>
                <a:gd name="T7" fmla="*/ 4 h 95"/>
                <a:gd name="T8" fmla="*/ 18 w 58"/>
                <a:gd name="T9" fmla="*/ 0 h 95"/>
                <a:gd name="T10" fmla="*/ 0 w 58"/>
                <a:gd name="T11" fmla="*/ 8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95">
                  <a:moveTo>
                    <a:pt x="0" y="82"/>
                  </a:moveTo>
                  <a:lnTo>
                    <a:pt x="0" y="82"/>
                  </a:lnTo>
                  <a:lnTo>
                    <a:pt x="38" y="95"/>
                  </a:lnTo>
                  <a:cubicBezTo>
                    <a:pt x="48" y="66"/>
                    <a:pt x="55" y="36"/>
                    <a:pt x="58" y="4"/>
                  </a:cubicBezTo>
                  <a:lnTo>
                    <a:pt x="18" y="0"/>
                  </a:lnTo>
                  <a:cubicBezTo>
                    <a:pt x="15" y="28"/>
                    <a:pt x="9" y="56"/>
                    <a:pt x="0" y="82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50">
              <a:extLst>
                <a:ext uri="{FF2B5EF4-FFF2-40B4-BE49-F238E27FC236}">
                  <a16:creationId xmlns:a16="http://schemas.microsoft.com/office/drawing/2014/main" id="{9B2D3A79-9475-BE4A-430A-A351294D3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9" y="2261"/>
              <a:ext cx="44" cy="33"/>
            </a:xfrm>
            <a:custGeom>
              <a:avLst/>
              <a:gdLst>
                <a:gd name="T0" fmla="*/ 0 w 97"/>
                <a:gd name="T1" fmla="*/ 34 h 72"/>
                <a:gd name="T2" fmla="*/ 0 w 97"/>
                <a:gd name="T3" fmla="*/ 34 h 72"/>
                <a:gd name="T4" fmla="*/ 12 w 97"/>
                <a:gd name="T5" fmla="*/ 72 h 72"/>
                <a:gd name="T6" fmla="*/ 30 w 97"/>
                <a:gd name="T7" fmla="*/ 66 h 72"/>
                <a:gd name="T8" fmla="*/ 30 w 97"/>
                <a:gd name="T9" fmla="*/ 66 h 72"/>
                <a:gd name="T10" fmla="*/ 30 w 97"/>
                <a:gd name="T11" fmla="*/ 66 h 72"/>
                <a:gd name="T12" fmla="*/ 30 w 97"/>
                <a:gd name="T13" fmla="*/ 66 h 72"/>
                <a:gd name="T14" fmla="*/ 30 w 97"/>
                <a:gd name="T15" fmla="*/ 66 h 72"/>
                <a:gd name="T16" fmla="*/ 30 w 97"/>
                <a:gd name="T17" fmla="*/ 66 h 72"/>
                <a:gd name="T18" fmla="*/ 30 w 97"/>
                <a:gd name="T19" fmla="*/ 66 h 72"/>
                <a:gd name="T20" fmla="*/ 30 w 97"/>
                <a:gd name="T21" fmla="*/ 66 h 72"/>
                <a:gd name="T22" fmla="*/ 30 w 97"/>
                <a:gd name="T23" fmla="*/ 66 h 72"/>
                <a:gd name="T24" fmla="*/ 30 w 97"/>
                <a:gd name="T25" fmla="*/ 66 h 72"/>
                <a:gd name="T26" fmla="*/ 31 w 97"/>
                <a:gd name="T27" fmla="*/ 66 h 72"/>
                <a:gd name="T28" fmla="*/ 31 w 97"/>
                <a:gd name="T29" fmla="*/ 66 h 72"/>
                <a:gd name="T30" fmla="*/ 31 w 97"/>
                <a:gd name="T31" fmla="*/ 66 h 72"/>
                <a:gd name="T32" fmla="*/ 31 w 97"/>
                <a:gd name="T33" fmla="*/ 66 h 72"/>
                <a:gd name="T34" fmla="*/ 31 w 97"/>
                <a:gd name="T35" fmla="*/ 66 h 72"/>
                <a:gd name="T36" fmla="*/ 31 w 97"/>
                <a:gd name="T37" fmla="*/ 66 h 72"/>
                <a:gd name="T38" fmla="*/ 31 w 97"/>
                <a:gd name="T39" fmla="*/ 66 h 72"/>
                <a:gd name="T40" fmla="*/ 32 w 97"/>
                <a:gd name="T41" fmla="*/ 66 h 72"/>
                <a:gd name="T42" fmla="*/ 32 w 97"/>
                <a:gd name="T43" fmla="*/ 66 h 72"/>
                <a:gd name="T44" fmla="*/ 32 w 97"/>
                <a:gd name="T45" fmla="*/ 66 h 72"/>
                <a:gd name="T46" fmla="*/ 32 w 97"/>
                <a:gd name="T47" fmla="*/ 66 h 72"/>
                <a:gd name="T48" fmla="*/ 32 w 97"/>
                <a:gd name="T49" fmla="*/ 66 h 72"/>
                <a:gd name="T50" fmla="*/ 32 w 97"/>
                <a:gd name="T51" fmla="*/ 66 h 72"/>
                <a:gd name="T52" fmla="*/ 32 w 97"/>
                <a:gd name="T53" fmla="*/ 66 h 72"/>
                <a:gd name="T54" fmla="*/ 32 w 97"/>
                <a:gd name="T55" fmla="*/ 65 h 72"/>
                <a:gd name="T56" fmla="*/ 32 w 97"/>
                <a:gd name="T57" fmla="*/ 65 h 72"/>
                <a:gd name="T58" fmla="*/ 33 w 97"/>
                <a:gd name="T59" fmla="*/ 65 h 72"/>
                <a:gd name="T60" fmla="*/ 33 w 97"/>
                <a:gd name="T61" fmla="*/ 65 h 72"/>
                <a:gd name="T62" fmla="*/ 33 w 97"/>
                <a:gd name="T63" fmla="*/ 65 h 72"/>
                <a:gd name="T64" fmla="*/ 33 w 97"/>
                <a:gd name="T65" fmla="*/ 65 h 72"/>
                <a:gd name="T66" fmla="*/ 33 w 97"/>
                <a:gd name="T67" fmla="*/ 65 h 72"/>
                <a:gd name="T68" fmla="*/ 33 w 97"/>
                <a:gd name="T69" fmla="*/ 65 h 72"/>
                <a:gd name="T70" fmla="*/ 33 w 97"/>
                <a:gd name="T71" fmla="*/ 65 h 72"/>
                <a:gd name="T72" fmla="*/ 33 w 97"/>
                <a:gd name="T73" fmla="*/ 65 h 72"/>
                <a:gd name="T74" fmla="*/ 33 w 97"/>
                <a:gd name="T75" fmla="*/ 65 h 72"/>
                <a:gd name="T76" fmla="*/ 33 w 97"/>
                <a:gd name="T77" fmla="*/ 65 h 72"/>
                <a:gd name="T78" fmla="*/ 33 w 97"/>
                <a:gd name="T79" fmla="*/ 65 h 72"/>
                <a:gd name="T80" fmla="*/ 33 w 97"/>
                <a:gd name="T81" fmla="*/ 65 h 72"/>
                <a:gd name="T82" fmla="*/ 34 w 97"/>
                <a:gd name="T83" fmla="*/ 65 h 72"/>
                <a:gd name="T84" fmla="*/ 34 w 97"/>
                <a:gd name="T85" fmla="*/ 65 h 72"/>
                <a:gd name="T86" fmla="*/ 34 w 97"/>
                <a:gd name="T87" fmla="*/ 65 h 72"/>
                <a:gd name="T88" fmla="*/ 34 w 97"/>
                <a:gd name="T89" fmla="*/ 65 h 72"/>
                <a:gd name="T90" fmla="*/ 34 w 97"/>
                <a:gd name="T91" fmla="*/ 65 h 72"/>
                <a:gd name="T92" fmla="*/ 34 w 97"/>
                <a:gd name="T93" fmla="*/ 65 h 72"/>
                <a:gd name="T94" fmla="*/ 34 w 97"/>
                <a:gd name="T95" fmla="*/ 65 h 72"/>
                <a:gd name="T96" fmla="*/ 34 w 97"/>
                <a:gd name="T97" fmla="*/ 65 h 72"/>
                <a:gd name="T98" fmla="*/ 34 w 97"/>
                <a:gd name="T99" fmla="*/ 65 h 72"/>
                <a:gd name="T100" fmla="*/ 34 w 97"/>
                <a:gd name="T101" fmla="*/ 65 h 72"/>
                <a:gd name="T102" fmla="*/ 97 w 97"/>
                <a:gd name="T103" fmla="*/ 35 h 72"/>
                <a:gd name="T104" fmla="*/ 77 w 97"/>
                <a:gd name="T105" fmla="*/ 0 h 72"/>
                <a:gd name="T106" fmla="*/ 0 w 97"/>
                <a:gd name="T107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7" h="72">
                  <a:moveTo>
                    <a:pt x="0" y="34"/>
                  </a:moveTo>
                  <a:lnTo>
                    <a:pt x="0" y="34"/>
                  </a:lnTo>
                  <a:lnTo>
                    <a:pt x="12" y="72"/>
                  </a:lnTo>
                  <a:cubicBezTo>
                    <a:pt x="18" y="71"/>
                    <a:pt x="24" y="68"/>
                    <a:pt x="30" y="66"/>
                  </a:cubicBezTo>
                  <a:lnTo>
                    <a:pt x="30" y="66"/>
                  </a:ln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lnTo>
                    <a:pt x="30" y="66"/>
                  </a:ln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5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2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4" y="65"/>
                    <a:pt x="34" y="65"/>
                  </a:cubicBezTo>
                  <a:lnTo>
                    <a:pt x="34" y="65"/>
                  </a:ln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lnTo>
                    <a:pt x="34" y="65"/>
                  </a:ln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56" y="57"/>
                    <a:pt x="77" y="47"/>
                    <a:pt x="97" y="35"/>
                  </a:cubicBezTo>
                  <a:lnTo>
                    <a:pt x="77" y="0"/>
                  </a:lnTo>
                  <a:cubicBezTo>
                    <a:pt x="53" y="14"/>
                    <a:pt x="27" y="26"/>
                    <a:pt x="0" y="34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51">
              <a:extLst>
                <a:ext uri="{FF2B5EF4-FFF2-40B4-BE49-F238E27FC236}">
                  <a16:creationId xmlns:a16="http://schemas.microsoft.com/office/drawing/2014/main" id="{E1C0B9BC-F9BD-1F0E-FEA8-CFC139E0B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" y="2250"/>
              <a:ext cx="44" cy="36"/>
            </a:xfrm>
            <a:custGeom>
              <a:avLst/>
              <a:gdLst>
                <a:gd name="T0" fmla="*/ 5 w 97"/>
                <a:gd name="T1" fmla="*/ 36 h 80"/>
                <a:gd name="T2" fmla="*/ 6 w 97"/>
                <a:gd name="T3" fmla="*/ 37 h 80"/>
                <a:gd name="T4" fmla="*/ 7 w 97"/>
                <a:gd name="T5" fmla="*/ 37 h 80"/>
                <a:gd name="T6" fmla="*/ 7 w 97"/>
                <a:gd name="T7" fmla="*/ 38 h 80"/>
                <a:gd name="T8" fmla="*/ 7 w 97"/>
                <a:gd name="T9" fmla="*/ 38 h 80"/>
                <a:gd name="T10" fmla="*/ 8 w 97"/>
                <a:gd name="T11" fmla="*/ 38 h 80"/>
                <a:gd name="T12" fmla="*/ 8 w 97"/>
                <a:gd name="T13" fmla="*/ 38 h 80"/>
                <a:gd name="T14" fmla="*/ 8 w 97"/>
                <a:gd name="T15" fmla="*/ 38 h 80"/>
                <a:gd name="T16" fmla="*/ 8 w 97"/>
                <a:gd name="T17" fmla="*/ 39 h 80"/>
                <a:gd name="T18" fmla="*/ 9 w 97"/>
                <a:gd name="T19" fmla="*/ 39 h 80"/>
                <a:gd name="T20" fmla="*/ 9 w 97"/>
                <a:gd name="T21" fmla="*/ 39 h 80"/>
                <a:gd name="T22" fmla="*/ 9 w 97"/>
                <a:gd name="T23" fmla="*/ 39 h 80"/>
                <a:gd name="T24" fmla="*/ 9 w 97"/>
                <a:gd name="T25" fmla="*/ 39 h 80"/>
                <a:gd name="T26" fmla="*/ 10 w 97"/>
                <a:gd name="T27" fmla="*/ 40 h 80"/>
                <a:gd name="T28" fmla="*/ 10 w 97"/>
                <a:gd name="T29" fmla="*/ 40 h 80"/>
                <a:gd name="T30" fmla="*/ 10 w 97"/>
                <a:gd name="T31" fmla="*/ 40 h 80"/>
                <a:gd name="T32" fmla="*/ 11 w 97"/>
                <a:gd name="T33" fmla="*/ 40 h 80"/>
                <a:gd name="T34" fmla="*/ 11 w 97"/>
                <a:gd name="T35" fmla="*/ 40 h 80"/>
                <a:gd name="T36" fmla="*/ 11 w 97"/>
                <a:gd name="T37" fmla="*/ 41 h 80"/>
                <a:gd name="T38" fmla="*/ 11 w 97"/>
                <a:gd name="T39" fmla="*/ 41 h 80"/>
                <a:gd name="T40" fmla="*/ 12 w 97"/>
                <a:gd name="T41" fmla="*/ 41 h 80"/>
                <a:gd name="T42" fmla="*/ 12 w 97"/>
                <a:gd name="T43" fmla="*/ 41 h 80"/>
                <a:gd name="T44" fmla="*/ 13 w 97"/>
                <a:gd name="T45" fmla="*/ 42 h 80"/>
                <a:gd name="T46" fmla="*/ 14 w 97"/>
                <a:gd name="T47" fmla="*/ 43 h 80"/>
                <a:gd name="T48" fmla="*/ 65 w 97"/>
                <a:gd name="T49" fmla="*/ 72 h 80"/>
                <a:gd name="T50" fmla="*/ 65 w 97"/>
                <a:gd name="T51" fmla="*/ 72 h 80"/>
                <a:gd name="T52" fmla="*/ 66 w 97"/>
                <a:gd name="T53" fmla="*/ 73 h 80"/>
                <a:gd name="T54" fmla="*/ 67 w 97"/>
                <a:gd name="T55" fmla="*/ 73 h 80"/>
                <a:gd name="T56" fmla="*/ 67 w 97"/>
                <a:gd name="T57" fmla="*/ 73 h 80"/>
                <a:gd name="T58" fmla="*/ 68 w 97"/>
                <a:gd name="T59" fmla="*/ 74 h 80"/>
                <a:gd name="T60" fmla="*/ 68 w 97"/>
                <a:gd name="T61" fmla="*/ 74 h 80"/>
                <a:gd name="T62" fmla="*/ 69 w 97"/>
                <a:gd name="T63" fmla="*/ 74 h 80"/>
                <a:gd name="T64" fmla="*/ 69 w 97"/>
                <a:gd name="T65" fmla="*/ 74 h 80"/>
                <a:gd name="T66" fmla="*/ 69 w 97"/>
                <a:gd name="T67" fmla="*/ 74 h 80"/>
                <a:gd name="T68" fmla="*/ 70 w 97"/>
                <a:gd name="T69" fmla="*/ 75 h 80"/>
                <a:gd name="T70" fmla="*/ 70 w 97"/>
                <a:gd name="T71" fmla="*/ 75 h 80"/>
                <a:gd name="T72" fmla="*/ 70 w 97"/>
                <a:gd name="T73" fmla="*/ 75 h 80"/>
                <a:gd name="T74" fmla="*/ 70 w 97"/>
                <a:gd name="T75" fmla="*/ 75 h 80"/>
                <a:gd name="T76" fmla="*/ 71 w 97"/>
                <a:gd name="T77" fmla="*/ 75 h 80"/>
                <a:gd name="T78" fmla="*/ 71 w 97"/>
                <a:gd name="T79" fmla="*/ 75 h 80"/>
                <a:gd name="T80" fmla="*/ 71 w 97"/>
                <a:gd name="T81" fmla="*/ 75 h 80"/>
                <a:gd name="T82" fmla="*/ 71 w 97"/>
                <a:gd name="T83" fmla="*/ 75 h 80"/>
                <a:gd name="T84" fmla="*/ 72 w 97"/>
                <a:gd name="T85" fmla="*/ 76 h 80"/>
                <a:gd name="T86" fmla="*/ 72 w 97"/>
                <a:gd name="T87" fmla="*/ 76 h 80"/>
                <a:gd name="T88" fmla="*/ 72 w 97"/>
                <a:gd name="T89" fmla="*/ 76 h 80"/>
                <a:gd name="T90" fmla="*/ 72 w 97"/>
                <a:gd name="T91" fmla="*/ 76 h 80"/>
                <a:gd name="T92" fmla="*/ 73 w 97"/>
                <a:gd name="T93" fmla="*/ 76 h 80"/>
                <a:gd name="T94" fmla="*/ 73 w 97"/>
                <a:gd name="T95" fmla="*/ 76 h 80"/>
                <a:gd name="T96" fmla="*/ 73 w 97"/>
                <a:gd name="T97" fmla="*/ 76 h 80"/>
                <a:gd name="T98" fmla="*/ 73 w 97"/>
                <a:gd name="T99" fmla="*/ 76 h 80"/>
                <a:gd name="T100" fmla="*/ 74 w 97"/>
                <a:gd name="T101" fmla="*/ 77 h 80"/>
                <a:gd name="T102" fmla="*/ 74 w 97"/>
                <a:gd name="T103" fmla="*/ 77 h 80"/>
                <a:gd name="T104" fmla="*/ 75 w 97"/>
                <a:gd name="T105" fmla="*/ 77 h 80"/>
                <a:gd name="T106" fmla="*/ 75 w 97"/>
                <a:gd name="T107" fmla="*/ 77 h 80"/>
                <a:gd name="T108" fmla="*/ 75 w 97"/>
                <a:gd name="T109" fmla="*/ 77 h 80"/>
                <a:gd name="T110" fmla="*/ 76 w 97"/>
                <a:gd name="T111" fmla="*/ 78 h 80"/>
                <a:gd name="T112" fmla="*/ 76 w 97"/>
                <a:gd name="T113" fmla="*/ 78 h 80"/>
                <a:gd name="T114" fmla="*/ 77 w 97"/>
                <a:gd name="T115" fmla="*/ 78 h 80"/>
                <a:gd name="T116" fmla="*/ 97 w 97"/>
                <a:gd name="T11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" h="80">
                  <a:moveTo>
                    <a:pt x="0" y="33"/>
                  </a:moveTo>
                  <a:lnTo>
                    <a:pt x="0" y="33"/>
                  </a:lnTo>
                  <a:cubicBezTo>
                    <a:pt x="2" y="34"/>
                    <a:pt x="4" y="35"/>
                    <a:pt x="5" y="36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7"/>
                    <a:pt x="6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8"/>
                  </a:cubicBezTo>
                  <a:lnTo>
                    <a:pt x="7" y="38"/>
                  </a:lnTo>
                  <a:cubicBezTo>
                    <a:pt x="7" y="38"/>
                    <a:pt x="7" y="38"/>
                    <a:pt x="7" y="38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38"/>
                    <a:pt x="8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8" y="38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10" y="39"/>
                    <a:pt x="10" y="39"/>
                  </a:cubicBezTo>
                  <a:cubicBezTo>
                    <a:pt x="10" y="39"/>
                    <a:pt x="10" y="39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1"/>
                    <a:pt x="11" y="41"/>
                    <a:pt x="11" y="41"/>
                  </a:cubicBezTo>
                  <a:lnTo>
                    <a:pt x="11" y="41"/>
                  </a:lnTo>
                  <a:cubicBezTo>
                    <a:pt x="11" y="41"/>
                    <a:pt x="12" y="41"/>
                    <a:pt x="12" y="41"/>
                  </a:cubicBezTo>
                  <a:lnTo>
                    <a:pt x="12" y="41"/>
                  </a:lnTo>
                  <a:cubicBezTo>
                    <a:pt x="12" y="41"/>
                    <a:pt x="12" y="41"/>
                    <a:pt x="12" y="41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1"/>
                    <a:pt x="12" y="41"/>
                    <a:pt x="12" y="41"/>
                  </a:cubicBezTo>
                  <a:lnTo>
                    <a:pt x="12" y="41"/>
                  </a:lnTo>
                  <a:cubicBezTo>
                    <a:pt x="12" y="41"/>
                    <a:pt x="12" y="41"/>
                    <a:pt x="12" y="41"/>
                  </a:cubicBezTo>
                  <a:lnTo>
                    <a:pt x="12" y="41"/>
                  </a:lnTo>
                  <a:cubicBezTo>
                    <a:pt x="13" y="42"/>
                    <a:pt x="13" y="42"/>
                    <a:pt x="13" y="42"/>
                  </a:cubicBezTo>
                  <a:lnTo>
                    <a:pt x="13" y="42"/>
                  </a:lnTo>
                  <a:cubicBezTo>
                    <a:pt x="13" y="42"/>
                    <a:pt x="13" y="42"/>
                    <a:pt x="13" y="42"/>
                  </a:cubicBezTo>
                  <a:cubicBezTo>
                    <a:pt x="14" y="42"/>
                    <a:pt x="14" y="42"/>
                    <a:pt x="14" y="43"/>
                  </a:cubicBezTo>
                  <a:cubicBezTo>
                    <a:pt x="14" y="43"/>
                    <a:pt x="14" y="43"/>
                    <a:pt x="14" y="43"/>
                  </a:cubicBezTo>
                  <a:lnTo>
                    <a:pt x="14" y="43"/>
                  </a:lnTo>
                  <a:cubicBezTo>
                    <a:pt x="30" y="54"/>
                    <a:pt x="47" y="64"/>
                    <a:pt x="65" y="72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5" y="72"/>
                    <a:pt x="65" y="72"/>
                    <a:pt x="65" y="72"/>
                  </a:cubicBezTo>
                  <a:lnTo>
                    <a:pt x="65" y="72"/>
                  </a:lnTo>
                  <a:cubicBezTo>
                    <a:pt x="65" y="73"/>
                    <a:pt x="66" y="73"/>
                    <a:pt x="66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66" y="73"/>
                    <a:pt x="66" y="73"/>
                    <a:pt x="66" y="73"/>
                  </a:cubicBezTo>
                  <a:lnTo>
                    <a:pt x="66" y="73"/>
                  </a:lnTo>
                  <a:cubicBezTo>
                    <a:pt x="67" y="73"/>
                    <a:pt x="67" y="73"/>
                    <a:pt x="67" y="73"/>
                  </a:cubicBezTo>
                  <a:lnTo>
                    <a:pt x="67" y="73"/>
                  </a:lnTo>
                  <a:cubicBezTo>
                    <a:pt x="67" y="73"/>
                    <a:pt x="67" y="73"/>
                    <a:pt x="67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7" y="74"/>
                    <a:pt x="67" y="74"/>
                    <a:pt x="67" y="74"/>
                  </a:cubicBezTo>
                  <a:lnTo>
                    <a:pt x="67" y="74"/>
                  </a:lnTo>
                  <a:cubicBezTo>
                    <a:pt x="67" y="74"/>
                    <a:pt x="67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lnTo>
                    <a:pt x="68" y="74"/>
                  </a:ln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9" y="74"/>
                  </a:cubicBezTo>
                  <a:lnTo>
                    <a:pt x="69" y="74"/>
                  </a:ln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lnTo>
                    <a:pt x="69" y="74"/>
                  </a:ln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9" y="75"/>
                    <a:pt x="69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5"/>
                    <a:pt x="70" y="75"/>
                    <a:pt x="71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75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lnTo>
                    <a:pt x="72" y="76"/>
                  </a:ln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4" y="76"/>
                    <a:pt x="74" y="7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6" y="77"/>
                    <a:pt x="76" y="78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7" y="78"/>
                    <a:pt x="77" y="78"/>
                    <a:pt x="77" y="78"/>
                  </a:cubicBezTo>
                  <a:cubicBezTo>
                    <a:pt x="77" y="78"/>
                    <a:pt x="77" y="78"/>
                    <a:pt x="77" y="78"/>
                  </a:cubicBezTo>
                  <a:cubicBezTo>
                    <a:pt x="78" y="78"/>
                    <a:pt x="78" y="79"/>
                    <a:pt x="79" y="79"/>
                  </a:cubicBezTo>
                  <a:cubicBezTo>
                    <a:pt x="79" y="79"/>
                    <a:pt x="80" y="79"/>
                    <a:pt x="81" y="80"/>
                  </a:cubicBezTo>
                  <a:lnTo>
                    <a:pt x="97" y="43"/>
                  </a:lnTo>
                  <a:cubicBezTo>
                    <a:pt x="71" y="32"/>
                    <a:pt x="47" y="17"/>
                    <a:pt x="24" y="0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52">
              <a:extLst>
                <a:ext uri="{FF2B5EF4-FFF2-40B4-BE49-F238E27FC236}">
                  <a16:creationId xmlns:a16="http://schemas.microsoft.com/office/drawing/2014/main" id="{CA4446CF-271C-95DE-A2F3-97491331A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2281"/>
              <a:ext cx="42" cy="22"/>
            </a:xfrm>
            <a:custGeom>
              <a:avLst/>
              <a:gdLst>
                <a:gd name="T0" fmla="*/ 2 w 93"/>
                <a:gd name="T1" fmla="*/ 48 h 49"/>
                <a:gd name="T2" fmla="*/ 4 w 93"/>
                <a:gd name="T3" fmla="*/ 49 h 49"/>
                <a:gd name="T4" fmla="*/ 5 w 93"/>
                <a:gd name="T5" fmla="*/ 49 h 49"/>
                <a:gd name="T6" fmla="*/ 6 w 93"/>
                <a:gd name="T7" fmla="*/ 49 h 49"/>
                <a:gd name="T8" fmla="*/ 6 w 93"/>
                <a:gd name="T9" fmla="*/ 49 h 49"/>
                <a:gd name="T10" fmla="*/ 7 w 93"/>
                <a:gd name="T11" fmla="*/ 49 h 49"/>
                <a:gd name="T12" fmla="*/ 8 w 93"/>
                <a:gd name="T13" fmla="*/ 48 h 49"/>
                <a:gd name="T14" fmla="*/ 9 w 93"/>
                <a:gd name="T15" fmla="*/ 48 h 49"/>
                <a:gd name="T16" fmla="*/ 10 w 93"/>
                <a:gd name="T17" fmla="*/ 48 h 49"/>
                <a:gd name="T18" fmla="*/ 11 w 93"/>
                <a:gd name="T19" fmla="*/ 48 h 49"/>
                <a:gd name="T20" fmla="*/ 12 w 93"/>
                <a:gd name="T21" fmla="*/ 48 h 49"/>
                <a:gd name="T22" fmla="*/ 12 w 93"/>
                <a:gd name="T23" fmla="*/ 48 h 49"/>
                <a:gd name="T24" fmla="*/ 14 w 93"/>
                <a:gd name="T25" fmla="*/ 48 h 49"/>
                <a:gd name="T26" fmla="*/ 14 w 93"/>
                <a:gd name="T27" fmla="*/ 48 h 49"/>
                <a:gd name="T28" fmla="*/ 15 w 93"/>
                <a:gd name="T29" fmla="*/ 48 h 49"/>
                <a:gd name="T30" fmla="*/ 16 w 93"/>
                <a:gd name="T31" fmla="*/ 48 h 49"/>
                <a:gd name="T32" fmla="*/ 17 w 93"/>
                <a:gd name="T33" fmla="*/ 48 h 49"/>
                <a:gd name="T34" fmla="*/ 18 w 93"/>
                <a:gd name="T35" fmla="*/ 48 h 49"/>
                <a:gd name="T36" fmla="*/ 19 w 93"/>
                <a:gd name="T37" fmla="*/ 48 h 49"/>
                <a:gd name="T38" fmla="*/ 20 w 93"/>
                <a:gd name="T39" fmla="*/ 48 h 49"/>
                <a:gd name="T40" fmla="*/ 21 w 93"/>
                <a:gd name="T41" fmla="*/ 48 h 49"/>
                <a:gd name="T42" fmla="*/ 22 w 93"/>
                <a:gd name="T43" fmla="*/ 48 h 49"/>
                <a:gd name="T44" fmla="*/ 23 w 93"/>
                <a:gd name="T45" fmla="*/ 48 h 49"/>
                <a:gd name="T46" fmla="*/ 24 w 93"/>
                <a:gd name="T47" fmla="*/ 48 h 49"/>
                <a:gd name="T48" fmla="*/ 25 w 93"/>
                <a:gd name="T49" fmla="*/ 48 h 49"/>
                <a:gd name="T50" fmla="*/ 26 w 93"/>
                <a:gd name="T51" fmla="*/ 48 h 49"/>
                <a:gd name="T52" fmla="*/ 27 w 93"/>
                <a:gd name="T53" fmla="*/ 48 h 49"/>
                <a:gd name="T54" fmla="*/ 27 w 93"/>
                <a:gd name="T55" fmla="*/ 48 h 49"/>
                <a:gd name="T56" fmla="*/ 30 w 93"/>
                <a:gd name="T57" fmla="*/ 48 h 49"/>
                <a:gd name="T58" fmla="*/ 31 w 93"/>
                <a:gd name="T59" fmla="*/ 48 h 49"/>
                <a:gd name="T60" fmla="*/ 31 w 93"/>
                <a:gd name="T61" fmla="*/ 48 h 49"/>
                <a:gd name="T62" fmla="*/ 32 w 93"/>
                <a:gd name="T63" fmla="*/ 48 h 49"/>
                <a:gd name="T64" fmla="*/ 33 w 93"/>
                <a:gd name="T65" fmla="*/ 48 h 49"/>
                <a:gd name="T66" fmla="*/ 34 w 93"/>
                <a:gd name="T67" fmla="*/ 48 h 49"/>
                <a:gd name="T68" fmla="*/ 35 w 93"/>
                <a:gd name="T69" fmla="*/ 47 h 49"/>
                <a:gd name="T70" fmla="*/ 37 w 93"/>
                <a:gd name="T71" fmla="*/ 47 h 49"/>
                <a:gd name="T72" fmla="*/ 38 w 93"/>
                <a:gd name="T73" fmla="*/ 47 h 49"/>
                <a:gd name="T74" fmla="*/ 39 w 93"/>
                <a:gd name="T75" fmla="*/ 47 h 49"/>
                <a:gd name="T76" fmla="*/ 40 w 93"/>
                <a:gd name="T77" fmla="*/ 47 h 49"/>
                <a:gd name="T78" fmla="*/ 41 w 93"/>
                <a:gd name="T79" fmla="*/ 47 h 49"/>
                <a:gd name="T80" fmla="*/ 42 w 93"/>
                <a:gd name="T81" fmla="*/ 47 h 49"/>
                <a:gd name="T82" fmla="*/ 43 w 93"/>
                <a:gd name="T83" fmla="*/ 47 h 49"/>
                <a:gd name="T84" fmla="*/ 43 w 93"/>
                <a:gd name="T85" fmla="*/ 47 h 49"/>
                <a:gd name="T86" fmla="*/ 45 w 93"/>
                <a:gd name="T87" fmla="*/ 47 h 49"/>
                <a:gd name="T88" fmla="*/ 46 w 93"/>
                <a:gd name="T89" fmla="*/ 47 h 49"/>
                <a:gd name="T90" fmla="*/ 47 w 93"/>
                <a:gd name="T91" fmla="*/ 46 h 49"/>
                <a:gd name="T92" fmla="*/ 48 w 93"/>
                <a:gd name="T93" fmla="*/ 46 h 49"/>
                <a:gd name="T94" fmla="*/ 49 w 93"/>
                <a:gd name="T95" fmla="*/ 46 h 49"/>
                <a:gd name="T96" fmla="*/ 50 w 93"/>
                <a:gd name="T97" fmla="*/ 46 h 49"/>
                <a:gd name="T98" fmla="*/ 51 w 93"/>
                <a:gd name="T99" fmla="*/ 46 h 49"/>
                <a:gd name="T100" fmla="*/ 52 w 93"/>
                <a:gd name="T101" fmla="*/ 46 h 49"/>
                <a:gd name="T102" fmla="*/ 53 w 93"/>
                <a:gd name="T103" fmla="*/ 46 h 49"/>
                <a:gd name="T104" fmla="*/ 54 w 93"/>
                <a:gd name="T105" fmla="*/ 46 h 49"/>
                <a:gd name="T106" fmla="*/ 55 w 93"/>
                <a:gd name="T107" fmla="*/ 46 h 49"/>
                <a:gd name="T108" fmla="*/ 55 w 93"/>
                <a:gd name="T109" fmla="*/ 46 h 49"/>
                <a:gd name="T110" fmla="*/ 56 w 93"/>
                <a:gd name="T111" fmla="*/ 45 h 49"/>
                <a:gd name="T112" fmla="*/ 57 w 93"/>
                <a:gd name="T113" fmla="*/ 45 h 49"/>
                <a:gd name="T114" fmla="*/ 85 w 93"/>
                <a:gd name="T11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3" h="49">
                  <a:moveTo>
                    <a:pt x="5" y="8"/>
                  </a:moveTo>
                  <a:lnTo>
                    <a:pt x="5" y="8"/>
                  </a:lnTo>
                  <a:lnTo>
                    <a:pt x="1" y="8"/>
                  </a:lnTo>
                  <a:lnTo>
                    <a:pt x="0" y="48"/>
                  </a:lnTo>
                  <a:cubicBezTo>
                    <a:pt x="1" y="48"/>
                    <a:pt x="1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lnTo>
                    <a:pt x="3" y="48"/>
                  </a:lnTo>
                  <a:cubicBezTo>
                    <a:pt x="3" y="48"/>
                    <a:pt x="3" y="48"/>
                    <a:pt x="3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49"/>
                    <a:pt x="3" y="49"/>
                    <a:pt x="3" y="49"/>
                  </a:cubicBezTo>
                  <a:lnTo>
                    <a:pt x="3" y="49"/>
                  </a:lnTo>
                  <a:cubicBezTo>
                    <a:pt x="3" y="49"/>
                    <a:pt x="3" y="49"/>
                    <a:pt x="4" y="49"/>
                  </a:cubicBezTo>
                  <a:lnTo>
                    <a:pt x="4" y="49"/>
                  </a:lnTo>
                  <a:cubicBezTo>
                    <a:pt x="4" y="49"/>
                    <a:pt x="4" y="4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49"/>
                    <a:pt x="4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48"/>
                    <a:pt x="11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5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lnTo>
                    <a:pt x="20" y="48"/>
                  </a:ln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8"/>
                    <a:pt x="24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8" y="48"/>
                    <a:pt x="28" y="48"/>
                    <a:pt x="28" y="48"/>
                  </a:cubicBezTo>
                  <a:lnTo>
                    <a:pt x="28" y="48"/>
                  </a:lnTo>
                  <a:cubicBezTo>
                    <a:pt x="28" y="48"/>
                    <a:pt x="29" y="48"/>
                    <a:pt x="29" y="48"/>
                  </a:cubicBezTo>
                  <a:lnTo>
                    <a:pt x="29" y="48"/>
                  </a:lnTo>
                  <a:cubicBezTo>
                    <a:pt x="29" y="48"/>
                    <a:pt x="29" y="48"/>
                    <a:pt x="29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8"/>
                    <a:pt x="29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6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8" y="47"/>
                  </a:ln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4" y="47"/>
                    <a:pt x="44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6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lnTo>
                    <a:pt x="57" y="45"/>
                  </a:lnTo>
                  <a:cubicBezTo>
                    <a:pt x="57" y="45"/>
                    <a:pt x="57" y="45"/>
                    <a:pt x="57" y="45"/>
                  </a:cubicBezTo>
                  <a:lnTo>
                    <a:pt x="57" y="45"/>
                  </a:lnTo>
                  <a:cubicBezTo>
                    <a:pt x="57" y="45"/>
                    <a:pt x="58" y="45"/>
                    <a:pt x="58" y="45"/>
                  </a:cubicBezTo>
                  <a:lnTo>
                    <a:pt x="58" y="45"/>
                  </a:lnTo>
                  <a:cubicBezTo>
                    <a:pt x="58" y="45"/>
                    <a:pt x="58" y="45"/>
                    <a:pt x="58" y="45"/>
                  </a:cubicBezTo>
                  <a:cubicBezTo>
                    <a:pt x="58" y="45"/>
                    <a:pt x="58" y="45"/>
                    <a:pt x="58" y="45"/>
                  </a:cubicBezTo>
                  <a:lnTo>
                    <a:pt x="58" y="45"/>
                  </a:lnTo>
                  <a:cubicBezTo>
                    <a:pt x="70" y="44"/>
                    <a:pt x="81" y="42"/>
                    <a:pt x="93" y="39"/>
                  </a:cubicBezTo>
                  <a:lnTo>
                    <a:pt x="85" y="0"/>
                  </a:lnTo>
                  <a:cubicBezTo>
                    <a:pt x="59" y="5"/>
                    <a:pt x="32" y="8"/>
                    <a:pt x="5" y="8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53">
              <a:extLst>
                <a:ext uri="{FF2B5EF4-FFF2-40B4-BE49-F238E27FC236}">
                  <a16:creationId xmlns:a16="http://schemas.microsoft.com/office/drawing/2014/main" id="{5C85520A-1D7D-0089-8820-EE226E77F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7" y="2210"/>
              <a:ext cx="41" cy="43"/>
            </a:xfrm>
            <a:custGeom>
              <a:avLst/>
              <a:gdLst>
                <a:gd name="T0" fmla="*/ 33 w 89"/>
                <a:gd name="T1" fmla="*/ 0 h 93"/>
                <a:gd name="T2" fmla="*/ 33 w 89"/>
                <a:gd name="T3" fmla="*/ 0 h 93"/>
                <a:gd name="T4" fmla="*/ 0 w 89"/>
                <a:gd name="T5" fmla="*/ 24 h 93"/>
                <a:gd name="T6" fmla="*/ 62 w 89"/>
                <a:gd name="T7" fmla="*/ 93 h 93"/>
                <a:gd name="T8" fmla="*/ 89 w 89"/>
                <a:gd name="T9" fmla="*/ 63 h 93"/>
                <a:gd name="T10" fmla="*/ 33 w 89"/>
                <a:gd name="T11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3">
                  <a:moveTo>
                    <a:pt x="33" y="0"/>
                  </a:moveTo>
                  <a:lnTo>
                    <a:pt x="33" y="0"/>
                  </a:lnTo>
                  <a:lnTo>
                    <a:pt x="0" y="24"/>
                  </a:lnTo>
                  <a:cubicBezTo>
                    <a:pt x="18" y="49"/>
                    <a:pt x="39" y="73"/>
                    <a:pt x="62" y="93"/>
                  </a:cubicBezTo>
                  <a:lnTo>
                    <a:pt x="89" y="63"/>
                  </a:lnTo>
                  <a:cubicBezTo>
                    <a:pt x="68" y="45"/>
                    <a:pt x="49" y="23"/>
                    <a:pt x="33" y="0"/>
                  </a:cubicBez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54">
              <a:extLst>
                <a:ext uri="{FF2B5EF4-FFF2-40B4-BE49-F238E27FC236}">
                  <a16:creationId xmlns:a16="http://schemas.microsoft.com/office/drawing/2014/main" id="{CB00EFDE-B9D7-D07F-A83A-1F9703218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4" y="2275"/>
              <a:ext cx="43" cy="27"/>
            </a:xfrm>
            <a:custGeom>
              <a:avLst/>
              <a:gdLst>
                <a:gd name="T0" fmla="*/ 0 w 95"/>
                <a:gd name="T1" fmla="*/ 38 h 58"/>
                <a:gd name="T2" fmla="*/ 21 w 95"/>
                <a:gd name="T3" fmla="*/ 45 h 58"/>
                <a:gd name="T4" fmla="*/ 21 w 95"/>
                <a:gd name="T5" fmla="*/ 45 h 58"/>
                <a:gd name="T6" fmla="*/ 22 w 95"/>
                <a:gd name="T7" fmla="*/ 45 h 58"/>
                <a:gd name="T8" fmla="*/ 22 w 95"/>
                <a:gd name="T9" fmla="*/ 45 h 58"/>
                <a:gd name="T10" fmla="*/ 22 w 95"/>
                <a:gd name="T11" fmla="*/ 45 h 58"/>
                <a:gd name="T12" fmla="*/ 23 w 95"/>
                <a:gd name="T13" fmla="*/ 45 h 58"/>
                <a:gd name="T14" fmla="*/ 23 w 95"/>
                <a:gd name="T15" fmla="*/ 45 h 58"/>
                <a:gd name="T16" fmla="*/ 23 w 95"/>
                <a:gd name="T17" fmla="*/ 45 h 58"/>
                <a:gd name="T18" fmla="*/ 23 w 95"/>
                <a:gd name="T19" fmla="*/ 45 h 58"/>
                <a:gd name="T20" fmla="*/ 24 w 95"/>
                <a:gd name="T21" fmla="*/ 46 h 58"/>
                <a:gd name="T22" fmla="*/ 24 w 95"/>
                <a:gd name="T23" fmla="*/ 46 h 58"/>
                <a:gd name="T24" fmla="*/ 24 w 95"/>
                <a:gd name="T25" fmla="*/ 46 h 58"/>
                <a:gd name="T26" fmla="*/ 24 w 95"/>
                <a:gd name="T27" fmla="*/ 46 h 58"/>
                <a:gd name="T28" fmla="*/ 24 w 95"/>
                <a:gd name="T29" fmla="*/ 46 h 58"/>
                <a:gd name="T30" fmla="*/ 24 w 95"/>
                <a:gd name="T31" fmla="*/ 46 h 58"/>
                <a:gd name="T32" fmla="*/ 25 w 95"/>
                <a:gd name="T33" fmla="*/ 46 h 58"/>
                <a:gd name="T34" fmla="*/ 25 w 95"/>
                <a:gd name="T35" fmla="*/ 46 h 58"/>
                <a:gd name="T36" fmla="*/ 25 w 95"/>
                <a:gd name="T37" fmla="*/ 46 h 58"/>
                <a:gd name="T38" fmla="*/ 25 w 95"/>
                <a:gd name="T39" fmla="*/ 46 h 58"/>
                <a:gd name="T40" fmla="*/ 25 w 95"/>
                <a:gd name="T41" fmla="*/ 46 h 58"/>
                <a:gd name="T42" fmla="*/ 26 w 95"/>
                <a:gd name="T43" fmla="*/ 46 h 58"/>
                <a:gd name="T44" fmla="*/ 26 w 95"/>
                <a:gd name="T45" fmla="*/ 46 h 58"/>
                <a:gd name="T46" fmla="*/ 26 w 95"/>
                <a:gd name="T47" fmla="*/ 46 h 58"/>
                <a:gd name="T48" fmla="*/ 26 w 95"/>
                <a:gd name="T49" fmla="*/ 46 h 58"/>
                <a:gd name="T50" fmla="*/ 26 w 95"/>
                <a:gd name="T51" fmla="*/ 46 h 58"/>
                <a:gd name="T52" fmla="*/ 26 w 95"/>
                <a:gd name="T53" fmla="*/ 46 h 58"/>
                <a:gd name="T54" fmla="*/ 27 w 95"/>
                <a:gd name="T55" fmla="*/ 46 h 58"/>
                <a:gd name="T56" fmla="*/ 27 w 95"/>
                <a:gd name="T57" fmla="*/ 46 h 58"/>
                <a:gd name="T58" fmla="*/ 27 w 95"/>
                <a:gd name="T59" fmla="*/ 46 h 58"/>
                <a:gd name="T60" fmla="*/ 27 w 95"/>
                <a:gd name="T61" fmla="*/ 47 h 58"/>
                <a:gd name="T62" fmla="*/ 28 w 95"/>
                <a:gd name="T63" fmla="*/ 47 h 58"/>
                <a:gd name="T64" fmla="*/ 28 w 95"/>
                <a:gd name="T65" fmla="*/ 47 h 58"/>
                <a:gd name="T66" fmla="*/ 28 w 95"/>
                <a:gd name="T67" fmla="*/ 47 h 58"/>
                <a:gd name="T68" fmla="*/ 28 w 95"/>
                <a:gd name="T69" fmla="*/ 47 h 58"/>
                <a:gd name="T70" fmla="*/ 28 w 95"/>
                <a:gd name="T71" fmla="*/ 47 h 58"/>
                <a:gd name="T72" fmla="*/ 29 w 95"/>
                <a:gd name="T73" fmla="*/ 47 h 58"/>
                <a:gd name="T74" fmla="*/ 29 w 95"/>
                <a:gd name="T75" fmla="*/ 47 h 58"/>
                <a:gd name="T76" fmla="*/ 30 w 95"/>
                <a:gd name="T77" fmla="*/ 47 h 58"/>
                <a:gd name="T78" fmla="*/ 30 w 95"/>
                <a:gd name="T79" fmla="*/ 47 h 58"/>
                <a:gd name="T80" fmla="*/ 30 w 95"/>
                <a:gd name="T81" fmla="*/ 47 h 58"/>
                <a:gd name="T82" fmla="*/ 91 w 95"/>
                <a:gd name="T83" fmla="*/ 58 h 58"/>
                <a:gd name="T84" fmla="*/ 13 w 95"/>
                <a:gd name="T8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58">
                  <a:moveTo>
                    <a:pt x="0" y="38"/>
                  </a:moveTo>
                  <a:lnTo>
                    <a:pt x="0" y="38"/>
                  </a:lnTo>
                  <a:cubicBezTo>
                    <a:pt x="7" y="41"/>
                    <a:pt x="14" y="43"/>
                    <a:pt x="21" y="45"/>
                  </a:cubicBezTo>
                  <a:lnTo>
                    <a:pt x="21" y="45"/>
                  </a:lnTo>
                  <a:cubicBezTo>
                    <a:pt x="21" y="45"/>
                    <a:pt x="21" y="45"/>
                    <a:pt x="21" y="45"/>
                  </a:cubicBezTo>
                  <a:lnTo>
                    <a:pt x="21" y="45"/>
                  </a:lnTo>
                  <a:cubicBezTo>
                    <a:pt x="21" y="45"/>
                    <a:pt x="22" y="45"/>
                    <a:pt x="22" y="45"/>
                  </a:cubicBezTo>
                  <a:lnTo>
                    <a:pt x="22" y="45"/>
                  </a:ln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3" y="45"/>
                    <a:pt x="23" y="45"/>
                  </a:cubicBezTo>
                  <a:lnTo>
                    <a:pt x="23" y="45"/>
                  </a:ln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lnTo>
                    <a:pt x="23" y="45"/>
                  </a:ln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4" y="45"/>
                    <a:pt x="24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6"/>
                    <a:pt x="24" y="46"/>
                    <a:pt x="24" y="46"/>
                  </a:cubicBezTo>
                  <a:lnTo>
                    <a:pt x="24" y="46"/>
                  </a:lnTo>
                  <a:cubicBezTo>
                    <a:pt x="24" y="46"/>
                    <a:pt x="24" y="46"/>
                    <a:pt x="24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6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9" y="47"/>
                    <a:pt x="29" y="47"/>
                    <a:pt x="29" y="47"/>
                  </a:cubicBezTo>
                  <a:lnTo>
                    <a:pt x="29" y="47"/>
                  </a:lnTo>
                  <a:cubicBezTo>
                    <a:pt x="29" y="47"/>
                    <a:pt x="29" y="47"/>
                    <a:pt x="29" y="4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47"/>
                    <a:pt x="29" y="47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50" y="52"/>
                    <a:pt x="70" y="56"/>
                    <a:pt x="91" y="58"/>
                  </a:cubicBezTo>
                  <a:lnTo>
                    <a:pt x="95" y="18"/>
                  </a:lnTo>
                  <a:cubicBezTo>
                    <a:pt x="67" y="15"/>
                    <a:pt x="39" y="9"/>
                    <a:pt x="13" y="0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rgbClr val="3740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55">
              <a:extLst>
                <a:ext uri="{FF2B5EF4-FFF2-40B4-BE49-F238E27FC236}">
                  <a16:creationId xmlns:a16="http://schemas.microsoft.com/office/drawing/2014/main" id="{EEBBA567-4E6D-2948-3043-F7D0CED7A6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9" y="1954"/>
              <a:ext cx="308" cy="308"/>
            </a:xfrm>
            <a:custGeom>
              <a:avLst/>
              <a:gdLst>
                <a:gd name="T0" fmla="*/ 337 w 674"/>
                <a:gd name="T1" fmla="*/ 40 h 673"/>
                <a:gd name="T2" fmla="*/ 337 w 674"/>
                <a:gd name="T3" fmla="*/ 40 h 673"/>
                <a:gd name="T4" fmla="*/ 40 w 674"/>
                <a:gd name="T5" fmla="*/ 336 h 673"/>
                <a:gd name="T6" fmla="*/ 337 w 674"/>
                <a:gd name="T7" fmla="*/ 633 h 673"/>
                <a:gd name="T8" fmla="*/ 634 w 674"/>
                <a:gd name="T9" fmla="*/ 336 h 673"/>
                <a:gd name="T10" fmla="*/ 337 w 674"/>
                <a:gd name="T11" fmla="*/ 40 h 673"/>
                <a:gd name="T12" fmla="*/ 337 w 674"/>
                <a:gd name="T13" fmla="*/ 40 h 673"/>
                <a:gd name="T14" fmla="*/ 337 w 674"/>
                <a:gd name="T15" fmla="*/ 673 h 673"/>
                <a:gd name="T16" fmla="*/ 337 w 674"/>
                <a:gd name="T17" fmla="*/ 673 h 673"/>
                <a:gd name="T18" fmla="*/ 0 w 674"/>
                <a:gd name="T19" fmla="*/ 336 h 673"/>
                <a:gd name="T20" fmla="*/ 337 w 674"/>
                <a:gd name="T21" fmla="*/ 0 h 673"/>
                <a:gd name="T22" fmla="*/ 674 w 674"/>
                <a:gd name="T23" fmla="*/ 336 h 673"/>
                <a:gd name="T24" fmla="*/ 337 w 674"/>
                <a:gd name="T25" fmla="*/ 673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4" h="673">
                  <a:moveTo>
                    <a:pt x="337" y="40"/>
                  </a:moveTo>
                  <a:lnTo>
                    <a:pt x="337" y="40"/>
                  </a:lnTo>
                  <a:cubicBezTo>
                    <a:pt x="173" y="40"/>
                    <a:pt x="40" y="173"/>
                    <a:pt x="40" y="336"/>
                  </a:cubicBezTo>
                  <a:cubicBezTo>
                    <a:pt x="40" y="500"/>
                    <a:pt x="173" y="633"/>
                    <a:pt x="337" y="633"/>
                  </a:cubicBezTo>
                  <a:cubicBezTo>
                    <a:pt x="500" y="633"/>
                    <a:pt x="634" y="500"/>
                    <a:pt x="634" y="336"/>
                  </a:cubicBezTo>
                  <a:cubicBezTo>
                    <a:pt x="634" y="173"/>
                    <a:pt x="500" y="40"/>
                    <a:pt x="337" y="40"/>
                  </a:cubicBezTo>
                  <a:lnTo>
                    <a:pt x="337" y="40"/>
                  </a:lnTo>
                  <a:close/>
                  <a:moveTo>
                    <a:pt x="337" y="673"/>
                  </a:moveTo>
                  <a:lnTo>
                    <a:pt x="337" y="673"/>
                  </a:lnTo>
                  <a:cubicBezTo>
                    <a:pt x="151" y="673"/>
                    <a:pt x="0" y="522"/>
                    <a:pt x="0" y="336"/>
                  </a:cubicBezTo>
                  <a:cubicBezTo>
                    <a:pt x="0" y="151"/>
                    <a:pt x="151" y="0"/>
                    <a:pt x="337" y="0"/>
                  </a:cubicBezTo>
                  <a:cubicBezTo>
                    <a:pt x="522" y="0"/>
                    <a:pt x="674" y="151"/>
                    <a:pt x="674" y="336"/>
                  </a:cubicBezTo>
                  <a:cubicBezTo>
                    <a:pt x="674" y="522"/>
                    <a:pt x="522" y="673"/>
                    <a:pt x="337" y="673"/>
                  </a:cubicBezTo>
                  <a:close/>
                </a:path>
              </a:pathLst>
            </a:custGeom>
            <a:solidFill>
              <a:srgbClr val="40AF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5" name="object 11">
            <a:extLst>
              <a:ext uri="{FF2B5EF4-FFF2-40B4-BE49-F238E27FC236}">
                <a16:creationId xmlns:a16="http://schemas.microsoft.com/office/drawing/2014/main" id="{5D1E01E8-6DC2-0D80-0779-42832D1B8CD4}"/>
              </a:ext>
            </a:extLst>
          </p:cNvPr>
          <p:cNvSpPr txBox="1"/>
          <p:nvPr/>
        </p:nvSpPr>
        <p:spPr>
          <a:xfrm>
            <a:off x="9557670" y="1592993"/>
            <a:ext cx="1097933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Design Alterna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12CBD1-8222-6C0A-36EA-F9C610D3ECC0}"/>
              </a:ext>
            </a:extLst>
          </p:cNvPr>
          <p:cNvSpPr txBox="1"/>
          <p:nvPr/>
        </p:nvSpPr>
        <p:spPr>
          <a:xfrm>
            <a:off x="4014863" y="2753287"/>
            <a:ext cx="1242444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utomated Code Synchroniz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5158F0-B455-A146-D93E-3725DC0A528C}"/>
              </a:ext>
            </a:extLst>
          </p:cNvPr>
          <p:cNvSpPr txBox="1"/>
          <p:nvPr/>
        </p:nvSpPr>
        <p:spPr>
          <a:xfrm>
            <a:off x="5161342" y="2753287"/>
            <a:ext cx="140139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ource Code Manage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756252D-6D93-9627-91CE-00709D747CED}"/>
              </a:ext>
            </a:extLst>
          </p:cNvPr>
          <p:cNvSpPr txBox="1"/>
          <p:nvPr/>
        </p:nvSpPr>
        <p:spPr>
          <a:xfrm>
            <a:off x="8791590" y="4195901"/>
            <a:ext cx="82296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Versioning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2E4FBF-DB72-FB0C-229B-FEF5E4386AA7}"/>
              </a:ext>
            </a:extLst>
          </p:cNvPr>
          <p:cNvSpPr txBox="1"/>
          <p:nvPr/>
        </p:nvSpPr>
        <p:spPr>
          <a:xfrm>
            <a:off x="9845019" y="4195901"/>
            <a:ext cx="9144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emplates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4E5A8E0-1D38-4F7F-8DE6-EEA64E4BF849}"/>
              </a:ext>
            </a:extLst>
          </p:cNvPr>
          <p:cNvSpPr txBox="1"/>
          <p:nvPr/>
        </p:nvSpPr>
        <p:spPr>
          <a:xfrm>
            <a:off x="10562781" y="4195901"/>
            <a:ext cx="168165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ustomization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6766756E-AA52-1BFB-F9DF-1C2E3004AB59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1013084" y="4521973"/>
            <a:ext cx="781050" cy="6096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FA19412B-0105-6FB1-79F3-2B8E723AF923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4245560" y="3218472"/>
            <a:ext cx="781050" cy="6096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6C53A4FF-2767-0B04-23C2-CD0BA65441FA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5471515" y="3218472"/>
            <a:ext cx="781050" cy="6096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45A54DA-F33B-EA22-036B-53FDF63D2526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9997419" y="4436248"/>
            <a:ext cx="609600" cy="78105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296B718C-FB9D-51E3-9C8F-587D65BCB777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8812545" y="4521973"/>
            <a:ext cx="781050" cy="6096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D4FB8D05-0819-38C0-308E-F18D62227CB3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9779786" y="1828881"/>
            <a:ext cx="774700" cy="6096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DBB03FFA-1E47-3875-A05A-7474579A3B31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4352067" y="5799768"/>
            <a:ext cx="609600" cy="609600"/>
          </a:xfrm>
          <a:prstGeom prst="rect">
            <a:avLst/>
          </a:prstGeom>
        </p:spPr>
      </p:pic>
      <p:sp>
        <p:nvSpPr>
          <p:cNvPr id="12" name="object 25">
            <a:extLst>
              <a:ext uri="{FF2B5EF4-FFF2-40B4-BE49-F238E27FC236}">
                <a16:creationId xmlns:a16="http://schemas.microsoft.com/office/drawing/2014/main" id="{B9A19929-B693-5607-4659-A9E995855E05}"/>
              </a:ext>
            </a:extLst>
          </p:cNvPr>
          <p:cNvSpPr txBox="1"/>
          <p:nvPr/>
        </p:nvSpPr>
        <p:spPr>
          <a:xfrm>
            <a:off x="6356615" y="5503038"/>
            <a:ext cx="134683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Protected N</a:t>
            </a:r>
            <a:r>
              <a:rPr lang="en-US" dirty="0"/>
              <a:t>etwork</a:t>
            </a:r>
            <a:endParaRPr dirty="0"/>
          </a:p>
        </p:txBody>
      </p:sp>
      <p:sp>
        <p:nvSpPr>
          <p:cNvPr id="20" name="object 5">
            <a:extLst>
              <a:ext uri="{FF2B5EF4-FFF2-40B4-BE49-F238E27FC236}">
                <a16:creationId xmlns:a16="http://schemas.microsoft.com/office/drawing/2014/main" id="{FAA78B4C-FE62-B871-429F-4CD99C0D6239}"/>
              </a:ext>
            </a:extLst>
          </p:cNvPr>
          <p:cNvSpPr txBox="1"/>
          <p:nvPr/>
        </p:nvSpPr>
        <p:spPr>
          <a:xfrm>
            <a:off x="7520489" y="5503038"/>
            <a:ext cx="126238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Global Net</a:t>
            </a:r>
            <a:r>
              <a:rPr lang="en-US" dirty="0"/>
              <a:t>work</a:t>
            </a:r>
            <a:endParaRPr dirty="0"/>
          </a:p>
        </p:txBody>
      </p:sp>
      <p:sp>
        <p:nvSpPr>
          <p:cNvPr id="24" name="object 40">
            <a:extLst>
              <a:ext uri="{FF2B5EF4-FFF2-40B4-BE49-F238E27FC236}">
                <a16:creationId xmlns:a16="http://schemas.microsoft.com/office/drawing/2014/main" id="{9837FC00-F4E8-1340-BF08-64B21D1DB937}"/>
              </a:ext>
            </a:extLst>
          </p:cNvPr>
          <p:cNvSpPr txBox="1"/>
          <p:nvPr/>
        </p:nvSpPr>
        <p:spPr>
          <a:xfrm>
            <a:off x="8529480" y="5503038"/>
            <a:ext cx="138874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Formula</a:t>
            </a:r>
          </a:p>
        </p:txBody>
      </p:sp>
      <p:sp>
        <p:nvSpPr>
          <p:cNvPr id="42" name="object 36">
            <a:extLst>
              <a:ext uri="{FF2B5EF4-FFF2-40B4-BE49-F238E27FC236}">
                <a16:creationId xmlns:a16="http://schemas.microsoft.com/office/drawing/2014/main" id="{A64FAD1E-591B-6465-D388-1118FEF6A6B6}"/>
              </a:ext>
            </a:extLst>
          </p:cNvPr>
          <p:cNvSpPr txBox="1"/>
          <p:nvPr/>
        </p:nvSpPr>
        <p:spPr>
          <a:xfrm>
            <a:off x="9545761" y="5503038"/>
            <a:ext cx="155448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Database</a:t>
            </a:r>
          </a:p>
        </p:txBody>
      </p:sp>
      <p:sp>
        <p:nvSpPr>
          <p:cNvPr id="46" name="object 25">
            <a:extLst>
              <a:ext uri="{FF2B5EF4-FFF2-40B4-BE49-F238E27FC236}">
                <a16:creationId xmlns:a16="http://schemas.microsoft.com/office/drawing/2014/main" id="{71A3E82B-32B6-33F2-C6CB-AD01425A1E1A}"/>
              </a:ext>
            </a:extLst>
          </p:cNvPr>
          <p:cNvSpPr txBox="1"/>
          <p:nvPr/>
        </p:nvSpPr>
        <p:spPr>
          <a:xfrm>
            <a:off x="5209405" y="5503038"/>
            <a:ext cx="1346835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Thermometer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3D705816-66CA-3A2E-79DE-375C13A71910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7761154" y="5714043"/>
            <a:ext cx="781050" cy="78105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68A50137-2B4D-8D73-2D78-4A047ADF345C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769547" y="5738808"/>
            <a:ext cx="731520" cy="73152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4BE559BA-0590-B8A5-C150-A85EDEA80C8C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6849057" y="5714043"/>
            <a:ext cx="361950" cy="781050"/>
          </a:xfrm>
          <a:prstGeom prst="rect">
            <a:avLst/>
          </a:prstGeom>
        </p:spPr>
      </p:pic>
      <p:grpSp>
        <p:nvGrpSpPr>
          <p:cNvPr id="148" name="Group 147">
            <a:extLst>
              <a:ext uri="{FF2B5EF4-FFF2-40B4-BE49-F238E27FC236}">
                <a16:creationId xmlns:a16="http://schemas.microsoft.com/office/drawing/2014/main" id="{F3CCC465-DF04-9DBA-F917-557442E1699E}"/>
              </a:ext>
            </a:extLst>
          </p:cNvPr>
          <p:cNvGrpSpPr/>
          <p:nvPr/>
        </p:nvGrpSpPr>
        <p:grpSpPr>
          <a:xfrm>
            <a:off x="473271" y="5768926"/>
            <a:ext cx="774198" cy="671284"/>
            <a:chOff x="649166" y="5584787"/>
            <a:chExt cx="774198" cy="671284"/>
          </a:xfrm>
        </p:grpSpPr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F28D515B-6B0C-E6AE-9903-75FFC0A9033F}"/>
                </a:ext>
              </a:extLst>
            </p:cNvPr>
            <p:cNvSpPr/>
            <p:nvPr/>
          </p:nvSpPr>
          <p:spPr>
            <a:xfrm>
              <a:off x="1106367" y="5690297"/>
              <a:ext cx="237867" cy="166965"/>
            </a:xfrm>
            <a:custGeom>
              <a:avLst/>
              <a:gdLst>
                <a:gd name="connsiteX0" fmla="*/ 176022 w 237867"/>
                <a:gd name="connsiteY0" fmla="*/ 24821 h 166965"/>
                <a:gd name="connsiteX1" fmla="*/ 136905 w 237867"/>
                <a:gd name="connsiteY1" fmla="*/ 46036 h 166965"/>
                <a:gd name="connsiteX2" fmla="*/ 136905 w 237867"/>
                <a:gd name="connsiteY2" fmla="*/ 88723 h 166965"/>
                <a:gd name="connsiteX3" fmla="*/ 176022 w 237867"/>
                <a:gd name="connsiteY3" fmla="*/ 110062 h 166965"/>
                <a:gd name="connsiteX4" fmla="*/ 215139 w 237867"/>
                <a:gd name="connsiteY4" fmla="*/ 88723 h 166965"/>
                <a:gd name="connsiteX5" fmla="*/ 215139 w 237867"/>
                <a:gd name="connsiteY5" fmla="*/ 46036 h 166965"/>
                <a:gd name="connsiteX6" fmla="*/ 176022 w 237867"/>
                <a:gd name="connsiteY6" fmla="*/ 0 h 166965"/>
                <a:gd name="connsiteX7" fmla="*/ 237867 w 237867"/>
                <a:gd name="connsiteY7" fmla="*/ 33692 h 166965"/>
                <a:gd name="connsiteX8" fmla="*/ 237867 w 237867"/>
                <a:gd name="connsiteY8" fmla="*/ 101076 h 166965"/>
                <a:gd name="connsiteX9" fmla="*/ 176022 w 237867"/>
                <a:gd name="connsiteY9" fmla="*/ 134760 h 166965"/>
                <a:gd name="connsiteX10" fmla="*/ 114300 w 237867"/>
                <a:gd name="connsiteY10" fmla="*/ 101076 h 166965"/>
                <a:gd name="connsiteX11" fmla="*/ 114300 w 237867"/>
                <a:gd name="connsiteY11" fmla="*/ 81372 h 166965"/>
                <a:gd name="connsiteX12" fmla="*/ 88134 w 237867"/>
                <a:gd name="connsiteY12" fmla="*/ 81372 h 166965"/>
                <a:gd name="connsiteX13" fmla="*/ 33727 w 237867"/>
                <a:gd name="connsiteY13" fmla="*/ 166965 h 166965"/>
                <a:gd name="connsiteX14" fmla="*/ 0 w 237867"/>
                <a:gd name="connsiteY14" fmla="*/ 166965 h 166965"/>
                <a:gd name="connsiteX15" fmla="*/ 0 w 237867"/>
                <a:gd name="connsiteY15" fmla="*/ 138478 h 166965"/>
                <a:gd name="connsiteX16" fmla="*/ 19572 w 237867"/>
                <a:gd name="connsiteY16" fmla="*/ 138478 h 166965"/>
                <a:gd name="connsiteX17" fmla="*/ 73979 w 237867"/>
                <a:gd name="connsiteY17" fmla="*/ 52753 h 166965"/>
                <a:gd name="connsiteX18" fmla="*/ 114300 w 237867"/>
                <a:gd name="connsiteY18" fmla="*/ 52753 h 166965"/>
                <a:gd name="connsiteX19" fmla="*/ 114300 w 237867"/>
                <a:gd name="connsiteY19" fmla="*/ 33692 h 16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7867" h="166965">
                  <a:moveTo>
                    <a:pt x="176022" y="24821"/>
                  </a:moveTo>
                  <a:lnTo>
                    <a:pt x="136905" y="46036"/>
                  </a:lnTo>
                  <a:lnTo>
                    <a:pt x="136905" y="88723"/>
                  </a:lnTo>
                  <a:lnTo>
                    <a:pt x="176022" y="110062"/>
                  </a:lnTo>
                  <a:lnTo>
                    <a:pt x="215139" y="88723"/>
                  </a:lnTo>
                  <a:lnTo>
                    <a:pt x="215139" y="46036"/>
                  </a:lnTo>
                  <a:close/>
                  <a:moveTo>
                    <a:pt x="176022" y="0"/>
                  </a:moveTo>
                  <a:lnTo>
                    <a:pt x="237867" y="33692"/>
                  </a:lnTo>
                  <a:lnTo>
                    <a:pt x="237867" y="101076"/>
                  </a:lnTo>
                  <a:lnTo>
                    <a:pt x="176022" y="134760"/>
                  </a:lnTo>
                  <a:lnTo>
                    <a:pt x="114300" y="101076"/>
                  </a:lnTo>
                  <a:lnTo>
                    <a:pt x="114300" y="81372"/>
                  </a:lnTo>
                  <a:lnTo>
                    <a:pt x="88134" y="81372"/>
                  </a:lnTo>
                  <a:lnTo>
                    <a:pt x="33727" y="166965"/>
                  </a:lnTo>
                  <a:lnTo>
                    <a:pt x="0" y="166965"/>
                  </a:lnTo>
                  <a:lnTo>
                    <a:pt x="0" y="138478"/>
                  </a:lnTo>
                  <a:lnTo>
                    <a:pt x="19572" y="138478"/>
                  </a:lnTo>
                  <a:lnTo>
                    <a:pt x="73979" y="52753"/>
                  </a:lnTo>
                  <a:lnTo>
                    <a:pt x="114300" y="52753"/>
                  </a:lnTo>
                  <a:lnTo>
                    <a:pt x="114300" y="33692"/>
                  </a:lnTo>
                  <a:close/>
                </a:path>
              </a:pathLst>
            </a:custGeom>
            <a:solidFill>
              <a:srgbClr val="3D4647"/>
            </a:solidFill>
            <a:ln w="87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792AF95-2FBE-BC03-5871-A4B3F93436CC}"/>
                </a:ext>
              </a:extLst>
            </p:cNvPr>
            <p:cNvSpPr/>
            <p:nvPr/>
          </p:nvSpPr>
          <p:spPr>
            <a:xfrm>
              <a:off x="1106366" y="5962857"/>
              <a:ext cx="228372" cy="161022"/>
            </a:xfrm>
            <a:custGeom>
              <a:avLst/>
              <a:gdLst>
                <a:gd name="connsiteX0" fmla="*/ 172215 w 228372"/>
                <a:gd name="connsiteY0" fmla="*/ 51673 h 161022"/>
                <a:gd name="connsiteX1" fmla="*/ 136105 w 228372"/>
                <a:gd name="connsiteY1" fmla="*/ 73020 h 161022"/>
                <a:gd name="connsiteX2" fmla="*/ 136105 w 228372"/>
                <a:gd name="connsiteY2" fmla="*/ 114977 h 161022"/>
                <a:gd name="connsiteX3" fmla="*/ 172215 w 228372"/>
                <a:gd name="connsiteY3" fmla="*/ 136325 h 161022"/>
                <a:gd name="connsiteX4" fmla="*/ 208316 w 228372"/>
                <a:gd name="connsiteY4" fmla="*/ 114977 h 161022"/>
                <a:gd name="connsiteX5" fmla="*/ 208316 w 228372"/>
                <a:gd name="connsiteY5" fmla="*/ 73020 h 161022"/>
                <a:gd name="connsiteX6" fmla="*/ 0 w 228372"/>
                <a:gd name="connsiteY6" fmla="*/ 0 h 161022"/>
                <a:gd name="connsiteX7" fmla="*/ 36576 w 228372"/>
                <a:gd name="connsiteY7" fmla="*/ 0 h 161022"/>
                <a:gd name="connsiteX8" fmla="*/ 91062 w 228372"/>
                <a:gd name="connsiteY8" fmla="*/ 78586 h 161022"/>
                <a:gd name="connsiteX9" fmla="*/ 114300 w 228372"/>
                <a:gd name="connsiteY9" fmla="*/ 78586 h 161022"/>
                <a:gd name="connsiteX10" fmla="*/ 114300 w 228372"/>
                <a:gd name="connsiteY10" fmla="*/ 59946 h 161022"/>
                <a:gd name="connsiteX11" fmla="*/ 171274 w 228372"/>
                <a:gd name="connsiteY11" fmla="*/ 26377 h 161022"/>
                <a:gd name="connsiteX12" fmla="*/ 228372 w 228372"/>
                <a:gd name="connsiteY12" fmla="*/ 59946 h 161022"/>
                <a:gd name="connsiteX13" fmla="*/ 228372 w 228372"/>
                <a:gd name="connsiteY13" fmla="*/ 127330 h 161022"/>
                <a:gd name="connsiteX14" fmla="*/ 171274 w 228372"/>
                <a:gd name="connsiteY14" fmla="*/ 161022 h 161022"/>
                <a:gd name="connsiteX15" fmla="*/ 114300 w 228372"/>
                <a:gd name="connsiteY15" fmla="*/ 127330 h 161022"/>
                <a:gd name="connsiteX16" fmla="*/ 114300 w 228372"/>
                <a:gd name="connsiteY16" fmla="*/ 104813 h 161022"/>
                <a:gd name="connsiteX17" fmla="*/ 76203 w 228372"/>
                <a:gd name="connsiteY17" fmla="*/ 104813 h 161022"/>
                <a:gd name="connsiteX18" fmla="*/ 21840 w 228372"/>
                <a:gd name="connsiteY18" fmla="*/ 26236 h 161022"/>
                <a:gd name="connsiteX19" fmla="*/ 0 w 228372"/>
                <a:gd name="connsiteY19" fmla="*/ 26236 h 1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8372" h="161022">
                  <a:moveTo>
                    <a:pt x="172215" y="51673"/>
                  </a:moveTo>
                  <a:lnTo>
                    <a:pt x="136105" y="73020"/>
                  </a:lnTo>
                  <a:lnTo>
                    <a:pt x="136105" y="114977"/>
                  </a:lnTo>
                  <a:lnTo>
                    <a:pt x="172215" y="136325"/>
                  </a:lnTo>
                  <a:lnTo>
                    <a:pt x="208316" y="114977"/>
                  </a:lnTo>
                  <a:lnTo>
                    <a:pt x="208316" y="73020"/>
                  </a:lnTo>
                  <a:close/>
                  <a:moveTo>
                    <a:pt x="0" y="0"/>
                  </a:moveTo>
                  <a:lnTo>
                    <a:pt x="36576" y="0"/>
                  </a:lnTo>
                  <a:lnTo>
                    <a:pt x="91062" y="78586"/>
                  </a:lnTo>
                  <a:lnTo>
                    <a:pt x="114300" y="78586"/>
                  </a:lnTo>
                  <a:lnTo>
                    <a:pt x="114300" y="59946"/>
                  </a:lnTo>
                  <a:lnTo>
                    <a:pt x="171274" y="26377"/>
                  </a:lnTo>
                  <a:lnTo>
                    <a:pt x="228372" y="59946"/>
                  </a:lnTo>
                  <a:lnTo>
                    <a:pt x="228372" y="127330"/>
                  </a:lnTo>
                  <a:lnTo>
                    <a:pt x="171274" y="161022"/>
                  </a:lnTo>
                  <a:lnTo>
                    <a:pt x="114300" y="127330"/>
                  </a:lnTo>
                  <a:lnTo>
                    <a:pt x="114300" y="104813"/>
                  </a:lnTo>
                  <a:lnTo>
                    <a:pt x="76203" y="104813"/>
                  </a:lnTo>
                  <a:lnTo>
                    <a:pt x="21840" y="26236"/>
                  </a:lnTo>
                  <a:lnTo>
                    <a:pt x="0" y="26236"/>
                  </a:lnTo>
                  <a:close/>
                </a:path>
              </a:pathLst>
            </a:custGeom>
            <a:solidFill>
              <a:srgbClr val="3D4647"/>
            </a:solidFill>
            <a:ln w="87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5F97F1E5-3481-53DD-0A8E-D10F9339C576}"/>
                </a:ext>
              </a:extLst>
            </p:cNvPr>
            <p:cNvSpPr/>
            <p:nvPr/>
          </p:nvSpPr>
          <p:spPr>
            <a:xfrm>
              <a:off x="649166" y="5584787"/>
              <a:ext cx="774198" cy="671284"/>
            </a:xfrm>
            <a:custGeom>
              <a:avLst/>
              <a:gdLst>
                <a:gd name="connsiteX0" fmla="*/ 712353 w 774198"/>
                <a:gd name="connsiteY0" fmla="*/ 254976 h 671284"/>
                <a:gd name="connsiteX1" fmla="*/ 774198 w 774198"/>
                <a:gd name="connsiteY1" fmla="*/ 288668 h 671284"/>
                <a:gd name="connsiteX2" fmla="*/ 774198 w 774198"/>
                <a:gd name="connsiteY2" fmla="*/ 356044 h 671284"/>
                <a:gd name="connsiteX3" fmla="*/ 712353 w 774198"/>
                <a:gd name="connsiteY3" fmla="*/ 389736 h 671284"/>
                <a:gd name="connsiteX4" fmla="*/ 650631 w 774198"/>
                <a:gd name="connsiteY4" fmla="*/ 356167 h 671284"/>
                <a:gd name="connsiteX5" fmla="*/ 650631 w 774198"/>
                <a:gd name="connsiteY5" fmla="*/ 336349 h 671284"/>
                <a:gd name="connsiteX6" fmla="*/ 457200 w 774198"/>
                <a:gd name="connsiteY6" fmla="*/ 336349 h 671284"/>
                <a:gd name="connsiteX7" fmla="*/ 457200 w 774198"/>
                <a:gd name="connsiteY7" fmla="*/ 307730 h 671284"/>
                <a:gd name="connsiteX8" fmla="*/ 650631 w 774198"/>
                <a:gd name="connsiteY8" fmla="*/ 307730 h 671284"/>
                <a:gd name="connsiteX9" fmla="*/ 650631 w 774198"/>
                <a:gd name="connsiteY9" fmla="*/ 288668 h 671284"/>
                <a:gd name="connsiteX10" fmla="*/ 266890 w 774198"/>
                <a:gd name="connsiteY10" fmla="*/ 27538 h 671284"/>
                <a:gd name="connsiteX11" fmla="*/ 189957 w 774198"/>
                <a:gd name="connsiteY11" fmla="*/ 85664 h 671284"/>
                <a:gd name="connsiteX12" fmla="*/ 189749 w 774198"/>
                <a:gd name="connsiteY12" fmla="*/ 86382 h 671284"/>
                <a:gd name="connsiteX13" fmla="*/ 190441 w 774198"/>
                <a:gd name="connsiteY13" fmla="*/ 86570 h 671284"/>
                <a:gd name="connsiteX14" fmla="*/ 186880 w 774198"/>
                <a:gd name="connsiteY14" fmla="*/ 108745 h 671284"/>
                <a:gd name="connsiteX15" fmla="*/ 272605 w 774198"/>
                <a:gd name="connsiteY15" fmla="*/ 186679 h 671284"/>
                <a:gd name="connsiteX16" fmla="*/ 272605 w 774198"/>
                <a:gd name="connsiteY16" fmla="*/ 212573 h 671284"/>
                <a:gd name="connsiteX17" fmla="*/ 228162 w 774198"/>
                <a:gd name="connsiteY17" fmla="*/ 204416 h 671284"/>
                <a:gd name="connsiteX18" fmla="*/ 198050 w 774198"/>
                <a:gd name="connsiteY18" fmla="*/ 185971 h 671284"/>
                <a:gd name="connsiteX19" fmla="*/ 172335 w 774198"/>
                <a:gd name="connsiteY19" fmla="*/ 198728 h 671284"/>
                <a:gd name="connsiteX20" fmla="*/ 158472 w 774198"/>
                <a:gd name="connsiteY20" fmla="*/ 224609 h 671284"/>
                <a:gd name="connsiteX21" fmla="*/ 131884 w 774198"/>
                <a:gd name="connsiteY21" fmla="*/ 224609 h 671284"/>
                <a:gd name="connsiteX22" fmla="*/ 151764 w 774198"/>
                <a:gd name="connsiteY22" fmla="*/ 181373 h 671284"/>
                <a:gd name="connsiteX23" fmla="*/ 180076 w 774198"/>
                <a:gd name="connsiteY23" fmla="*/ 166335 h 671284"/>
                <a:gd name="connsiteX24" fmla="*/ 167318 w 774198"/>
                <a:gd name="connsiteY24" fmla="*/ 149167 h 671284"/>
                <a:gd name="connsiteX25" fmla="*/ 158261 w 774198"/>
                <a:gd name="connsiteY25" fmla="*/ 108745 h 671284"/>
                <a:gd name="connsiteX26" fmla="*/ 159695 w 774198"/>
                <a:gd name="connsiteY26" fmla="*/ 99801 h 671284"/>
                <a:gd name="connsiteX27" fmla="*/ 144844 w 774198"/>
                <a:gd name="connsiteY27" fmla="*/ 103779 h 671284"/>
                <a:gd name="connsiteX28" fmla="*/ 93330 w 774198"/>
                <a:gd name="connsiteY28" fmla="*/ 195902 h 671284"/>
                <a:gd name="connsiteX29" fmla="*/ 94068 w 774198"/>
                <a:gd name="connsiteY29" fmla="*/ 208344 h 671284"/>
                <a:gd name="connsiteX30" fmla="*/ 95176 w 774198"/>
                <a:gd name="connsiteY30" fmla="*/ 218050 h 671284"/>
                <a:gd name="connsiteX31" fmla="*/ 86437 w 774198"/>
                <a:gd name="connsiteY31" fmla="*/ 222033 h 671284"/>
                <a:gd name="connsiteX32" fmla="*/ 26737 w 774198"/>
                <a:gd name="connsiteY32" fmla="*/ 337116 h 671284"/>
                <a:gd name="connsiteX33" fmla="*/ 53694 w 774198"/>
                <a:gd name="connsiteY33" fmla="*/ 424836 h 671284"/>
                <a:gd name="connsiteX34" fmla="*/ 57510 w 774198"/>
                <a:gd name="connsiteY34" fmla="*/ 429813 h 671284"/>
                <a:gd name="connsiteX35" fmla="*/ 56156 w 774198"/>
                <a:gd name="connsiteY35" fmla="*/ 436029 h 671284"/>
                <a:gd name="connsiteX36" fmla="*/ 53940 w 774198"/>
                <a:gd name="connsiteY36" fmla="*/ 475102 h 671284"/>
                <a:gd name="connsiteX37" fmla="*/ 116879 w 774198"/>
                <a:gd name="connsiteY37" fmla="*/ 561321 h 671284"/>
                <a:gd name="connsiteX38" fmla="*/ 134767 w 774198"/>
                <a:gd name="connsiteY38" fmla="*/ 563469 h 671284"/>
                <a:gd name="connsiteX39" fmla="*/ 131884 w 774198"/>
                <a:gd name="connsiteY39" fmla="*/ 542530 h 671284"/>
                <a:gd name="connsiteX40" fmla="*/ 141091 w 774198"/>
                <a:gd name="connsiteY40" fmla="*/ 499980 h 671284"/>
                <a:gd name="connsiteX41" fmla="*/ 147424 w 774198"/>
                <a:gd name="connsiteY41" fmla="*/ 490330 h 671284"/>
                <a:gd name="connsiteX42" fmla="*/ 116594 w 774198"/>
                <a:gd name="connsiteY42" fmla="*/ 473999 h 671284"/>
                <a:gd name="connsiteX43" fmla="*/ 96714 w 774198"/>
                <a:gd name="connsiteY43" fmla="*/ 430824 h 671284"/>
                <a:gd name="connsiteX44" fmla="*/ 123425 w 774198"/>
                <a:gd name="connsiteY44" fmla="*/ 430824 h 671284"/>
                <a:gd name="connsiteX45" fmla="*/ 137227 w 774198"/>
                <a:gd name="connsiteY45" fmla="*/ 456643 h 671284"/>
                <a:gd name="connsiteX46" fmla="*/ 161608 w 774198"/>
                <a:gd name="connsiteY46" fmla="*/ 468712 h 671284"/>
                <a:gd name="connsiteX47" fmla="*/ 164275 w 774198"/>
                <a:gd name="connsiteY47" fmla="*/ 464648 h 671284"/>
                <a:gd name="connsiteX48" fmla="*/ 240663 w 774198"/>
                <a:gd name="connsiteY48" fmla="*/ 428203 h 671284"/>
                <a:gd name="connsiteX49" fmla="*/ 308609 w 774198"/>
                <a:gd name="connsiteY49" fmla="*/ 360485 h 671284"/>
                <a:gd name="connsiteX50" fmla="*/ 308609 w 774198"/>
                <a:gd name="connsiteY50" fmla="*/ 387601 h 671284"/>
                <a:gd name="connsiteX51" fmla="*/ 267919 w 774198"/>
                <a:gd name="connsiteY51" fmla="*/ 428203 h 671284"/>
                <a:gd name="connsiteX52" fmla="*/ 267919 w 774198"/>
                <a:gd name="connsiteY52" fmla="*/ 455196 h 671284"/>
                <a:gd name="connsiteX53" fmla="*/ 254220 w 774198"/>
                <a:gd name="connsiteY53" fmla="*/ 455196 h 671284"/>
                <a:gd name="connsiteX54" fmla="*/ 159017 w 774198"/>
                <a:gd name="connsiteY54" fmla="*/ 542653 h 671284"/>
                <a:gd name="connsiteX55" fmla="*/ 170688 w 774198"/>
                <a:gd name="connsiteY55" fmla="*/ 584391 h 671284"/>
                <a:gd name="connsiteX56" fmla="*/ 179435 w 774198"/>
                <a:gd name="connsiteY56" fmla="*/ 599458 h 671284"/>
                <a:gd name="connsiteX57" fmla="*/ 253227 w 774198"/>
                <a:gd name="connsiteY57" fmla="*/ 633979 h 671284"/>
                <a:gd name="connsiteX58" fmla="*/ 346531 w 774198"/>
                <a:gd name="connsiteY58" fmla="*/ 546891 h 671284"/>
                <a:gd name="connsiteX59" fmla="*/ 346531 w 774198"/>
                <a:gd name="connsiteY59" fmla="*/ 505271 h 671284"/>
                <a:gd name="connsiteX60" fmla="*/ 313500 w 774198"/>
                <a:gd name="connsiteY60" fmla="*/ 510215 h 671284"/>
                <a:gd name="connsiteX61" fmla="*/ 281353 w 774198"/>
                <a:gd name="connsiteY61" fmla="*/ 547454 h 671284"/>
                <a:gd name="connsiteX62" fmla="*/ 254976 w 774198"/>
                <a:gd name="connsiteY62" fmla="*/ 538222 h 671284"/>
                <a:gd name="connsiteX63" fmla="*/ 333446 w 774198"/>
                <a:gd name="connsiteY63" fmla="*/ 476062 h 671284"/>
                <a:gd name="connsiteX64" fmla="*/ 346531 w 774198"/>
                <a:gd name="connsiteY64" fmla="*/ 476282 h 671284"/>
                <a:gd name="connsiteX65" fmla="*/ 346531 w 774198"/>
                <a:gd name="connsiteY65" fmla="*/ 305639 h 671284"/>
                <a:gd name="connsiteX66" fmla="*/ 342099 w 774198"/>
                <a:gd name="connsiteY66" fmla="*/ 299062 h 671284"/>
                <a:gd name="connsiteX67" fmla="*/ 306543 w 774198"/>
                <a:gd name="connsiteY67" fmla="*/ 282234 h 671284"/>
                <a:gd name="connsiteX68" fmla="*/ 247353 w 774198"/>
                <a:gd name="connsiteY68" fmla="*/ 313508 h 671284"/>
                <a:gd name="connsiteX69" fmla="*/ 174711 w 774198"/>
                <a:gd name="connsiteY69" fmla="*/ 352950 h 671284"/>
                <a:gd name="connsiteX70" fmla="*/ 165940 w 774198"/>
                <a:gd name="connsiteY70" fmla="*/ 350555 h 671284"/>
                <a:gd name="connsiteX71" fmla="*/ 139929 w 774198"/>
                <a:gd name="connsiteY71" fmla="*/ 349548 h 671284"/>
                <a:gd name="connsiteX72" fmla="*/ 140863 w 774198"/>
                <a:gd name="connsiteY72" fmla="*/ 343708 h 671284"/>
                <a:gd name="connsiteX73" fmla="*/ 140676 w 774198"/>
                <a:gd name="connsiteY73" fmla="*/ 343657 h 671284"/>
                <a:gd name="connsiteX74" fmla="*/ 140942 w 774198"/>
                <a:gd name="connsiteY74" fmla="*/ 343217 h 671284"/>
                <a:gd name="connsiteX75" fmla="*/ 141248 w 774198"/>
                <a:gd name="connsiteY75" fmla="*/ 341301 h 671284"/>
                <a:gd name="connsiteX76" fmla="*/ 105507 w 774198"/>
                <a:gd name="connsiteY76" fmla="*/ 307943 h 671284"/>
                <a:gd name="connsiteX77" fmla="*/ 105507 w 774198"/>
                <a:gd name="connsiteY77" fmla="*/ 281355 h 671284"/>
                <a:gd name="connsiteX78" fmla="*/ 164688 w 774198"/>
                <a:gd name="connsiteY78" fmla="*/ 317966 h 671284"/>
                <a:gd name="connsiteX79" fmla="*/ 165281 w 774198"/>
                <a:gd name="connsiteY79" fmla="*/ 320707 h 671284"/>
                <a:gd name="connsiteX80" fmla="*/ 193651 w 774198"/>
                <a:gd name="connsiteY80" fmla="*/ 321816 h 671284"/>
                <a:gd name="connsiteX81" fmla="*/ 227289 w 774198"/>
                <a:gd name="connsiteY81" fmla="*/ 295924 h 671284"/>
                <a:gd name="connsiteX82" fmla="*/ 307554 w 774198"/>
                <a:gd name="connsiteY82" fmla="*/ 254978 h 671284"/>
                <a:gd name="connsiteX83" fmla="*/ 338924 w 774198"/>
                <a:gd name="connsiteY83" fmla="*/ 261867 h 671284"/>
                <a:gd name="connsiteX84" fmla="*/ 346531 w 774198"/>
                <a:gd name="connsiteY84" fmla="*/ 267771 h 671284"/>
                <a:gd name="connsiteX85" fmla="*/ 346531 w 774198"/>
                <a:gd name="connsiteY85" fmla="*/ 159372 h 671284"/>
                <a:gd name="connsiteX86" fmla="*/ 312594 w 774198"/>
                <a:gd name="connsiteY86" fmla="*/ 148770 h 671284"/>
                <a:gd name="connsiteX87" fmla="*/ 290145 w 774198"/>
                <a:gd name="connsiteY87" fmla="*/ 120165 h 671284"/>
                <a:gd name="connsiteX88" fmla="*/ 306639 w 774198"/>
                <a:gd name="connsiteY88" fmla="*/ 114301 h 671284"/>
                <a:gd name="connsiteX89" fmla="*/ 326365 w 774198"/>
                <a:gd name="connsiteY89" fmla="*/ 137543 h 671284"/>
                <a:gd name="connsiteX90" fmla="*/ 346531 w 774198"/>
                <a:gd name="connsiteY90" fmla="*/ 140653 h 671284"/>
                <a:gd name="connsiteX91" fmla="*/ 346531 w 774198"/>
                <a:gd name="connsiteY91" fmla="*/ 108559 h 671284"/>
                <a:gd name="connsiteX92" fmla="*/ 266890 w 774198"/>
                <a:gd name="connsiteY92" fmla="*/ 27538 h 671284"/>
                <a:gd name="connsiteX93" fmla="*/ 514175 w 774198"/>
                <a:gd name="connsiteY93" fmla="*/ 0 h 671284"/>
                <a:gd name="connsiteX94" fmla="*/ 571273 w 774198"/>
                <a:gd name="connsiteY94" fmla="*/ 33692 h 671284"/>
                <a:gd name="connsiteX95" fmla="*/ 571273 w 774198"/>
                <a:gd name="connsiteY95" fmla="*/ 100593 h 671284"/>
                <a:gd name="connsiteX96" fmla="*/ 514175 w 774198"/>
                <a:gd name="connsiteY96" fmla="*/ 134760 h 671284"/>
                <a:gd name="connsiteX97" fmla="*/ 493816 w 774198"/>
                <a:gd name="connsiteY97" fmla="*/ 122724 h 671284"/>
                <a:gd name="connsiteX98" fmla="*/ 424300 w 774198"/>
                <a:gd name="connsiteY98" fmla="*/ 201774 h 671284"/>
                <a:gd name="connsiteX99" fmla="*/ 373488 w 774198"/>
                <a:gd name="connsiteY99" fmla="*/ 201774 h 671284"/>
                <a:gd name="connsiteX100" fmla="*/ 373488 w 774198"/>
                <a:gd name="connsiteY100" fmla="*/ 244279 h 671284"/>
                <a:gd name="connsiteX101" fmla="*/ 395653 w 774198"/>
                <a:gd name="connsiteY101" fmla="*/ 244279 h 671284"/>
                <a:gd name="connsiteX102" fmla="*/ 408112 w 774198"/>
                <a:gd name="connsiteY102" fmla="*/ 244279 h 671284"/>
                <a:gd name="connsiteX103" fmla="*/ 434954 w 774198"/>
                <a:gd name="connsiteY103" fmla="*/ 244279 h 671284"/>
                <a:gd name="connsiteX104" fmla="*/ 434954 w 774198"/>
                <a:gd name="connsiteY104" fmla="*/ 271711 h 671284"/>
                <a:gd name="connsiteX105" fmla="*/ 408112 w 774198"/>
                <a:gd name="connsiteY105" fmla="*/ 271711 h 671284"/>
                <a:gd name="connsiteX106" fmla="*/ 395653 w 774198"/>
                <a:gd name="connsiteY106" fmla="*/ 271711 h 671284"/>
                <a:gd name="connsiteX107" fmla="*/ 373488 w 774198"/>
                <a:gd name="connsiteY107" fmla="*/ 271711 h 671284"/>
                <a:gd name="connsiteX108" fmla="*/ 373488 w 774198"/>
                <a:gd name="connsiteY108" fmla="*/ 296073 h 671284"/>
                <a:gd name="connsiteX109" fmla="*/ 380196 w 774198"/>
                <a:gd name="connsiteY109" fmla="*/ 306606 h 671284"/>
                <a:gd name="connsiteX110" fmla="*/ 377667 w 774198"/>
                <a:gd name="connsiteY110" fmla="*/ 307731 h 671284"/>
                <a:gd name="connsiteX111" fmla="*/ 422031 w 774198"/>
                <a:gd name="connsiteY111" fmla="*/ 307731 h 671284"/>
                <a:gd name="connsiteX112" fmla="*/ 427078 w 774198"/>
                <a:gd name="connsiteY112" fmla="*/ 307731 h 671284"/>
                <a:gd name="connsiteX113" fmla="*/ 432230 w 774198"/>
                <a:gd name="connsiteY113" fmla="*/ 307731 h 671284"/>
                <a:gd name="connsiteX114" fmla="*/ 432230 w 774198"/>
                <a:gd name="connsiteY114" fmla="*/ 336350 h 671284"/>
                <a:gd name="connsiteX115" fmla="*/ 427078 w 774198"/>
                <a:gd name="connsiteY115" fmla="*/ 336350 h 671284"/>
                <a:gd name="connsiteX116" fmla="*/ 422031 w 774198"/>
                <a:gd name="connsiteY116" fmla="*/ 336350 h 671284"/>
                <a:gd name="connsiteX117" fmla="*/ 373488 w 774198"/>
                <a:gd name="connsiteY117" fmla="*/ 336350 h 671284"/>
                <a:gd name="connsiteX118" fmla="*/ 373488 w 774198"/>
                <a:gd name="connsiteY118" fmla="*/ 376165 h 671284"/>
                <a:gd name="connsiteX119" fmla="*/ 395654 w 774198"/>
                <a:gd name="connsiteY119" fmla="*/ 376165 h 671284"/>
                <a:gd name="connsiteX120" fmla="*/ 408113 w 774198"/>
                <a:gd name="connsiteY120" fmla="*/ 376165 h 671284"/>
                <a:gd name="connsiteX121" fmla="*/ 434032 w 774198"/>
                <a:gd name="connsiteY121" fmla="*/ 376165 h 671284"/>
                <a:gd name="connsiteX122" fmla="*/ 434032 w 774198"/>
                <a:gd name="connsiteY122" fmla="*/ 404784 h 671284"/>
                <a:gd name="connsiteX123" fmla="*/ 408113 w 774198"/>
                <a:gd name="connsiteY123" fmla="*/ 404784 h 671284"/>
                <a:gd name="connsiteX124" fmla="*/ 395654 w 774198"/>
                <a:gd name="connsiteY124" fmla="*/ 404784 h 671284"/>
                <a:gd name="connsiteX125" fmla="*/ 373488 w 774198"/>
                <a:gd name="connsiteY125" fmla="*/ 404784 h 671284"/>
                <a:gd name="connsiteX126" fmla="*/ 373488 w 774198"/>
                <a:gd name="connsiteY126" fmla="*/ 449097 h 671284"/>
                <a:gd name="connsiteX127" fmla="*/ 395654 w 774198"/>
                <a:gd name="connsiteY127" fmla="*/ 449097 h 671284"/>
                <a:gd name="connsiteX128" fmla="*/ 395654 w 774198"/>
                <a:gd name="connsiteY128" fmla="*/ 448409 h 671284"/>
                <a:gd name="connsiteX129" fmla="*/ 429751 w 774198"/>
                <a:gd name="connsiteY129" fmla="*/ 448409 h 671284"/>
                <a:gd name="connsiteX130" fmla="*/ 490263 w 774198"/>
                <a:gd name="connsiteY130" fmla="*/ 542621 h 671284"/>
                <a:gd name="connsiteX131" fmla="*/ 514175 w 774198"/>
                <a:gd name="connsiteY131" fmla="*/ 527539 h 671284"/>
                <a:gd name="connsiteX132" fmla="*/ 571273 w 774198"/>
                <a:gd name="connsiteY132" fmla="*/ 563473 h 671284"/>
                <a:gd name="connsiteX133" fmla="*/ 571273 w 774198"/>
                <a:gd name="connsiteY133" fmla="*/ 635350 h 671284"/>
                <a:gd name="connsiteX134" fmla="*/ 514175 w 774198"/>
                <a:gd name="connsiteY134" fmla="*/ 671284 h 671284"/>
                <a:gd name="connsiteX135" fmla="*/ 457201 w 774198"/>
                <a:gd name="connsiteY135" fmla="*/ 635350 h 671284"/>
                <a:gd name="connsiteX136" fmla="*/ 457201 w 774198"/>
                <a:gd name="connsiteY136" fmla="*/ 563473 h 671284"/>
                <a:gd name="connsiteX137" fmla="*/ 468009 w 774198"/>
                <a:gd name="connsiteY137" fmla="*/ 556656 h 671284"/>
                <a:gd name="connsiteX138" fmla="*/ 415841 w 774198"/>
                <a:gd name="connsiteY138" fmla="*/ 474997 h 671284"/>
                <a:gd name="connsiteX139" fmla="*/ 408112 w 774198"/>
                <a:gd name="connsiteY139" fmla="*/ 474997 h 671284"/>
                <a:gd name="connsiteX140" fmla="*/ 408112 w 774198"/>
                <a:gd name="connsiteY140" fmla="*/ 475705 h 671284"/>
                <a:gd name="connsiteX141" fmla="*/ 373488 w 774198"/>
                <a:gd name="connsiteY141" fmla="*/ 475705 h 671284"/>
                <a:gd name="connsiteX142" fmla="*/ 373488 w 774198"/>
                <a:gd name="connsiteY142" fmla="*/ 545766 h 671284"/>
                <a:gd name="connsiteX143" fmla="*/ 253842 w 774198"/>
                <a:gd name="connsiteY143" fmla="*/ 660866 h 671284"/>
                <a:gd name="connsiteX144" fmla="*/ 253227 w 774198"/>
                <a:gd name="connsiteY144" fmla="*/ 660857 h 671284"/>
                <a:gd name="connsiteX145" fmla="*/ 163233 w 774198"/>
                <a:gd name="connsiteY145" fmla="*/ 621659 h 671284"/>
                <a:gd name="connsiteX146" fmla="*/ 147438 w 774198"/>
                <a:gd name="connsiteY146" fmla="*/ 598563 h 671284"/>
                <a:gd name="connsiteX147" fmla="*/ 147332 w 774198"/>
                <a:gd name="connsiteY147" fmla="*/ 598625 h 671284"/>
                <a:gd name="connsiteX148" fmla="*/ 147090 w 774198"/>
                <a:gd name="connsiteY148" fmla="*/ 598055 h 671284"/>
                <a:gd name="connsiteX149" fmla="*/ 143921 w 774198"/>
                <a:gd name="connsiteY149" fmla="*/ 593420 h 671284"/>
                <a:gd name="connsiteX150" fmla="*/ 142813 w 774198"/>
                <a:gd name="connsiteY150" fmla="*/ 593420 h 671284"/>
                <a:gd name="connsiteX151" fmla="*/ 27475 w 774198"/>
                <a:gd name="connsiteY151" fmla="*/ 478707 h 671284"/>
                <a:gd name="connsiteX152" fmla="*/ 28829 w 774198"/>
                <a:gd name="connsiteY152" fmla="*/ 436530 h 671284"/>
                <a:gd name="connsiteX153" fmla="*/ 26 w 774198"/>
                <a:gd name="connsiteY153" fmla="*/ 336993 h 671284"/>
                <a:gd name="connsiteX154" fmla="*/ 66865 w 774198"/>
                <a:gd name="connsiteY154" fmla="*/ 201872 h 671284"/>
                <a:gd name="connsiteX155" fmla="*/ 66865 w 774198"/>
                <a:gd name="connsiteY155" fmla="*/ 195524 h 671284"/>
                <a:gd name="connsiteX156" fmla="*/ 167678 w 774198"/>
                <a:gd name="connsiteY156" fmla="*/ 68370 h 671284"/>
                <a:gd name="connsiteX157" fmla="*/ 264232 w 774198"/>
                <a:gd name="connsiteY157" fmla="*/ 35 h 671284"/>
                <a:gd name="connsiteX158" fmla="*/ 305911 w 774198"/>
                <a:gd name="connsiteY158" fmla="*/ 7492 h 671284"/>
                <a:gd name="connsiteX159" fmla="*/ 373488 w 774198"/>
                <a:gd name="connsiteY159" fmla="*/ 107935 h 671284"/>
                <a:gd name="connsiteX160" fmla="*/ 373488 w 774198"/>
                <a:gd name="connsiteY160" fmla="*/ 175538 h 671284"/>
                <a:gd name="connsiteX161" fmla="*/ 411516 w 774198"/>
                <a:gd name="connsiteY161" fmla="*/ 175538 h 671284"/>
                <a:gd name="connsiteX162" fmla="*/ 470080 w 774198"/>
                <a:gd name="connsiteY162" fmla="*/ 108690 h 671284"/>
                <a:gd name="connsiteX163" fmla="*/ 457201 w 774198"/>
                <a:gd name="connsiteY163" fmla="*/ 101076 h 671284"/>
                <a:gd name="connsiteX164" fmla="*/ 457201 w 774198"/>
                <a:gd name="connsiteY164" fmla="*/ 33692 h 67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774198" h="671284">
                  <a:moveTo>
                    <a:pt x="712353" y="254976"/>
                  </a:moveTo>
                  <a:lnTo>
                    <a:pt x="774198" y="288668"/>
                  </a:lnTo>
                  <a:lnTo>
                    <a:pt x="774198" y="356044"/>
                  </a:lnTo>
                  <a:lnTo>
                    <a:pt x="712353" y="389736"/>
                  </a:lnTo>
                  <a:lnTo>
                    <a:pt x="650631" y="356167"/>
                  </a:lnTo>
                  <a:lnTo>
                    <a:pt x="650631" y="336349"/>
                  </a:lnTo>
                  <a:lnTo>
                    <a:pt x="457200" y="336349"/>
                  </a:lnTo>
                  <a:lnTo>
                    <a:pt x="457200" y="307730"/>
                  </a:lnTo>
                  <a:lnTo>
                    <a:pt x="650631" y="307730"/>
                  </a:lnTo>
                  <a:lnTo>
                    <a:pt x="650631" y="288668"/>
                  </a:lnTo>
                  <a:close/>
                  <a:moveTo>
                    <a:pt x="266890" y="27538"/>
                  </a:moveTo>
                  <a:cubicBezTo>
                    <a:pt x="231317" y="27424"/>
                    <a:pt x="199928" y="51128"/>
                    <a:pt x="189957" y="85664"/>
                  </a:cubicBezTo>
                  <a:lnTo>
                    <a:pt x="189749" y="86382"/>
                  </a:lnTo>
                  <a:lnTo>
                    <a:pt x="190441" y="86570"/>
                  </a:lnTo>
                  <a:cubicBezTo>
                    <a:pt x="188067" y="93762"/>
                    <a:pt x="186880" y="101227"/>
                    <a:pt x="186880" y="108745"/>
                  </a:cubicBezTo>
                  <a:cubicBezTo>
                    <a:pt x="187012" y="151765"/>
                    <a:pt x="225258" y="186618"/>
                    <a:pt x="272605" y="186679"/>
                  </a:cubicBezTo>
                  <a:lnTo>
                    <a:pt x="272605" y="212573"/>
                  </a:lnTo>
                  <a:cubicBezTo>
                    <a:pt x="256845" y="212573"/>
                    <a:pt x="241826" y="209669"/>
                    <a:pt x="228162" y="204416"/>
                  </a:cubicBezTo>
                  <a:lnTo>
                    <a:pt x="198050" y="185971"/>
                  </a:lnTo>
                  <a:lnTo>
                    <a:pt x="172335" y="198728"/>
                  </a:lnTo>
                  <a:cubicBezTo>
                    <a:pt x="164104" y="205652"/>
                    <a:pt x="158472" y="214453"/>
                    <a:pt x="158472" y="224609"/>
                  </a:cubicBezTo>
                  <a:lnTo>
                    <a:pt x="131884" y="224609"/>
                  </a:lnTo>
                  <a:cubicBezTo>
                    <a:pt x="131884" y="207191"/>
                    <a:pt x="139854" y="192605"/>
                    <a:pt x="151764" y="181373"/>
                  </a:cubicBezTo>
                  <a:lnTo>
                    <a:pt x="180076" y="166335"/>
                  </a:lnTo>
                  <a:lnTo>
                    <a:pt x="167318" y="149167"/>
                  </a:lnTo>
                  <a:cubicBezTo>
                    <a:pt x="161517" y="136744"/>
                    <a:pt x="158294" y="123085"/>
                    <a:pt x="158261" y="108745"/>
                  </a:cubicBezTo>
                  <a:lnTo>
                    <a:pt x="159695" y="99801"/>
                  </a:lnTo>
                  <a:lnTo>
                    <a:pt x="144844" y="103779"/>
                  </a:lnTo>
                  <a:cubicBezTo>
                    <a:pt x="114586" y="119685"/>
                    <a:pt x="93330" y="155308"/>
                    <a:pt x="93330" y="195902"/>
                  </a:cubicBezTo>
                  <a:cubicBezTo>
                    <a:pt x="93330" y="200255"/>
                    <a:pt x="93330" y="204361"/>
                    <a:pt x="94068" y="208344"/>
                  </a:cubicBezTo>
                  <a:lnTo>
                    <a:pt x="95176" y="218050"/>
                  </a:lnTo>
                  <a:lnTo>
                    <a:pt x="86437" y="222033"/>
                  </a:lnTo>
                  <a:cubicBezTo>
                    <a:pt x="50740" y="238580"/>
                    <a:pt x="26737" y="284863"/>
                    <a:pt x="26737" y="337116"/>
                  </a:cubicBezTo>
                  <a:cubicBezTo>
                    <a:pt x="26121" y="368522"/>
                    <a:pt x="35599" y="399286"/>
                    <a:pt x="53694" y="424836"/>
                  </a:cubicBezTo>
                  <a:lnTo>
                    <a:pt x="57510" y="429813"/>
                  </a:lnTo>
                  <a:lnTo>
                    <a:pt x="56156" y="436029"/>
                  </a:lnTo>
                  <a:cubicBezTo>
                    <a:pt x="53202" y="448831"/>
                    <a:pt x="52463" y="462045"/>
                    <a:pt x="53940" y="475102"/>
                  </a:cubicBezTo>
                  <a:cubicBezTo>
                    <a:pt x="58648" y="516435"/>
                    <a:pt x="84405" y="549587"/>
                    <a:pt x="116879" y="561321"/>
                  </a:cubicBezTo>
                  <a:lnTo>
                    <a:pt x="134767" y="563469"/>
                  </a:lnTo>
                  <a:lnTo>
                    <a:pt x="131884" y="542530"/>
                  </a:lnTo>
                  <a:cubicBezTo>
                    <a:pt x="132293" y="527493"/>
                    <a:pt x="135527" y="513135"/>
                    <a:pt x="141091" y="499980"/>
                  </a:cubicBezTo>
                  <a:lnTo>
                    <a:pt x="147424" y="490330"/>
                  </a:lnTo>
                  <a:lnTo>
                    <a:pt x="116594" y="473999"/>
                  </a:lnTo>
                  <a:cubicBezTo>
                    <a:pt x="104684" y="462767"/>
                    <a:pt x="96714" y="448180"/>
                    <a:pt x="96714" y="430824"/>
                  </a:cubicBezTo>
                  <a:lnTo>
                    <a:pt x="123425" y="430824"/>
                  </a:lnTo>
                  <a:cubicBezTo>
                    <a:pt x="123425" y="440979"/>
                    <a:pt x="129026" y="449749"/>
                    <a:pt x="137227" y="456643"/>
                  </a:cubicBezTo>
                  <a:lnTo>
                    <a:pt x="161608" y="468712"/>
                  </a:lnTo>
                  <a:lnTo>
                    <a:pt x="164275" y="464648"/>
                  </a:lnTo>
                  <a:cubicBezTo>
                    <a:pt x="183728" y="444197"/>
                    <a:pt x="210514" y="430652"/>
                    <a:pt x="240663" y="428203"/>
                  </a:cubicBezTo>
                  <a:cubicBezTo>
                    <a:pt x="240663" y="395470"/>
                    <a:pt x="280597" y="360485"/>
                    <a:pt x="308609" y="360485"/>
                  </a:cubicBezTo>
                  <a:lnTo>
                    <a:pt x="308609" y="387601"/>
                  </a:lnTo>
                  <a:cubicBezTo>
                    <a:pt x="294665" y="387601"/>
                    <a:pt x="267919" y="411832"/>
                    <a:pt x="267919" y="428203"/>
                  </a:cubicBezTo>
                  <a:lnTo>
                    <a:pt x="267919" y="455196"/>
                  </a:lnTo>
                  <a:lnTo>
                    <a:pt x="254220" y="455196"/>
                  </a:lnTo>
                  <a:cubicBezTo>
                    <a:pt x="203735" y="453429"/>
                    <a:pt x="161277" y="492449"/>
                    <a:pt x="159017" y="542653"/>
                  </a:cubicBezTo>
                  <a:lnTo>
                    <a:pt x="170688" y="584391"/>
                  </a:lnTo>
                  <a:lnTo>
                    <a:pt x="179435" y="599458"/>
                  </a:lnTo>
                  <a:cubicBezTo>
                    <a:pt x="197143" y="621406"/>
                    <a:pt x="224147" y="634540"/>
                    <a:pt x="253227" y="633979"/>
                  </a:cubicBezTo>
                  <a:cubicBezTo>
                    <a:pt x="302710" y="635738"/>
                    <a:pt x="344316" y="596884"/>
                    <a:pt x="346531" y="546891"/>
                  </a:cubicBezTo>
                  <a:lnTo>
                    <a:pt x="346531" y="505271"/>
                  </a:lnTo>
                  <a:lnTo>
                    <a:pt x="313500" y="510215"/>
                  </a:lnTo>
                  <a:cubicBezTo>
                    <a:pt x="298696" y="518235"/>
                    <a:pt x="286958" y="531202"/>
                    <a:pt x="281353" y="547454"/>
                  </a:cubicBezTo>
                  <a:lnTo>
                    <a:pt x="254976" y="538222"/>
                  </a:lnTo>
                  <a:cubicBezTo>
                    <a:pt x="267242" y="504783"/>
                    <a:pt x="297979" y="481601"/>
                    <a:pt x="333446" y="476062"/>
                  </a:cubicBezTo>
                  <a:lnTo>
                    <a:pt x="346531" y="476282"/>
                  </a:lnTo>
                  <a:lnTo>
                    <a:pt x="346531" y="305639"/>
                  </a:lnTo>
                  <a:lnTo>
                    <a:pt x="342099" y="299062"/>
                  </a:lnTo>
                  <a:cubicBezTo>
                    <a:pt x="333465" y="288327"/>
                    <a:pt x="320383" y="282111"/>
                    <a:pt x="306543" y="282234"/>
                  </a:cubicBezTo>
                  <a:cubicBezTo>
                    <a:pt x="283173" y="283931"/>
                    <a:pt x="261711" y="295299"/>
                    <a:pt x="247353" y="313508"/>
                  </a:cubicBezTo>
                  <a:cubicBezTo>
                    <a:pt x="230085" y="336456"/>
                    <a:pt x="203541" y="350858"/>
                    <a:pt x="174711" y="352950"/>
                  </a:cubicBezTo>
                  <a:lnTo>
                    <a:pt x="165940" y="350555"/>
                  </a:lnTo>
                  <a:lnTo>
                    <a:pt x="139929" y="349548"/>
                  </a:lnTo>
                  <a:lnTo>
                    <a:pt x="140863" y="343708"/>
                  </a:lnTo>
                  <a:lnTo>
                    <a:pt x="140676" y="343657"/>
                  </a:lnTo>
                  <a:lnTo>
                    <a:pt x="140942" y="343217"/>
                  </a:lnTo>
                  <a:lnTo>
                    <a:pt x="141248" y="341301"/>
                  </a:lnTo>
                  <a:cubicBezTo>
                    <a:pt x="141248" y="322872"/>
                    <a:pt x="125290" y="307943"/>
                    <a:pt x="105507" y="307943"/>
                  </a:cubicBezTo>
                  <a:lnTo>
                    <a:pt x="105507" y="281355"/>
                  </a:lnTo>
                  <a:cubicBezTo>
                    <a:pt x="132115" y="281355"/>
                    <a:pt x="154939" y="296449"/>
                    <a:pt x="164688" y="317966"/>
                  </a:cubicBezTo>
                  <a:lnTo>
                    <a:pt x="165281" y="320707"/>
                  </a:lnTo>
                  <a:lnTo>
                    <a:pt x="193651" y="321816"/>
                  </a:lnTo>
                  <a:cubicBezTo>
                    <a:pt x="206304" y="316555"/>
                    <a:pt x="218084" y="306725"/>
                    <a:pt x="227289" y="295924"/>
                  </a:cubicBezTo>
                  <a:cubicBezTo>
                    <a:pt x="246852" y="271481"/>
                    <a:pt x="276060" y="256578"/>
                    <a:pt x="307554" y="254978"/>
                  </a:cubicBezTo>
                  <a:cubicBezTo>
                    <a:pt x="318540" y="254929"/>
                    <a:pt x="329241" y="257338"/>
                    <a:pt x="338924" y="261867"/>
                  </a:cubicBezTo>
                  <a:lnTo>
                    <a:pt x="346531" y="267771"/>
                  </a:lnTo>
                  <a:lnTo>
                    <a:pt x="346531" y="159372"/>
                  </a:lnTo>
                  <a:lnTo>
                    <a:pt x="312594" y="148770"/>
                  </a:lnTo>
                  <a:cubicBezTo>
                    <a:pt x="302423" y="141816"/>
                    <a:pt x="294453" y="131951"/>
                    <a:pt x="290145" y="120165"/>
                  </a:cubicBezTo>
                  <a:lnTo>
                    <a:pt x="306639" y="114301"/>
                  </a:lnTo>
                  <a:cubicBezTo>
                    <a:pt x="310086" y="124443"/>
                    <a:pt x="317287" y="132532"/>
                    <a:pt x="326365" y="137543"/>
                  </a:cubicBezTo>
                  <a:lnTo>
                    <a:pt x="346531" y="140653"/>
                  </a:lnTo>
                  <a:lnTo>
                    <a:pt x="346531" y="108559"/>
                  </a:lnTo>
                  <a:cubicBezTo>
                    <a:pt x="346654" y="63965"/>
                    <a:pt x="311080" y="27688"/>
                    <a:pt x="266890" y="27538"/>
                  </a:cubicBezTo>
                  <a:close/>
                  <a:moveTo>
                    <a:pt x="514175" y="0"/>
                  </a:moveTo>
                  <a:lnTo>
                    <a:pt x="571273" y="33692"/>
                  </a:lnTo>
                  <a:lnTo>
                    <a:pt x="571273" y="100593"/>
                  </a:lnTo>
                  <a:lnTo>
                    <a:pt x="514175" y="134760"/>
                  </a:lnTo>
                  <a:lnTo>
                    <a:pt x="493816" y="122724"/>
                  </a:lnTo>
                  <a:lnTo>
                    <a:pt x="424300" y="201774"/>
                  </a:lnTo>
                  <a:lnTo>
                    <a:pt x="373488" y="201774"/>
                  </a:lnTo>
                  <a:lnTo>
                    <a:pt x="373488" y="244279"/>
                  </a:lnTo>
                  <a:lnTo>
                    <a:pt x="395653" y="244279"/>
                  </a:lnTo>
                  <a:lnTo>
                    <a:pt x="408112" y="244279"/>
                  </a:lnTo>
                  <a:lnTo>
                    <a:pt x="434954" y="244279"/>
                  </a:lnTo>
                  <a:lnTo>
                    <a:pt x="434954" y="271711"/>
                  </a:lnTo>
                  <a:lnTo>
                    <a:pt x="408112" y="271711"/>
                  </a:lnTo>
                  <a:lnTo>
                    <a:pt x="395653" y="271711"/>
                  </a:lnTo>
                  <a:lnTo>
                    <a:pt x="373488" y="271711"/>
                  </a:lnTo>
                  <a:lnTo>
                    <a:pt x="373488" y="296073"/>
                  </a:lnTo>
                  <a:lnTo>
                    <a:pt x="380196" y="306606"/>
                  </a:lnTo>
                  <a:lnTo>
                    <a:pt x="377667" y="307731"/>
                  </a:lnTo>
                  <a:lnTo>
                    <a:pt x="422031" y="307731"/>
                  </a:lnTo>
                  <a:lnTo>
                    <a:pt x="427078" y="307731"/>
                  </a:lnTo>
                  <a:lnTo>
                    <a:pt x="432230" y="307731"/>
                  </a:lnTo>
                  <a:lnTo>
                    <a:pt x="432230" y="336350"/>
                  </a:lnTo>
                  <a:lnTo>
                    <a:pt x="427078" y="336350"/>
                  </a:lnTo>
                  <a:lnTo>
                    <a:pt x="422031" y="336350"/>
                  </a:lnTo>
                  <a:lnTo>
                    <a:pt x="373488" y="336350"/>
                  </a:lnTo>
                  <a:lnTo>
                    <a:pt x="373488" y="376165"/>
                  </a:lnTo>
                  <a:lnTo>
                    <a:pt x="395654" y="376165"/>
                  </a:lnTo>
                  <a:lnTo>
                    <a:pt x="408113" y="376165"/>
                  </a:lnTo>
                  <a:lnTo>
                    <a:pt x="434032" y="376165"/>
                  </a:lnTo>
                  <a:lnTo>
                    <a:pt x="434032" y="404784"/>
                  </a:lnTo>
                  <a:lnTo>
                    <a:pt x="408113" y="404784"/>
                  </a:lnTo>
                  <a:lnTo>
                    <a:pt x="395654" y="404784"/>
                  </a:lnTo>
                  <a:lnTo>
                    <a:pt x="373488" y="404784"/>
                  </a:lnTo>
                  <a:lnTo>
                    <a:pt x="373488" y="449097"/>
                  </a:lnTo>
                  <a:lnTo>
                    <a:pt x="395654" y="449097"/>
                  </a:lnTo>
                  <a:lnTo>
                    <a:pt x="395654" y="448409"/>
                  </a:lnTo>
                  <a:lnTo>
                    <a:pt x="429751" y="448409"/>
                  </a:lnTo>
                  <a:lnTo>
                    <a:pt x="490263" y="542621"/>
                  </a:lnTo>
                  <a:lnTo>
                    <a:pt x="514175" y="527539"/>
                  </a:lnTo>
                  <a:lnTo>
                    <a:pt x="571273" y="563473"/>
                  </a:lnTo>
                  <a:lnTo>
                    <a:pt x="571273" y="635350"/>
                  </a:lnTo>
                  <a:lnTo>
                    <a:pt x="514175" y="671284"/>
                  </a:lnTo>
                  <a:lnTo>
                    <a:pt x="457201" y="635350"/>
                  </a:lnTo>
                  <a:lnTo>
                    <a:pt x="457201" y="563473"/>
                  </a:lnTo>
                  <a:lnTo>
                    <a:pt x="468009" y="556656"/>
                  </a:lnTo>
                  <a:lnTo>
                    <a:pt x="415841" y="474997"/>
                  </a:lnTo>
                  <a:lnTo>
                    <a:pt x="408112" y="474997"/>
                  </a:lnTo>
                  <a:lnTo>
                    <a:pt x="408112" y="475705"/>
                  </a:lnTo>
                  <a:lnTo>
                    <a:pt x="373488" y="475705"/>
                  </a:lnTo>
                  <a:lnTo>
                    <a:pt x="373488" y="545766"/>
                  </a:lnTo>
                  <a:cubicBezTo>
                    <a:pt x="371888" y="610961"/>
                    <a:pt x="318343" y="662501"/>
                    <a:pt x="253842" y="660866"/>
                  </a:cubicBezTo>
                  <a:cubicBezTo>
                    <a:pt x="253596" y="660866"/>
                    <a:pt x="253473" y="660857"/>
                    <a:pt x="253227" y="660857"/>
                  </a:cubicBezTo>
                  <a:cubicBezTo>
                    <a:pt x="218607" y="661259"/>
                    <a:pt x="186064" y="646627"/>
                    <a:pt x="163233" y="621659"/>
                  </a:cubicBezTo>
                  <a:lnTo>
                    <a:pt x="147438" y="598563"/>
                  </a:lnTo>
                  <a:lnTo>
                    <a:pt x="147332" y="598625"/>
                  </a:lnTo>
                  <a:lnTo>
                    <a:pt x="147090" y="598055"/>
                  </a:lnTo>
                  <a:lnTo>
                    <a:pt x="143921" y="593420"/>
                  </a:lnTo>
                  <a:lnTo>
                    <a:pt x="142813" y="593420"/>
                  </a:lnTo>
                  <a:cubicBezTo>
                    <a:pt x="85452" y="593420"/>
                    <a:pt x="34861" y="544280"/>
                    <a:pt x="27475" y="478707"/>
                  </a:cubicBezTo>
                  <a:cubicBezTo>
                    <a:pt x="25875" y="464657"/>
                    <a:pt x="26368" y="450448"/>
                    <a:pt x="28829" y="436530"/>
                  </a:cubicBezTo>
                  <a:cubicBezTo>
                    <a:pt x="9504" y="407076"/>
                    <a:pt x="-590" y="372355"/>
                    <a:pt x="26" y="336993"/>
                  </a:cubicBezTo>
                  <a:cubicBezTo>
                    <a:pt x="26" y="278392"/>
                    <a:pt x="26491" y="225014"/>
                    <a:pt x="66865" y="201872"/>
                  </a:cubicBezTo>
                  <a:cubicBezTo>
                    <a:pt x="66865" y="199753"/>
                    <a:pt x="66865" y="197643"/>
                    <a:pt x="66865" y="195524"/>
                  </a:cubicBezTo>
                  <a:cubicBezTo>
                    <a:pt x="66865" y="129336"/>
                    <a:pt x="110439" y="75465"/>
                    <a:pt x="167678" y="68370"/>
                  </a:cubicBezTo>
                  <a:cubicBezTo>
                    <a:pt x="183834" y="26833"/>
                    <a:pt x="222700" y="1117"/>
                    <a:pt x="264232" y="35"/>
                  </a:cubicBezTo>
                  <a:cubicBezTo>
                    <a:pt x="278076" y="-325"/>
                    <a:pt x="292217" y="2052"/>
                    <a:pt x="305911" y="7492"/>
                  </a:cubicBezTo>
                  <a:cubicBezTo>
                    <a:pt x="346777" y="23714"/>
                    <a:pt x="373611" y="63578"/>
                    <a:pt x="373488" y="107935"/>
                  </a:cubicBezTo>
                  <a:lnTo>
                    <a:pt x="373488" y="175538"/>
                  </a:lnTo>
                  <a:lnTo>
                    <a:pt x="411516" y="175538"/>
                  </a:lnTo>
                  <a:lnTo>
                    <a:pt x="470080" y="108690"/>
                  </a:lnTo>
                  <a:lnTo>
                    <a:pt x="457201" y="101076"/>
                  </a:lnTo>
                  <a:lnTo>
                    <a:pt x="457201" y="33692"/>
                  </a:lnTo>
                  <a:close/>
                </a:path>
              </a:pathLst>
            </a:custGeom>
            <a:solidFill>
              <a:schemeClr val="accent1"/>
            </a:solidFill>
            <a:ln w="87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4C2FD383-844D-3A5B-B838-F6AC906BE9FD}"/>
              </a:ext>
            </a:extLst>
          </p:cNvPr>
          <p:cNvSpPr txBox="1"/>
          <p:nvPr/>
        </p:nvSpPr>
        <p:spPr>
          <a:xfrm>
            <a:off x="1479245" y="5503038"/>
            <a:ext cx="1312124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Machine Learning</a:t>
            </a:r>
          </a:p>
        </p:txBody>
      </p:sp>
      <p:pic>
        <p:nvPicPr>
          <p:cNvPr id="156" name="Graphic 155">
            <a:extLst>
              <a:ext uri="{FF2B5EF4-FFF2-40B4-BE49-F238E27FC236}">
                <a16:creationId xmlns:a16="http://schemas.microsoft.com/office/drawing/2014/main" id="{407945A5-0E9B-3D2A-996F-F70068DCB209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0018201" y="5799768"/>
            <a:ext cx="609600" cy="609600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9536663B-59B9-3B97-71E9-4147A47B38C2}"/>
              </a:ext>
            </a:extLst>
          </p:cNvPr>
          <p:cNvGrpSpPr/>
          <p:nvPr/>
        </p:nvGrpSpPr>
        <p:grpSpPr>
          <a:xfrm>
            <a:off x="534788" y="4540070"/>
            <a:ext cx="609600" cy="572452"/>
            <a:chOff x="534788" y="4540070"/>
            <a:chExt cx="609600" cy="572452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5015DE-2046-DE20-6715-4C92AD7E9314}"/>
                </a:ext>
              </a:extLst>
            </p:cNvPr>
            <p:cNvSpPr/>
            <p:nvPr/>
          </p:nvSpPr>
          <p:spPr>
            <a:xfrm>
              <a:off x="645710" y="4772956"/>
              <a:ext cx="202450" cy="59531"/>
            </a:xfrm>
            <a:custGeom>
              <a:avLst/>
              <a:gdLst>
                <a:gd name="connsiteX0" fmla="*/ 202450 w 202450"/>
                <a:gd name="connsiteY0" fmla="*/ 35719 h 59531"/>
                <a:gd name="connsiteX1" fmla="*/ 191973 w 202450"/>
                <a:gd name="connsiteY1" fmla="*/ 12859 h 59531"/>
                <a:gd name="connsiteX2" fmla="*/ 131965 w 202450"/>
                <a:gd name="connsiteY2" fmla="*/ 1429 h 59531"/>
                <a:gd name="connsiteX3" fmla="*/ 89103 w 202450"/>
                <a:gd name="connsiteY3" fmla="*/ 22384 h 59531"/>
                <a:gd name="connsiteX4" fmla="*/ 15760 w 202450"/>
                <a:gd name="connsiteY4" fmla="*/ 23336 h 59531"/>
                <a:gd name="connsiteX5" fmla="*/ 2425 w 202450"/>
                <a:gd name="connsiteY5" fmla="*/ 24289 h 59531"/>
                <a:gd name="connsiteX6" fmla="*/ 3378 w 202450"/>
                <a:gd name="connsiteY6" fmla="*/ 37624 h 59531"/>
                <a:gd name="connsiteX7" fmla="*/ 51003 w 202450"/>
                <a:gd name="connsiteY7" fmla="*/ 59531 h 59531"/>
                <a:gd name="connsiteX8" fmla="*/ 100533 w 202450"/>
                <a:gd name="connsiteY8" fmla="*/ 37624 h 59531"/>
                <a:gd name="connsiteX9" fmla="*/ 134823 w 202450"/>
                <a:gd name="connsiteY9" fmla="*/ 19526 h 59531"/>
                <a:gd name="connsiteX10" fmla="*/ 179590 w 202450"/>
                <a:gd name="connsiteY10" fmla="*/ 26194 h 59531"/>
                <a:gd name="connsiteX11" fmla="*/ 184353 w 202450"/>
                <a:gd name="connsiteY11" fmla="*/ 34766 h 59531"/>
                <a:gd name="connsiteX12" fmla="*/ 193878 w 202450"/>
                <a:gd name="connsiteY12" fmla="*/ 44291 h 59531"/>
                <a:gd name="connsiteX13" fmla="*/ 202450 w 202450"/>
                <a:gd name="connsiteY13" fmla="*/ 35719 h 5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2450" h="59531">
                  <a:moveTo>
                    <a:pt x="202450" y="35719"/>
                  </a:moveTo>
                  <a:cubicBezTo>
                    <a:pt x="202450" y="34766"/>
                    <a:pt x="202450" y="22384"/>
                    <a:pt x="191973" y="12859"/>
                  </a:cubicBezTo>
                  <a:cubicBezTo>
                    <a:pt x="179590" y="1429"/>
                    <a:pt x="159588" y="-2381"/>
                    <a:pt x="131965" y="1429"/>
                  </a:cubicBezTo>
                  <a:cubicBezTo>
                    <a:pt x="114820" y="3334"/>
                    <a:pt x="101485" y="13811"/>
                    <a:pt x="89103" y="22384"/>
                  </a:cubicBezTo>
                  <a:cubicBezTo>
                    <a:pt x="65290" y="39529"/>
                    <a:pt x="48145" y="51911"/>
                    <a:pt x="15760" y="23336"/>
                  </a:cubicBezTo>
                  <a:cubicBezTo>
                    <a:pt x="11950" y="19526"/>
                    <a:pt x="6235" y="20479"/>
                    <a:pt x="2425" y="24289"/>
                  </a:cubicBezTo>
                  <a:cubicBezTo>
                    <a:pt x="-1385" y="28099"/>
                    <a:pt x="-432" y="33814"/>
                    <a:pt x="3378" y="37624"/>
                  </a:cubicBezTo>
                  <a:cubicBezTo>
                    <a:pt x="21475" y="53816"/>
                    <a:pt x="37668" y="59531"/>
                    <a:pt x="51003" y="59531"/>
                  </a:cubicBezTo>
                  <a:cubicBezTo>
                    <a:pt x="71005" y="59531"/>
                    <a:pt x="86245" y="48101"/>
                    <a:pt x="100533" y="37624"/>
                  </a:cubicBezTo>
                  <a:cubicBezTo>
                    <a:pt x="111963" y="29051"/>
                    <a:pt x="123393" y="21431"/>
                    <a:pt x="134823" y="19526"/>
                  </a:cubicBezTo>
                  <a:cubicBezTo>
                    <a:pt x="155778" y="16669"/>
                    <a:pt x="171970" y="19526"/>
                    <a:pt x="179590" y="26194"/>
                  </a:cubicBezTo>
                  <a:cubicBezTo>
                    <a:pt x="184353" y="30004"/>
                    <a:pt x="184353" y="34766"/>
                    <a:pt x="184353" y="34766"/>
                  </a:cubicBezTo>
                  <a:cubicBezTo>
                    <a:pt x="184353" y="39529"/>
                    <a:pt x="188163" y="44291"/>
                    <a:pt x="193878" y="44291"/>
                  </a:cubicBezTo>
                  <a:cubicBezTo>
                    <a:pt x="196735" y="45244"/>
                    <a:pt x="201498" y="41434"/>
                    <a:pt x="202450" y="35719"/>
                  </a:cubicBez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94D78B1-79AF-71AF-C5AE-62BB040120B7}"/>
                </a:ext>
              </a:extLst>
            </p:cNvPr>
            <p:cNvSpPr/>
            <p:nvPr/>
          </p:nvSpPr>
          <p:spPr>
            <a:xfrm>
              <a:off x="607983" y="4845823"/>
              <a:ext cx="190222" cy="161925"/>
            </a:xfrm>
            <a:custGeom>
              <a:avLst/>
              <a:gdLst>
                <a:gd name="connsiteX0" fmla="*/ 189694 w 190222"/>
                <a:gd name="connsiteY0" fmla="*/ 8573 h 161925"/>
                <a:gd name="connsiteX1" fmla="*/ 179217 w 190222"/>
                <a:gd name="connsiteY1" fmla="*/ 0 h 161925"/>
                <a:gd name="connsiteX2" fmla="*/ 170644 w 190222"/>
                <a:gd name="connsiteY2" fmla="*/ 10477 h 161925"/>
                <a:gd name="connsiteX3" fmla="*/ 134449 w 190222"/>
                <a:gd name="connsiteY3" fmla="*/ 63818 h 161925"/>
                <a:gd name="connsiteX4" fmla="*/ 69679 w 190222"/>
                <a:gd name="connsiteY4" fmla="*/ 92393 h 161925"/>
                <a:gd name="connsiteX5" fmla="*/ 35389 w 190222"/>
                <a:gd name="connsiteY5" fmla="*/ 74295 h 161925"/>
                <a:gd name="connsiteX6" fmla="*/ 19197 w 190222"/>
                <a:gd name="connsiteY6" fmla="*/ 47625 h 161925"/>
                <a:gd name="connsiteX7" fmla="*/ 7767 w 190222"/>
                <a:gd name="connsiteY7" fmla="*/ 40005 h 161925"/>
                <a:gd name="connsiteX8" fmla="*/ 147 w 190222"/>
                <a:gd name="connsiteY8" fmla="*/ 51435 h 161925"/>
                <a:gd name="connsiteX9" fmla="*/ 23959 w 190222"/>
                <a:gd name="connsiteY9" fmla="*/ 88582 h 161925"/>
                <a:gd name="connsiteX10" fmla="*/ 53487 w 190222"/>
                <a:gd name="connsiteY10" fmla="*/ 106680 h 161925"/>
                <a:gd name="connsiteX11" fmla="*/ 26817 w 190222"/>
                <a:gd name="connsiteY11" fmla="*/ 150495 h 161925"/>
                <a:gd name="connsiteX12" fmla="*/ 33484 w 190222"/>
                <a:gd name="connsiteY12" fmla="*/ 161925 h 161925"/>
                <a:gd name="connsiteX13" fmla="*/ 35389 w 190222"/>
                <a:gd name="connsiteY13" fmla="*/ 161925 h 161925"/>
                <a:gd name="connsiteX14" fmla="*/ 44914 w 190222"/>
                <a:gd name="connsiteY14" fmla="*/ 154305 h 161925"/>
                <a:gd name="connsiteX15" fmla="*/ 139212 w 190222"/>
                <a:gd name="connsiteY15" fmla="*/ 80963 h 161925"/>
                <a:gd name="connsiteX16" fmla="*/ 189694 w 190222"/>
                <a:gd name="connsiteY16" fmla="*/ 857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0222" h="161925">
                  <a:moveTo>
                    <a:pt x="189694" y="8573"/>
                  </a:moveTo>
                  <a:cubicBezTo>
                    <a:pt x="188742" y="3810"/>
                    <a:pt x="183979" y="0"/>
                    <a:pt x="179217" y="0"/>
                  </a:cubicBezTo>
                  <a:cubicBezTo>
                    <a:pt x="174454" y="952"/>
                    <a:pt x="170644" y="5715"/>
                    <a:pt x="170644" y="10477"/>
                  </a:cubicBezTo>
                  <a:cubicBezTo>
                    <a:pt x="170644" y="12382"/>
                    <a:pt x="175407" y="53340"/>
                    <a:pt x="134449" y="63818"/>
                  </a:cubicBezTo>
                  <a:cubicBezTo>
                    <a:pt x="106827" y="70485"/>
                    <a:pt x="85872" y="80963"/>
                    <a:pt x="69679" y="92393"/>
                  </a:cubicBezTo>
                  <a:cubicBezTo>
                    <a:pt x="63964" y="91440"/>
                    <a:pt x="51582" y="86677"/>
                    <a:pt x="35389" y="74295"/>
                  </a:cubicBezTo>
                  <a:cubicBezTo>
                    <a:pt x="23007" y="61913"/>
                    <a:pt x="19197" y="47625"/>
                    <a:pt x="19197" y="47625"/>
                  </a:cubicBezTo>
                  <a:cubicBezTo>
                    <a:pt x="18244" y="42863"/>
                    <a:pt x="13482" y="39052"/>
                    <a:pt x="7767" y="40005"/>
                  </a:cubicBezTo>
                  <a:cubicBezTo>
                    <a:pt x="3004" y="40957"/>
                    <a:pt x="-806" y="45720"/>
                    <a:pt x="147" y="51435"/>
                  </a:cubicBezTo>
                  <a:cubicBezTo>
                    <a:pt x="147" y="52388"/>
                    <a:pt x="4909" y="72390"/>
                    <a:pt x="23959" y="88582"/>
                  </a:cubicBezTo>
                  <a:cubicBezTo>
                    <a:pt x="35389" y="98107"/>
                    <a:pt x="44914" y="103823"/>
                    <a:pt x="53487" y="106680"/>
                  </a:cubicBezTo>
                  <a:cubicBezTo>
                    <a:pt x="32532" y="128588"/>
                    <a:pt x="26817" y="148590"/>
                    <a:pt x="26817" y="150495"/>
                  </a:cubicBezTo>
                  <a:cubicBezTo>
                    <a:pt x="25864" y="155258"/>
                    <a:pt x="28722" y="160973"/>
                    <a:pt x="33484" y="161925"/>
                  </a:cubicBezTo>
                  <a:cubicBezTo>
                    <a:pt x="34437" y="161925"/>
                    <a:pt x="35389" y="161925"/>
                    <a:pt x="35389" y="161925"/>
                  </a:cubicBezTo>
                  <a:cubicBezTo>
                    <a:pt x="39199" y="161925"/>
                    <a:pt x="43962" y="159068"/>
                    <a:pt x="44914" y="154305"/>
                  </a:cubicBezTo>
                  <a:cubicBezTo>
                    <a:pt x="44914" y="153352"/>
                    <a:pt x="58249" y="100965"/>
                    <a:pt x="139212" y="80963"/>
                  </a:cubicBezTo>
                  <a:cubicBezTo>
                    <a:pt x="184932" y="70485"/>
                    <a:pt x="192552" y="28575"/>
                    <a:pt x="189694" y="8573"/>
                  </a:cubicBez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D883B76-FD1F-5FB7-A284-C5590880A786}"/>
                </a:ext>
              </a:extLst>
            </p:cNvPr>
            <p:cNvSpPr/>
            <p:nvPr/>
          </p:nvSpPr>
          <p:spPr>
            <a:xfrm flipV="1">
              <a:off x="750408" y="4949417"/>
              <a:ext cx="87030" cy="64045"/>
            </a:xfrm>
            <a:custGeom>
              <a:avLst/>
              <a:gdLst>
                <a:gd name="connsiteX0" fmla="*/ 83464 w 87030"/>
                <a:gd name="connsiteY0" fmla="*/ 4038 h 64045"/>
                <a:gd name="connsiteX1" fmla="*/ 32982 w 87030"/>
                <a:gd name="connsiteY1" fmla="*/ 9753 h 64045"/>
                <a:gd name="connsiteX2" fmla="*/ 597 w 87030"/>
                <a:gd name="connsiteY2" fmla="*/ 50710 h 64045"/>
                <a:gd name="connsiteX3" fmla="*/ 6312 w 87030"/>
                <a:gd name="connsiteY3" fmla="*/ 63093 h 64045"/>
                <a:gd name="connsiteX4" fmla="*/ 9169 w 87030"/>
                <a:gd name="connsiteY4" fmla="*/ 64045 h 64045"/>
                <a:gd name="connsiteX5" fmla="*/ 17742 w 87030"/>
                <a:gd name="connsiteY5" fmla="*/ 57378 h 64045"/>
                <a:gd name="connsiteX6" fmla="*/ 41554 w 87030"/>
                <a:gd name="connsiteY6" fmla="*/ 25945 h 64045"/>
                <a:gd name="connsiteX7" fmla="*/ 72034 w 87030"/>
                <a:gd name="connsiteY7" fmla="*/ 19278 h 64045"/>
                <a:gd name="connsiteX8" fmla="*/ 85369 w 87030"/>
                <a:gd name="connsiteY8" fmla="*/ 16420 h 64045"/>
                <a:gd name="connsiteX9" fmla="*/ 83464 w 87030"/>
                <a:gd name="connsiteY9" fmla="*/ 4038 h 6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030" h="64045">
                  <a:moveTo>
                    <a:pt x="83464" y="4038"/>
                  </a:moveTo>
                  <a:cubicBezTo>
                    <a:pt x="81559" y="3085"/>
                    <a:pt x="63462" y="-7392"/>
                    <a:pt x="32982" y="9753"/>
                  </a:cubicBezTo>
                  <a:cubicBezTo>
                    <a:pt x="10122" y="23088"/>
                    <a:pt x="597" y="49758"/>
                    <a:pt x="597" y="50710"/>
                  </a:cubicBezTo>
                  <a:cubicBezTo>
                    <a:pt x="-1308" y="55473"/>
                    <a:pt x="1549" y="61188"/>
                    <a:pt x="6312" y="63093"/>
                  </a:cubicBezTo>
                  <a:cubicBezTo>
                    <a:pt x="7264" y="63093"/>
                    <a:pt x="8217" y="64045"/>
                    <a:pt x="9169" y="64045"/>
                  </a:cubicBezTo>
                  <a:cubicBezTo>
                    <a:pt x="12979" y="64045"/>
                    <a:pt x="16789" y="61188"/>
                    <a:pt x="17742" y="57378"/>
                  </a:cubicBezTo>
                  <a:cubicBezTo>
                    <a:pt x="17742" y="57378"/>
                    <a:pt x="25362" y="35470"/>
                    <a:pt x="41554" y="25945"/>
                  </a:cubicBezTo>
                  <a:cubicBezTo>
                    <a:pt x="61557" y="14515"/>
                    <a:pt x="72034" y="19278"/>
                    <a:pt x="72034" y="19278"/>
                  </a:cubicBezTo>
                  <a:cubicBezTo>
                    <a:pt x="76797" y="22135"/>
                    <a:pt x="82512" y="21183"/>
                    <a:pt x="85369" y="16420"/>
                  </a:cubicBezTo>
                  <a:cubicBezTo>
                    <a:pt x="88227" y="11658"/>
                    <a:pt x="87274" y="6895"/>
                    <a:pt x="83464" y="4038"/>
                  </a:cubicBez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DB822A6-DDEA-5956-159C-8C087D56D170}"/>
                </a:ext>
              </a:extLst>
            </p:cNvPr>
            <p:cNvSpPr/>
            <p:nvPr/>
          </p:nvSpPr>
          <p:spPr>
            <a:xfrm>
              <a:off x="640871" y="4650916"/>
              <a:ext cx="129839" cy="102514"/>
            </a:xfrm>
            <a:custGeom>
              <a:avLst/>
              <a:gdLst>
                <a:gd name="connsiteX0" fmla="*/ 32982 w 129839"/>
                <a:gd name="connsiteY0" fmla="*/ 54889 h 102514"/>
                <a:gd name="connsiteX1" fmla="*/ 26314 w 129839"/>
                <a:gd name="connsiteY1" fmla="*/ 68224 h 102514"/>
                <a:gd name="connsiteX2" fmla="*/ 22504 w 129839"/>
                <a:gd name="connsiteY2" fmla="*/ 93942 h 102514"/>
                <a:gd name="connsiteX3" fmla="*/ 32029 w 129839"/>
                <a:gd name="connsiteY3" fmla="*/ 102514 h 102514"/>
                <a:gd name="connsiteX4" fmla="*/ 32982 w 129839"/>
                <a:gd name="connsiteY4" fmla="*/ 102514 h 102514"/>
                <a:gd name="connsiteX5" fmla="*/ 41554 w 129839"/>
                <a:gd name="connsiteY5" fmla="*/ 92037 h 102514"/>
                <a:gd name="connsiteX6" fmla="*/ 44412 w 129839"/>
                <a:gd name="connsiteY6" fmla="*/ 74892 h 102514"/>
                <a:gd name="connsiteX7" fmla="*/ 50127 w 129839"/>
                <a:gd name="connsiteY7" fmla="*/ 65367 h 102514"/>
                <a:gd name="connsiteX8" fmla="*/ 58699 w 129839"/>
                <a:gd name="connsiteY8" fmla="*/ 69177 h 102514"/>
                <a:gd name="connsiteX9" fmla="*/ 92037 w 129839"/>
                <a:gd name="connsiteY9" fmla="*/ 76797 h 102514"/>
                <a:gd name="connsiteX10" fmla="*/ 125374 w 129839"/>
                <a:gd name="connsiteY10" fmla="*/ 68224 h 102514"/>
                <a:gd name="connsiteX11" fmla="*/ 128232 w 129839"/>
                <a:gd name="connsiteY11" fmla="*/ 54889 h 102514"/>
                <a:gd name="connsiteX12" fmla="*/ 114897 w 129839"/>
                <a:gd name="connsiteY12" fmla="*/ 52032 h 102514"/>
                <a:gd name="connsiteX13" fmla="*/ 66319 w 129839"/>
                <a:gd name="connsiteY13" fmla="*/ 51079 h 102514"/>
                <a:gd name="connsiteX14" fmla="*/ 18694 w 129839"/>
                <a:gd name="connsiteY14" fmla="*/ 6312 h 102514"/>
                <a:gd name="connsiteX15" fmla="*/ 6312 w 129839"/>
                <a:gd name="connsiteY15" fmla="*/ 597 h 102514"/>
                <a:gd name="connsiteX16" fmla="*/ 597 w 129839"/>
                <a:gd name="connsiteY16" fmla="*/ 12979 h 102514"/>
                <a:gd name="connsiteX17" fmla="*/ 32982 w 129839"/>
                <a:gd name="connsiteY17" fmla="*/ 54889 h 102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9839" h="102514">
                  <a:moveTo>
                    <a:pt x="32982" y="54889"/>
                  </a:moveTo>
                  <a:cubicBezTo>
                    <a:pt x="31077" y="57747"/>
                    <a:pt x="28219" y="62509"/>
                    <a:pt x="26314" y="68224"/>
                  </a:cubicBezTo>
                  <a:cubicBezTo>
                    <a:pt x="21552" y="79654"/>
                    <a:pt x="22504" y="92037"/>
                    <a:pt x="22504" y="93942"/>
                  </a:cubicBezTo>
                  <a:cubicBezTo>
                    <a:pt x="22504" y="98704"/>
                    <a:pt x="27267" y="102514"/>
                    <a:pt x="32029" y="102514"/>
                  </a:cubicBezTo>
                  <a:cubicBezTo>
                    <a:pt x="32029" y="102514"/>
                    <a:pt x="32029" y="102514"/>
                    <a:pt x="32982" y="102514"/>
                  </a:cubicBezTo>
                  <a:cubicBezTo>
                    <a:pt x="37744" y="102514"/>
                    <a:pt x="42507" y="97752"/>
                    <a:pt x="41554" y="92037"/>
                  </a:cubicBezTo>
                  <a:cubicBezTo>
                    <a:pt x="41554" y="92037"/>
                    <a:pt x="40602" y="82512"/>
                    <a:pt x="44412" y="74892"/>
                  </a:cubicBezTo>
                  <a:cubicBezTo>
                    <a:pt x="46317" y="70129"/>
                    <a:pt x="48222" y="67272"/>
                    <a:pt x="50127" y="65367"/>
                  </a:cubicBezTo>
                  <a:cubicBezTo>
                    <a:pt x="52984" y="67272"/>
                    <a:pt x="55842" y="68224"/>
                    <a:pt x="58699" y="69177"/>
                  </a:cubicBezTo>
                  <a:cubicBezTo>
                    <a:pt x="71082" y="74892"/>
                    <a:pt x="82512" y="76797"/>
                    <a:pt x="92037" y="76797"/>
                  </a:cubicBezTo>
                  <a:cubicBezTo>
                    <a:pt x="112039" y="76797"/>
                    <a:pt x="124422" y="68224"/>
                    <a:pt x="125374" y="68224"/>
                  </a:cubicBezTo>
                  <a:cubicBezTo>
                    <a:pt x="130137" y="65367"/>
                    <a:pt x="131089" y="59652"/>
                    <a:pt x="128232" y="54889"/>
                  </a:cubicBezTo>
                  <a:cubicBezTo>
                    <a:pt x="125374" y="50127"/>
                    <a:pt x="119659" y="49174"/>
                    <a:pt x="114897" y="52032"/>
                  </a:cubicBezTo>
                  <a:cubicBezTo>
                    <a:pt x="114897" y="52032"/>
                    <a:pt x="93942" y="65367"/>
                    <a:pt x="66319" y="51079"/>
                  </a:cubicBezTo>
                  <a:cubicBezTo>
                    <a:pt x="29172" y="32982"/>
                    <a:pt x="18694" y="7264"/>
                    <a:pt x="18694" y="6312"/>
                  </a:cubicBezTo>
                  <a:cubicBezTo>
                    <a:pt x="16789" y="1549"/>
                    <a:pt x="11074" y="-1308"/>
                    <a:pt x="6312" y="597"/>
                  </a:cubicBezTo>
                  <a:cubicBezTo>
                    <a:pt x="1549" y="2502"/>
                    <a:pt x="-1308" y="8217"/>
                    <a:pt x="597" y="12979"/>
                  </a:cubicBezTo>
                  <a:cubicBezTo>
                    <a:pt x="597" y="15837"/>
                    <a:pt x="8217" y="35839"/>
                    <a:pt x="32982" y="54889"/>
                  </a:cubicBez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D4307A4-61EB-F822-A889-0578FFB58BBB}"/>
                </a:ext>
              </a:extLst>
            </p:cNvPr>
            <p:cNvSpPr/>
            <p:nvPr/>
          </p:nvSpPr>
          <p:spPr>
            <a:xfrm flipV="1">
              <a:off x="768956" y="4639936"/>
              <a:ext cx="69679" cy="56344"/>
            </a:xfrm>
            <a:custGeom>
              <a:avLst/>
              <a:gdLst>
                <a:gd name="connsiteX0" fmla="*/ 19197 w 69679"/>
                <a:gd name="connsiteY0" fmla="*/ 43009 h 56344"/>
                <a:gd name="connsiteX1" fmla="*/ 57297 w 69679"/>
                <a:gd name="connsiteY1" fmla="*/ 56344 h 56344"/>
                <a:gd name="connsiteX2" fmla="*/ 61107 w 69679"/>
                <a:gd name="connsiteY2" fmla="*/ 56344 h 56344"/>
                <a:gd name="connsiteX3" fmla="*/ 69679 w 69679"/>
                <a:gd name="connsiteY3" fmla="*/ 45867 h 56344"/>
                <a:gd name="connsiteX4" fmla="*/ 59202 w 69679"/>
                <a:gd name="connsiteY4" fmla="*/ 37294 h 56344"/>
                <a:gd name="connsiteX5" fmla="*/ 31579 w 69679"/>
                <a:gd name="connsiteY5" fmla="*/ 27769 h 56344"/>
                <a:gd name="connsiteX6" fmla="*/ 18244 w 69679"/>
                <a:gd name="connsiteY6" fmla="*/ 7767 h 56344"/>
                <a:gd name="connsiteX7" fmla="*/ 7767 w 69679"/>
                <a:gd name="connsiteY7" fmla="*/ 147 h 56344"/>
                <a:gd name="connsiteX8" fmla="*/ 147 w 69679"/>
                <a:gd name="connsiteY8" fmla="*/ 10624 h 56344"/>
                <a:gd name="connsiteX9" fmla="*/ 19197 w 69679"/>
                <a:gd name="connsiteY9" fmla="*/ 43009 h 56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79" h="56344">
                  <a:moveTo>
                    <a:pt x="19197" y="43009"/>
                  </a:moveTo>
                  <a:cubicBezTo>
                    <a:pt x="34437" y="55392"/>
                    <a:pt x="49677" y="56344"/>
                    <a:pt x="57297" y="56344"/>
                  </a:cubicBezTo>
                  <a:cubicBezTo>
                    <a:pt x="59202" y="56344"/>
                    <a:pt x="61107" y="56344"/>
                    <a:pt x="61107" y="56344"/>
                  </a:cubicBezTo>
                  <a:cubicBezTo>
                    <a:pt x="65869" y="55392"/>
                    <a:pt x="69679" y="50629"/>
                    <a:pt x="69679" y="45867"/>
                  </a:cubicBezTo>
                  <a:cubicBezTo>
                    <a:pt x="68727" y="41104"/>
                    <a:pt x="64917" y="37294"/>
                    <a:pt x="59202" y="37294"/>
                  </a:cubicBezTo>
                  <a:cubicBezTo>
                    <a:pt x="58249" y="37294"/>
                    <a:pt x="44914" y="38247"/>
                    <a:pt x="31579" y="27769"/>
                  </a:cubicBezTo>
                  <a:cubicBezTo>
                    <a:pt x="21102" y="19197"/>
                    <a:pt x="18244" y="7767"/>
                    <a:pt x="18244" y="7767"/>
                  </a:cubicBezTo>
                  <a:cubicBezTo>
                    <a:pt x="17292" y="3004"/>
                    <a:pt x="12529" y="-806"/>
                    <a:pt x="7767" y="147"/>
                  </a:cubicBezTo>
                  <a:cubicBezTo>
                    <a:pt x="3004" y="1099"/>
                    <a:pt x="-806" y="5862"/>
                    <a:pt x="147" y="10624"/>
                  </a:cubicBezTo>
                  <a:cubicBezTo>
                    <a:pt x="-806" y="12529"/>
                    <a:pt x="3004" y="29674"/>
                    <a:pt x="19197" y="43009"/>
                  </a:cubicBez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D310196-615B-70D4-3963-E90263E7BA4C}"/>
                </a:ext>
              </a:extLst>
            </p:cNvPr>
            <p:cNvSpPr/>
            <p:nvPr/>
          </p:nvSpPr>
          <p:spPr>
            <a:xfrm>
              <a:off x="832920" y="4821143"/>
              <a:ext cx="203402" cy="58969"/>
            </a:xfrm>
            <a:custGeom>
              <a:avLst/>
              <a:gdLst>
                <a:gd name="connsiteX0" fmla="*/ 52388 w 203402"/>
                <a:gd name="connsiteY0" fmla="*/ 58970 h 58969"/>
                <a:gd name="connsiteX1" fmla="*/ 71438 w 203402"/>
                <a:gd name="connsiteY1" fmla="*/ 58017 h 58969"/>
                <a:gd name="connsiteX2" fmla="*/ 114300 w 203402"/>
                <a:gd name="connsiteY2" fmla="*/ 37062 h 58969"/>
                <a:gd name="connsiteX3" fmla="*/ 187643 w 203402"/>
                <a:gd name="connsiteY3" fmla="*/ 36110 h 58969"/>
                <a:gd name="connsiteX4" fmla="*/ 200978 w 203402"/>
                <a:gd name="connsiteY4" fmla="*/ 35157 h 58969"/>
                <a:gd name="connsiteX5" fmla="*/ 200025 w 203402"/>
                <a:gd name="connsiteY5" fmla="*/ 21822 h 58969"/>
                <a:gd name="connsiteX6" fmla="*/ 102870 w 203402"/>
                <a:gd name="connsiteY6" fmla="*/ 21822 h 58969"/>
                <a:gd name="connsiteX7" fmla="*/ 68580 w 203402"/>
                <a:gd name="connsiteY7" fmla="*/ 39920 h 58969"/>
                <a:gd name="connsiteX8" fmla="*/ 23813 w 203402"/>
                <a:gd name="connsiteY8" fmla="*/ 33252 h 58969"/>
                <a:gd name="connsiteX9" fmla="*/ 19050 w 203402"/>
                <a:gd name="connsiteY9" fmla="*/ 24680 h 58969"/>
                <a:gd name="connsiteX10" fmla="*/ 9525 w 203402"/>
                <a:gd name="connsiteY10" fmla="*/ 15155 h 58969"/>
                <a:gd name="connsiteX11" fmla="*/ 0 w 203402"/>
                <a:gd name="connsiteY11" fmla="*/ 24680 h 58969"/>
                <a:gd name="connsiteX12" fmla="*/ 10478 w 203402"/>
                <a:gd name="connsiteY12" fmla="*/ 47540 h 58969"/>
                <a:gd name="connsiteX13" fmla="*/ 52388 w 203402"/>
                <a:gd name="connsiteY13" fmla="*/ 58970 h 58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3402" h="58969">
                  <a:moveTo>
                    <a:pt x="52388" y="58970"/>
                  </a:moveTo>
                  <a:cubicBezTo>
                    <a:pt x="58103" y="58970"/>
                    <a:pt x="64770" y="58970"/>
                    <a:pt x="71438" y="58017"/>
                  </a:cubicBezTo>
                  <a:cubicBezTo>
                    <a:pt x="88582" y="56112"/>
                    <a:pt x="101918" y="45635"/>
                    <a:pt x="114300" y="37062"/>
                  </a:cubicBezTo>
                  <a:cubicBezTo>
                    <a:pt x="138113" y="19917"/>
                    <a:pt x="155258" y="7535"/>
                    <a:pt x="187643" y="36110"/>
                  </a:cubicBezTo>
                  <a:cubicBezTo>
                    <a:pt x="191453" y="39920"/>
                    <a:pt x="197168" y="38967"/>
                    <a:pt x="200978" y="35157"/>
                  </a:cubicBezTo>
                  <a:cubicBezTo>
                    <a:pt x="204788" y="31347"/>
                    <a:pt x="203835" y="25632"/>
                    <a:pt x="200025" y="21822"/>
                  </a:cubicBezTo>
                  <a:cubicBezTo>
                    <a:pt x="156210" y="-17230"/>
                    <a:pt x="126682" y="4677"/>
                    <a:pt x="102870" y="21822"/>
                  </a:cubicBezTo>
                  <a:cubicBezTo>
                    <a:pt x="91440" y="30395"/>
                    <a:pt x="80010" y="38015"/>
                    <a:pt x="68580" y="39920"/>
                  </a:cubicBezTo>
                  <a:cubicBezTo>
                    <a:pt x="47625" y="42777"/>
                    <a:pt x="31432" y="39920"/>
                    <a:pt x="23813" y="33252"/>
                  </a:cubicBezTo>
                  <a:cubicBezTo>
                    <a:pt x="19050" y="29442"/>
                    <a:pt x="19050" y="24680"/>
                    <a:pt x="19050" y="24680"/>
                  </a:cubicBezTo>
                  <a:cubicBezTo>
                    <a:pt x="19050" y="19917"/>
                    <a:pt x="15240" y="15155"/>
                    <a:pt x="9525" y="15155"/>
                  </a:cubicBezTo>
                  <a:cubicBezTo>
                    <a:pt x="4763" y="15155"/>
                    <a:pt x="0" y="18965"/>
                    <a:pt x="0" y="24680"/>
                  </a:cubicBezTo>
                  <a:cubicBezTo>
                    <a:pt x="0" y="25632"/>
                    <a:pt x="0" y="38015"/>
                    <a:pt x="10478" y="47540"/>
                  </a:cubicBezTo>
                  <a:cubicBezTo>
                    <a:pt x="19050" y="55160"/>
                    <a:pt x="33338" y="58970"/>
                    <a:pt x="52388" y="58970"/>
                  </a:cubicBez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9274CD4-1047-DA21-2A24-85E4B4650014}"/>
                </a:ext>
              </a:extLst>
            </p:cNvPr>
            <p:cNvSpPr/>
            <p:nvPr/>
          </p:nvSpPr>
          <p:spPr>
            <a:xfrm>
              <a:off x="841284" y="4647556"/>
              <a:ext cx="87482" cy="63461"/>
            </a:xfrm>
            <a:custGeom>
              <a:avLst/>
              <a:gdLst>
                <a:gd name="connsiteX0" fmla="*/ 4971 w 87482"/>
                <a:gd name="connsiteY0" fmla="*/ 59652 h 63461"/>
                <a:gd name="connsiteX1" fmla="*/ 22116 w 87482"/>
                <a:gd name="connsiteY1" fmla="*/ 63462 h 63461"/>
                <a:gd name="connsiteX2" fmla="*/ 54501 w 87482"/>
                <a:gd name="connsiteY2" fmla="*/ 53937 h 63461"/>
                <a:gd name="connsiteX3" fmla="*/ 86886 w 87482"/>
                <a:gd name="connsiteY3" fmla="*/ 12979 h 63461"/>
                <a:gd name="connsiteX4" fmla="*/ 81171 w 87482"/>
                <a:gd name="connsiteY4" fmla="*/ 597 h 63461"/>
                <a:gd name="connsiteX5" fmla="*/ 68788 w 87482"/>
                <a:gd name="connsiteY5" fmla="*/ 6312 h 63461"/>
                <a:gd name="connsiteX6" fmla="*/ 44976 w 87482"/>
                <a:gd name="connsiteY6" fmla="*/ 37744 h 63461"/>
                <a:gd name="connsiteX7" fmla="*/ 14496 w 87482"/>
                <a:gd name="connsiteY7" fmla="*/ 44412 h 63461"/>
                <a:gd name="connsiteX8" fmla="*/ 1161 w 87482"/>
                <a:gd name="connsiteY8" fmla="*/ 47269 h 63461"/>
                <a:gd name="connsiteX9" fmla="*/ 4971 w 87482"/>
                <a:gd name="connsiteY9" fmla="*/ 59652 h 63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482" h="63461">
                  <a:moveTo>
                    <a:pt x="4971" y="59652"/>
                  </a:moveTo>
                  <a:cubicBezTo>
                    <a:pt x="5923" y="60604"/>
                    <a:pt x="11638" y="63462"/>
                    <a:pt x="22116" y="63462"/>
                  </a:cubicBezTo>
                  <a:cubicBezTo>
                    <a:pt x="30688" y="63462"/>
                    <a:pt x="41166" y="61557"/>
                    <a:pt x="54501" y="53937"/>
                  </a:cubicBezTo>
                  <a:cubicBezTo>
                    <a:pt x="77361" y="40602"/>
                    <a:pt x="86886" y="13932"/>
                    <a:pt x="86886" y="12979"/>
                  </a:cubicBezTo>
                  <a:cubicBezTo>
                    <a:pt x="88791" y="8217"/>
                    <a:pt x="85933" y="2502"/>
                    <a:pt x="81171" y="597"/>
                  </a:cubicBezTo>
                  <a:cubicBezTo>
                    <a:pt x="76408" y="-1308"/>
                    <a:pt x="70693" y="1549"/>
                    <a:pt x="68788" y="6312"/>
                  </a:cubicBezTo>
                  <a:cubicBezTo>
                    <a:pt x="68788" y="6312"/>
                    <a:pt x="61168" y="28219"/>
                    <a:pt x="44976" y="37744"/>
                  </a:cubicBezTo>
                  <a:cubicBezTo>
                    <a:pt x="24973" y="49174"/>
                    <a:pt x="14496" y="44412"/>
                    <a:pt x="14496" y="44412"/>
                  </a:cubicBezTo>
                  <a:cubicBezTo>
                    <a:pt x="9733" y="41554"/>
                    <a:pt x="4018" y="42507"/>
                    <a:pt x="1161" y="47269"/>
                  </a:cubicBezTo>
                  <a:cubicBezTo>
                    <a:pt x="-1697" y="52032"/>
                    <a:pt x="1161" y="56794"/>
                    <a:pt x="4971" y="59652"/>
                  </a:cubicBez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C1EC2E-7FBD-B0FE-44AD-6EC51EF6881A}"/>
                </a:ext>
              </a:extLst>
            </p:cNvPr>
            <p:cNvSpPr/>
            <p:nvPr/>
          </p:nvSpPr>
          <p:spPr>
            <a:xfrm>
              <a:off x="910370" y="4899992"/>
              <a:ext cx="128886" cy="101087"/>
            </a:xfrm>
            <a:custGeom>
              <a:avLst/>
              <a:gdLst>
                <a:gd name="connsiteX0" fmla="*/ 95905 w 128886"/>
                <a:gd name="connsiteY0" fmla="*/ 47748 h 101087"/>
                <a:gd name="connsiteX1" fmla="*/ 102572 w 128886"/>
                <a:gd name="connsiteY1" fmla="*/ 34413 h 101087"/>
                <a:gd name="connsiteX2" fmla="*/ 106382 w 128886"/>
                <a:gd name="connsiteY2" fmla="*/ 8695 h 101087"/>
                <a:gd name="connsiteX3" fmla="*/ 96857 w 128886"/>
                <a:gd name="connsiteY3" fmla="*/ 123 h 101087"/>
                <a:gd name="connsiteX4" fmla="*/ 88285 w 128886"/>
                <a:gd name="connsiteY4" fmla="*/ 9648 h 101087"/>
                <a:gd name="connsiteX5" fmla="*/ 85427 w 128886"/>
                <a:gd name="connsiteY5" fmla="*/ 26793 h 101087"/>
                <a:gd name="connsiteX6" fmla="*/ 79712 w 128886"/>
                <a:gd name="connsiteY6" fmla="*/ 36318 h 101087"/>
                <a:gd name="connsiteX7" fmla="*/ 71140 w 128886"/>
                <a:gd name="connsiteY7" fmla="*/ 32508 h 101087"/>
                <a:gd name="connsiteX8" fmla="*/ 4465 w 128886"/>
                <a:gd name="connsiteY8" fmla="*/ 33460 h 101087"/>
                <a:gd name="connsiteX9" fmla="*/ 1607 w 128886"/>
                <a:gd name="connsiteY9" fmla="*/ 46795 h 101087"/>
                <a:gd name="connsiteX10" fmla="*/ 14942 w 128886"/>
                <a:gd name="connsiteY10" fmla="*/ 49653 h 101087"/>
                <a:gd name="connsiteX11" fmla="*/ 63520 w 128886"/>
                <a:gd name="connsiteY11" fmla="*/ 50605 h 101087"/>
                <a:gd name="connsiteX12" fmla="*/ 111145 w 128886"/>
                <a:gd name="connsiteY12" fmla="*/ 95373 h 101087"/>
                <a:gd name="connsiteX13" fmla="*/ 119717 w 128886"/>
                <a:gd name="connsiteY13" fmla="*/ 101088 h 101087"/>
                <a:gd name="connsiteX14" fmla="*/ 122575 w 128886"/>
                <a:gd name="connsiteY14" fmla="*/ 100135 h 101087"/>
                <a:gd name="connsiteX15" fmla="*/ 128290 w 128886"/>
                <a:gd name="connsiteY15" fmla="*/ 87753 h 101087"/>
                <a:gd name="connsiteX16" fmla="*/ 95905 w 128886"/>
                <a:gd name="connsiteY16" fmla="*/ 47748 h 101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8886" h="101087">
                  <a:moveTo>
                    <a:pt x="95905" y="47748"/>
                  </a:moveTo>
                  <a:cubicBezTo>
                    <a:pt x="97810" y="44890"/>
                    <a:pt x="100667" y="40128"/>
                    <a:pt x="102572" y="34413"/>
                  </a:cubicBezTo>
                  <a:cubicBezTo>
                    <a:pt x="107335" y="22983"/>
                    <a:pt x="106382" y="10600"/>
                    <a:pt x="106382" y="8695"/>
                  </a:cubicBezTo>
                  <a:cubicBezTo>
                    <a:pt x="106382" y="3933"/>
                    <a:pt x="101620" y="-830"/>
                    <a:pt x="96857" y="123"/>
                  </a:cubicBezTo>
                  <a:cubicBezTo>
                    <a:pt x="92095" y="123"/>
                    <a:pt x="87332" y="4885"/>
                    <a:pt x="88285" y="9648"/>
                  </a:cubicBezTo>
                  <a:cubicBezTo>
                    <a:pt x="88285" y="9648"/>
                    <a:pt x="89237" y="19173"/>
                    <a:pt x="85427" y="26793"/>
                  </a:cubicBezTo>
                  <a:cubicBezTo>
                    <a:pt x="83522" y="31555"/>
                    <a:pt x="81617" y="34413"/>
                    <a:pt x="79712" y="36318"/>
                  </a:cubicBezTo>
                  <a:cubicBezTo>
                    <a:pt x="76855" y="34413"/>
                    <a:pt x="73997" y="33460"/>
                    <a:pt x="71140" y="32508"/>
                  </a:cubicBezTo>
                  <a:cubicBezTo>
                    <a:pt x="33992" y="14410"/>
                    <a:pt x="5417" y="32508"/>
                    <a:pt x="4465" y="33460"/>
                  </a:cubicBezTo>
                  <a:cubicBezTo>
                    <a:pt x="-298" y="36318"/>
                    <a:pt x="-1250" y="42033"/>
                    <a:pt x="1607" y="46795"/>
                  </a:cubicBezTo>
                  <a:cubicBezTo>
                    <a:pt x="4465" y="51558"/>
                    <a:pt x="10180" y="52510"/>
                    <a:pt x="14942" y="49653"/>
                  </a:cubicBezTo>
                  <a:cubicBezTo>
                    <a:pt x="14942" y="49653"/>
                    <a:pt x="35897" y="36318"/>
                    <a:pt x="63520" y="50605"/>
                  </a:cubicBezTo>
                  <a:cubicBezTo>
                    <a:pt x="100667" y="68703"/>
                    <a:pt x="111145" y="93468"/>
                    <a:pt x="111145" y="95373"/>
                  </a:cubicBezTo>
                  <a:cubicBezTo>
                    <a:pt x="112097" y="99183"/>
                    <a:pt x="115907" y="101088"/>
                    <a:pt x="119717" y="101088"/>
                  </a:cubicBezTo>
                  <a:cubicBezTo>
                    <a:pt x="120670" y="101088"/>
                    <a:pt x="121622" y="101088"/>
                    <a:pt x="122575" y="100135"/>
                  </a:cubicBezTo>
                  <a:cubicBezTo>
                    <a:pt x="127337" y="98230"/>
                    <a:pt x="130195" y="92515"/>
                    <a:pt x="128290" y="87753"/>
                  </a:cubicBezTo>
                  <a:cubicBezTo>
                    <a:pt x="128290" y="86800"/>
                    <a:pt x="120670" y="66798"/>
                    <a:pt x="95905" y="47748"/>
                  </a:cubicBez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6DAF219-B799-B962-EBDB-D8201FDE9741}"/>
                </a:ext>
              </a:extLst>
            </p:cNvPr>
            <p:cNvSpPr/>
            <p:nvPr/>
          </p:nvSpPr>
          <p:spPr>
            <a:xfrm>
              <a:off x="841493" y="4946911"/>
              <a:ext cx="70631" cy="56391"/>
            </a:xfrm>
            <a:custGeom>
              <a:avLst/>
              <a:gdLst>
                <a:gd name="connsiteX0" fmla="*/ 50482 w 70631"/>
                <a:gd name="connsiteY0" fmla="*/ 13529 h 56391"/>
                <a:gd name="connsiteX1" fmla="*/ 8572 w 70631"/>
                <a:gd name="connsiteY1" fmla="*/ 194 h 56391"/>
                <a:gd name="connsiteX2" fmla="*/ 0 w 70631"/>
                <a:gd name="connsiteY2" fmla="*/ 10672 h 56391"/>
                <a:gd name="connsiteX3" fmla="*/ 10477 w 70631"/>
                <a:gd name="connsiteY3" fmla="*/ 19244 h 56391"/>
                <a:gd name="connsiteX4" fmla="*/ 38100 w 70631"/>
                <a:gd name="connsiteY4" fmla="*/ 28769 h 56391"/>
                <a:gd name="connsiteX5" fmla="*/ 51435 w 70631"/>
                <a:gd name="connsiteY5" fmla="*/ 48772 h 56391"/>
                <a:gd name="connsiteX6" fmla="*/ 60960 w 70631"/>
                <a:gd name="connsiteY6" fmla="*/ 56392 h 56391"/>
                <a:gd name="connsiteX7" fmla="*/ 62865 w 70631"/>
                <a:gd name="connsiteY7" fmla="*/ 56392 h 56391"/>
                <a:gd name="connsiteX8" fmla="*/ 70485 w 70631"/>
                <a:gd name="connsiteY8" fmla="*/ 45914 h 56391"/>
                <a:gd name="connsiteX9" fmla="*/ 50482 w 70631"/>
                <a:gd name="connsiteY9" fmla="*/ 13529 h 5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631" h="56391">
                  <a:moveTo>
                    <a:pt x="50482" y="13529"/>
                  </a:moveTo>
                  <a:cubicBezTo>
                    <a:pt x="31432" y="-2663"/>
                    <a:pt x="9525" y="194"/>
                    <a:pt x="8572" y="194"/>
                  </a:cubicBezTo>
                  <a:cubicBezTo>
                    <a:pt x="3810" y="1147"/>
                    <a:pt x="0" y="5909"/>
                    <a:pt x="0" y="10672"/>
                  </a:cubicBezTo>
                  <a:cubicBezTo>
                    <a:pt x="952" y="15434"/>
                    <a:pt x="4763" y="19244"/>
                    <a:pt x="10477" y="19244"/>
                  </a:cubicBezTo>
                  <a:cubicBezTo>
                    <a:pt x="11430" y="19244"/>
                    <a:pt x="24765" y="18292"/>
                    <a:pt x="38100" y="28769"/>
                  </a:cubicBezTo>
                  <a:cubicBezTo>
                    <a:pt x="48577" y="37342"/>
                    <a:pt x="51435" y="48772"/>
                    <a:pt x="51435" y="48772"/>
                  </a:cubicBezTo>
                  <a:cubicBezTo>
                    <a:pt x="52388" y="53534"/>
                    <a:pt x="56197" y="56392"/>
                    <a:pt x="60960" y="56392"/>
                  </a:cubicBezTo>
                  <a:cubicBezTo>
                    <a:pt x="61913" y="56392"/>
                    <a:pt x="61913" y="56392"/>
                    <a:pt x="62865" y="56392"/>
                  </a:cubicBezTo>
                  <a:cubicBezTo>
                    <a:pt x="67627" y="55439"/>
                    <a:pt x="71438" y="50677"/>
                    <a:pt x="70485" y="45914"/>
                  </a:cubicBezTo>
                  <a:cubicBezTo>
                    <a:pt x="70485" y="44009"/>
                    <a:pt x="66675" y="26864"/>
                    <a:pt x="50482" y="13529"/>
                  </a:cubicBez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1C2AE27-67E3-48BF-BD73-6A1E58B23753}"/>
                </a:ext>
              </a:extLst>
            </p:cNvPr>
            <p:cNvSpPr/>
            <p:nvPr/>
          </p:nvSpPr>
          <p:spPr>
            <a:xfrm>
              <a:off x="881213" y="4645615"/>
              <a:ext cx="190338" cy="162107"/>
            </a:xfrm>
            <a:custGeom>
              <a:avLst/>
              <a:gdLst>
                <a:gd name="connsiteX0" fmla="*/ 189832 w 190338"/>
                <a:gd name="connsiteY0" fmla="*/ 110673 h 162107"/>
                <a:gd name="connsiteX1" fmla="*/ 166020 w 190338"/>
                <a:gd name="connsiteY1" fmla="*/ 73525 h 162107"/>
                <a:gd name="connsiteX2" fmla="*/ 136492 w 190338"/>
                <a:gd name="connsiteY2" fmla="*/ 55427 h 162107"/>
                <a:gd name="connsiteX3" fmla="*/ 163162 w 190338"/>
                <a:gd name="connsiteY3" fmla="*/ 11613 h 162107"/>
                <a:gd name="connsiteX4" fmla="*/ 156495 w 190338"/>
                <a:gd name="connsiteY4" fmla="*/ 183 h 162107"/>
                <a:gd name="connsiteX5" fmla="*/ 145065 w 190338"/>
                <a:gd name="connsiteY5" fmla="*/ 6850 h 162107"/>
                <a:gd name="connsiteX6" fmla="*/ 50767 w 190338"/>
                <a:gd name="connsiteY6" fmla="*/ 80193 h 162107"/>
                <a:gd name="connsiteX7" fmla="*/ 285 w 190338"/>
                <a:gd name="connsiteY7" fmla="*/ 153535 h 162107"/>
                <a:gd name="connsiteX8" fmla="*/ 9810 w 190338"/>
                <a:gd name="connsiteY8" fmla="*/ 162108 h 162107"/>
                <a:gd name="connsiteX9" fmla="*/ 10762 w 190338"/>
                <a:gd name="connsiteY9" fmla="*/ 162108 h 162107"/>
                <a:gd name="connsiteX10" fmla="*/ 19335 w 190338"/>
                <a:gd name="connsiteY10" fmla="*/ 151630 h 162107"/>
                <a:gd name="connsiteX11" fmla="*/ 55530 w 190338"/>
                <a:gd name="connsiteY11" fmla="*/ 98290 h 162107"/>
                <a:gd name="connsiteX12" fmla="*/ 120300 w 190338"/>
                <a:gd name="connsiteY12" fmla="*/ 69715 h 162107"/>
                <a:gd name="connsiteX13" fmla="*/ 154590 w 190338"/>
                <a:gd name="connsiteY13" fmla="*/ 87813 h 162107"/>
                <a:gd name="connsiteX14" fmla="*/ 172687 w 190338"/>
                <a:gd name="connsiteY14" fmla="*/ 114483 h 162107"/>
                <a:gd name="connsiteX15" fmla="*/ 182212 w 190338"/>
                <a:gd name="connsiteY15" fmla="*/ 122102 h 162107"/>
                <a:gd name="connsiteX16" fmla="*/ 184117 w 190338"/>
                <a:gd name="connsiteY16" fmla="*/ 122102 h 162107"/>
                <a:gd name="connsiteX17" fmla="*/ 189832 w 190338"/>
                <a:gd name="connsiteY17" fmla="*/ 110673 h 162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38" h="162107">
                  <a:moveTo>
                    <a:pt x="189832" y="110673"/>
                  </a:moveTo>
                  <a:cubicBezTo>
                    <a:pt x="189832" y="109720"/>
                    <a:pt x="185070" y="89718"/>
                    <a:pt x="166020" y="73525"/>
                  </a:cubicBezTo>
                  <a:cubicBezTo>
                    <a:pt x="154590" y="64000"/>
                    <a:pt x="145065" y="58285"/>
                    <a:pt x="136492" y="55427"/>
                  </a:cubicBezTo>
                  <a:cubicBezTo>
                    <a:pt x="157447" y="33520"/>
                    <a:pt x="163162" y="13517"/>
                    <a:pt x="163162" y="11613"/>
                  </a:cubicBezTo>
                  <a:cubicBezTo>
                    <a:pt x="164115" y="6850"/>
                    <a:pt x="161257" y="1135"/>
                    <a:pt x="156495" y="183"/>
                  </a:cubicBezTo>
                  <a:cubicBezTo>
                    <a:pt x="151732" y="-770"/>
                    <a:pt x="146017" y="2088"/>
                    <a:pt x="145065" y="6850"/>
                  </a:cubicBezTo>
                  <a:cubicBezTo>
                    <a:pt x="145065" y="7803"/>
                    <a:pt x="131730" y="60190"/>
                    <a:pt x="50767" y="80193"/>
                  </a:cubicBezTo>
                  <a:cubicBezTo>
                    <a:pt x="5047" y="91623"/>
                    <a:pt x="-1620" y="133533"/>
                    <a:pt x="285" y="153535"/>
                  </a:cubicBezTo>
                  <a:cubicBezTo>
                    <a:pt x="1237" y="158298"/>
                    <a:pt x="5047" y="162108"/>
                    <a:pt x="9810" y="162108"/>
                  </a:cubicBezTo>
                  <a:cubicBezTo>
                    <a:pt x="9810" y="162108"/>
                    <a:pt x="10762" y="162108"/>
                    <a:pt x="10762" y="162108"/>
                  </a:cubicBezTo>
                  <a:cubicBezTo>
                    <a:pt x="15525" y="161155"/>
                    <a:pt x="19335" y="156393"/>
                    <a:pt x="19335" y="151630"/>
                  </a:cubicBezTo>
                  <a:cubicBezTo>
                    <a:pt x="19335" y="149725"/>
                    <a:pt x="14572" y="108768"/>
                    <a:pt x="55530" y="98290"/>
                  </a:cubicBezTo>
                  <a:cubicBezTo>
                    <a:pt x="83152" y="91623"/>
                    <a:pt x="104107" y="81145"/>
                    <a:pt x="120300" y="69715"/>
                  </a:cubicBezTo>
                  <a:cubicBezTo>
                    <a:pt x="126015" y="70668"/>
                    <a:pt x="138397" y="75430"/>
                    <a:pt x="154590" y="87813"/>
                  </a:cubicBezTo>
                  <a:cubicBezTo>
                    <a:pt x="168877" y="99243"/>
                    <a:pt x="172687" y="113530"/>
                    <a:pt x="172687" y="114483"/>
                  </a:cubicBezTo>
                  <a:cubicBezTo>
                    <a:pt x="173640" y="119245"/>
                    <a:pt x="177450" y="122102"/>
                    <a:pt x="182212" y="122102"/>
                  </a:cubicBezTo>
                  <a:cubicBezTo>
                    <a:pt x="183165" y="122102"/>
                    <a:pt x="183165" y="122102"/>
                    <a:pt x="184117" y="122102"/>
                  </a:cubicBezTo>
                  <a:cubicBezTo>
                    <a:pt x="187927" y="121150"/>
                    <a:pt x="191737" y="115435"/>
                    <a:pt x="189832" y="110673"/>
                  </a:cubicBezTo>
                  <a:close/>
                </a:path>
              </a:pathLst>
            </a:custGeom>
            <a:solidFill>
              <a:srgbClr val="40AA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14F6C67-80E6-ED89-25CC-A8851DACA181}"/>
                </a:ext>
              </a:extLst>
            </p:cNvPr>
            <p:cNvSpPr/>
            <p:nvPr/>
          </p:nvSpPr>
          <p:spPr>
            <a:xfrm>
              <a:off x="534788" y="4540070"/>
              <a:ext cx="609600" cy="572452"/>
            </a:xfrm>
            <a:custGeom>
              <a:avLst/>
              <a:gdLst>
                <a:gd name="connsiteX0" fmla="*/ 609600 w 609600"/>
                <a:gd name="connsiteY0" fmla="*/ 237173 h 572452"/>
                <a:gd name="connsiteX1" fmla="*/ 515303 w 609600"/>
                <a:gd name="connsiteY1" fmla="*/ 108585 h 572452"/>
                <a:gd name="connsiteX2" fmla="*/ 403860 w 609600"/>
                <a:gd name="connsiteY2" fmla="*/ 0 h 572452"/>
                <a:gd name="connsiteX3" fmla="*/ 305753 w 609600"/>
                <a:gd name="connsiteY3" fmla="*/ 60960 h 572452"/>
                <a:gd name="connsiteX4" fmla="*/ 207645 w 609600"/>
                <a:gd name="connsiteY4" fmla="*/ 0 h 572452"/>
                <a:gd name="connsiteX5" fmla="*/ 94298 w 609600"/>
                <a:gd name="connsiteY5" fmla="*/ 112395 h 572452"/>
                <a:gd name="connsiteX6" fmla="*/ 94298 w 609600"/>
                <a:gd name="connsiteY6" fmla="*/ 112395 h 572452"/>
                <a:gd name="connsiteX7" fmla="*/ 60008 w 609600"/>
                <a:gd name="connsiteY7" fmla="*/ 184785 h 572452"/>
                <a:gd name="connsiteX8" fmla="*/ 65723 w 609600"/>
                <a:gd name="connsiteY8" fmla="*/ 219075 h 572452"/>
                <a:gd name="connsiteX9" fmla="*/ 0 w 609600"/>
                <a:gd name="connsiteY9" fmla="*/ 336233 h 572452"/>
                <a:gd name="connsiteX10" fmla="*/ 94298 w 609600"/>
                <a:gd name="connsiteY10" fmla="*/ 464820 h 572452"/>
                <a:gd name="connsiteX11" fmla="*/ 206693 w 609600"/>
                <a:gd name="connsiteY11" fmla="*/ 572453 h 572452"/>
                <a:gd name="connsiteX12" fmla="*/ 304800 w 609600"/>
                <a:gd name="connsiteY12" fmla="*/ 511493 h 572452"/>
                <a:gd name="connsiteX13" fmla="*/ 402908 w 609600"/>
                <a:gd name="connsiteY13" fmla="*/ 572453 h 572452"/>
                <a:gd name="connsiteX14" fmla="*/ 515303 w 609600"/>
                <a:gd name="connsiteY14" fmla="*/ 460058 h 572452"/>
                <a:gd name="connsiteX15" fmla="*/ 515303 w 609600"/>
                <a:gd name="connsiteY15" fmla="*/ 460058 h 572452"/>
                <a:gd name="connsiteX16" fmla="*/ 549593 w 609600"/>
                <a:gd name="connsiteY16" fmla="*/ 387668 h 572452"/>
                <a:gd name="connsiteX17" fmla="*/ 543878 w 609600"/>
                <a:gd name="connsiteY17" fmla="*/ 353378 h 572452"/>
                <a:gd name="connsiteX18" fmla="*/ 609600 w 609600"/>
                <a:gd name="connsiteY18" fmla="*/ 237173 h 572452"/>
                <a:gd name="connsiteX19" fmla="*/ 290513 w 609600"/>
                <a:gd name="connsiteY19" fmla="*/ 454343 h 572452"/>
                <a:gd name="connsiteX20" fmla="*/ 206693 w 609600"/>
                <a:gd name="connsiteY20" fmla="*/ 543878 h 572452"/>
                <a:gd name="connsiteX21" fmla="*/ 122873 w 609600"/>
                <a:gd name="connsiteY21" fmla="*/ 461963 h 572452"/>
                <a:gd name="connsiteX22" fmla="*/ 120968 w 609600"/>
                <a:gd name="connsiteY22" fmla="*/ 441960 h 572452"/>
                <a:gd name="connsiteX23" fmla="*/ 101918 w 609600"/>
                <a:gd name="connsiteY23" fmla="*/ 436245 h 572452"/>
                <a:gd name="connsiteX24" fmla="*/ 28575 w 609600"/>
                <a:gd name="connsiteY24" fmla="*/ 336233 h 572452"/>
                <a:gd name="connsiteX25" fmla="*/ 80010 w 609600"/>
                <a:gd name="connsiteY25" fmla="*/ 243840 h 572452"/>
                <a:gd name="connsiteX26" fmla="*/ 100965 w 609600"/>
                <a:gd name="connsiteY26" fmla="*/ 231458 h 572452"/>
                <a:gd name="connsiteX27" fmla="*/ 92393 w 609600"/>
                <a:gd name="connsiteY27" fmla="*/ 208598 h 572452"/>
                <a:gd name="connsiteX28" fmla="*/ 87630 w 609600"/>
                <a:gd name="connsiteY28" fmla="*/ 184785 h 572452"/>
                <a:gd name="connsiteX29" fmla="*/ 111443 w 609600"/>
                <a:gd name="connsiteY29" fmla="*/ 134303 h 572452"/>
                <a:gd name="connsiteX30" fmla="*/ 121920 w 609600"/>
                <a:gd name="connsiteY30" fmla="*/ 125730 h 572452"/>
                <a:gd name="connsiteX31" fmla="*/ 121920 w 609600"/>
                <a:gd name="connsiteY31" fmla="*/ 113348 h 572452"/>
                <a:gd name="connsiteX32" fmla="*/ 205740 w 609600"/>
                <a:gd name="connsiteY32" fmla="*/ 28575 h 572452"/>
                <a:gd name="connsiteX33" fmla="*/ 289560 w 609600"/>
                <a:gd name="connsiteY33" fmla="*/ 118110 h 572452"/>
                <a:gd name="connsiteX34" fmla="*/ 289560 w 609600"/>
                <a:gd name="connsiteY34" fmla="*/ 454343 h 572452"/>
                <a:gd name="connsiteX35" fmla="*/ 529590 w 609600"/>
                <a:gd name="connsiteY35" fmla="*/ 329565 h 572452"/>
                <a:gd name="connsiteX36" fmla="*/ 508635 w 609600"/>
                <a:gd name="connsiteY36" fmla="*/ 341948 h 572452"/>
                <a:gd name="connsiteX37" fmla="*/ 517208 w 609600"/>
                <a:gd name="connsiteY37" fmla="*/ 364808 h 572452"/>
                <a:gd name="connsiteX38" fmla="*/ 521970 w 609600"/>
                <a:gd name="connsiteY38" fmla="*/ 388620 h 572452"/>
                <a:gd name="connsiteX39" fmla="*/ 498158 w 609600"/>
                <a:gd name="connsiteY39" fmla="*/ 439103 h 572452"/>
                <a:gd name="connsiteX40" fmla="*/ 487680 w 609600"/>
                <a:gd name="connsiteY40" fmla="*/ 447675 h 572452"/>
                <a:gd name="connsiteX41" fmla="*/ 487680 w 609600"/>
                <a:gd name="connsiteY41" fmla="*/ 460058 h 572452"/>
                <a:gd name="connsiteX42" fmla="*/ 403860 w 609600"/>
                <a:gd name="connsiteY42" fmla="*/ 544830 h 572452"/>
                <a:gd name="connsiteX43" fmla="*/ 320040 w 609600"/>
                <a:gd name="connsiteY43" fmla="*/ 455295 h 572452"/>
                <a:gd name="connsiteX44" fmla="*/ 320040 w 609600"/>
                <a:gd name="connsiteY44" fmla="*/ 119063 h 572452"/>
                <a:gd name="connsiteX45" fmla="*/ 403860 w 609600"/>
                <a:gd name="connsiteY45" fmla="*/ 29528 h 572452"/>
                <a:gd name="connsiteX46" fmla="*/ 487680 w 609600"/>
                <a:gd name="connsiteY46" fmla="*/ 111443 h 572452"/>
                <a:gd name="connsiteX47" fmla="*/ 489585 w 609600"/>
                <a:gd name="connsiteY47" fmla="*/ 131445 h 572452"/>
                <a:gd name="connsiteX48" fmla="*/ 508635 w 609600"/>
                <a:gd name="connsiteY48" fmla="*/ 137160 h 572452"/>
                <a:gd name="connsiteX49" fmla="*/ 581978 w 609600"/>
                <a:gd name="connsiteY49" fmla="*/ 238125 h 572452"/>
                <a:gd name="connsiteX50" fmla="*/ 529590 w 609600"/>
                <a:gd name="connsiteY50" fmla="*/ 329565 h 57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09600" h="572452">
                  <a:moveTo>
                    <a:pt x="609600" y="237173"/>
                  </a:moveTo>
                  <a:cubicBezTo>
                    <a:pt x="609600" y="175260"/>
                    <a:pt x="569595" y="122873"/>
                    <a:pt x="515303" y="108585"/>
                  </a:cubicBezTo>
                  <a:cubicBezTo>
                    <a:pt x="510540" y="47625"/>
                    <a:pt x="462915" y="0"/>
                    <a:pt x="403860" y="0"/>
                  </a:cubicBezTo>
                  <a:cubicBezTo>
                    <a:pt x="361950" y="0"/>
                    <a:pt x="324803" y="24765"/>
                    <a:pt x="305753" y="60960"/>
                  </a:cubicBezTo>
                  <a:cubicBezTo>
                    <a:pt x="286703" y="24765"/>
                    <a:pt x="249555" y="0"/>
                    <a:pt x="207645" y="0"/>
                  </a:cubicBezTo>
                  <a:cubicBezTo>
                    <a:pt x="147638" y="0"/>
                    <a:pt x="99060" y="48578"/>
                    <a:pt x="94298" y="112395"/>
                  </a:cubicBezTo>
                  <a:cubicBezTo>
                    <a:pt x="94298" y="112395"/>
                    <a:pt x="94298" y="112395"/>
                    <a:pt x="94298" y="112395"/>
                  </a:cubicBezTo>
                  <a:cubicBezTo>
                    <a:pt x="73343" y="129540"/>
                    <a:pt x="60008" y="155258"/>
                    <a:pt x="60008" y="184785"/>
                  </a:cubicBezTo>
                  <a:cubicBezTo>
                    <a:pt x="60008" y="197168"/>
                    <a:pt x="61913" y="208598"/>
                    <a:pt x="65723" y="219075"/>
                  </a:cubicBezTo>
                  <a:cubicBezTo>
                    <a:pt x="27623" y="241935"/>
                    <a:pt x="0" y="285750"/>
                    <a:pt x="0" y="336233"/>
                  </a:cubicBezTo>
                  <a:cubicBezTo>
                    <a:pt x="0" y="398145"/>
                    <a:pt x="40005" y="450533"/>
                    <a:pt x="94298" y="464820"/>
                  </a:cubicBezTo>
                  <a:cubicBezTo>
                    <a:pt x="99060" y="525780"/>
                    <a:pt x="147638" y="572453"/>
                    <a:pt x="206693" y="572453"/>
                  </a:cubicBezTo>
                  <a:cubicBezTo>
                    <a:pt x="248603" y="572453"/>
                    <a:pt x="285750" y="547688"/>
                    <a:pt x="304800" y="511493"/>
                  </a:cubicBezTo>
                  <a:cubicBezTo>
                    <a:pt x="323850" y="547688"/>
                    <a:pt x="360998" y="572453"/>
                    <a:pt x="402908" y="572453"/>
                  </a:cubicBezTo>
                  <a:cubicBezTo>
                    <a:pt x="461963" y="572453"/>
                    <a:pt x="510540" y="523875"/>
                    <a:pt x="515303" y="460058"/>
                  </a:cubicBezTo>
                  <a:cubicBezTo>
                    <a:pt x="515303" y="460058"/>
                    <a:pt x="515303" y="460058"/>
                    <a:pt x="515303" y="460058"/>
                  </a:cubicBezTo>
                  <a:cubicBezTo>
                    <a:pt x="536258" y="442913"/>
                    <a:pt x="549593" y="417195"/>
                    <a:pt x="549593" y="387668"/>
                  </a:cubicBezTo>
                  <a:cubicBezTo>
                    <a:pt x="549593" y="375285"/>
                    <a:pt x="547688" y="363855"/>
                    <a:pt x="543878" y="353378"/>
                  </a:cubicBezTo>
                  <a:cubicBezTo>
                    <a:pt x="582930" y="331470"/>
                    <a:pt x="609600" y="287655"/>
                    <a:pt x="609600" y="237173"/>
                  </a:cubicBezTo>
                  <a:close/>
                  <a:moveTo>
                    <a:pt x="290513" y="454343"/>
                  </a:moveTo>
                  <a:cubicBezTo>
                    <a:pt x="290513" y="503873"/>
                    <a:pt x="252413" y="543878"/>
                    <a:pt x="206693" y="543878"/>
                  </a:cubicBezTo>
                  <a:cubicBezTo>
                    <a:pt x="163830" y="543878"/>
                    <a:pt x="126683" y="507683"/>
                    <a:pt x="122873" y="461963"/>
                  </a:cubicBezTo>
                  <a:lnTo>
                    <a:pt x="120968" y="441960"/>
                  </a:lnTo>
                  <a:lnTo>
                    <a:pt x="101918" y="436245"/>
                  </a:lnTo>
                  <a:cubicBezTo>
                    <a:pt x="59055" y="425768"/>
                    <a:pt x="28575" y="383858"/>
                    <a:pt x="28575" y="336233"/>
                  </a:cubicBezTo>
                  <a:cubicBezTo>
                    <a:pt x="28575" y="297180"/>
                    <a:pt x="48578" y="261938"/>
                    <a:pt x="80010" y="243840"/>
                  </a:cubicBezTo>
                  <a:lnTo>
                    <a:pt x="100965" y="231458"/>
                  </a:lnTo>
                  <a:lnTo>
                    <a:pt x="92393" y="208598"/>
                  </a:lnTo>
                  <a:cubicBezTo>
                    <a:pt x="89535" y="200978"/>
                    <a:pt x="87630" y="193358"/>
                    <a:pt x="87630" y="184785"/>
                  </a:cubicBezTo>
                  <a:cubicBezTo>
                    <a:pt x="87630" y="164783"/>
                    <a:pt x="96203" y="146685"/>
                    <a:pt x="111443" y="134303"/>
                  </a:cubicBezTo>
                  <a:lnTo>
                    <a:pt x="121920" y="125730"/>
                  </a:lnTo>
                  <a:lnTo>
                    <a:pt x="121920" y="113348"/>
                  </a:lnTo>
                  <a:cubicBezTo>
                    <a:pt x="125730" y="64770"/>
                    <a:pt x="161925" y="28575"/>
                    <a:pt x="205740" y="28575"/>
                  </a:cubicBezTo>
                  <a:cubicBezTo>
                    <a:pt x="252413" y="28575"/>
                    <a:pt x="289560" y="68580"/>
                    <a:pt x="289560" y="118110"/>
                  </a:cubicBezTo>
                  <a:lnTo>
                    <a:pt x="289560" y="454343"/>
                  </a:lnTo>
                  <a:close/>
                  <a:moveTo>
                    <a:pt x="529590" y="329565"/>
                  </a:moveTo>
                  <a:lnTo>
                    <a:pt x="508635" y="341948"/>
                  </a:lnTo>
                  <a:lnTo>
                    <a:pt x="517208" y="364808"/>
                  </a:lnTo>
                  <a:cubicBezTo>
                    <a:pt x="520065" y="372428"/>
                    <a:pt x="521970" y="380048"/>
                    <a:pt x="521970" y="388620"/>
                  </a:cubicBezTo>
                  <a:cubicBezTo>
                    <a:pt x="521970" y="408623"/>
                    <a:pt x="513398" y="426720"/>
                    <a:pt x="498158" y="439103"/>
                  </a:cubicBezTo>
                  <a:lnTo>
                    <a:pt x="487680" y="447675"/>
                  </a:lnTo>
                  <a:lnTo>
                    <a:pt x="487680" y="460058"/>
                  </a:lnTo>
                  <a:cubicBezTo>
                    <a:pt x="483870" y="508635"/>
                    <a:pt x="447675" y="544830"/>
                    <a:pt x="403860" y="544830"/>
                  </a:cubicBezTo>
                  <a:cubicBezTo>
                    <a:pt x="357188" y="544830"/>
                    <a:pt x="320040" y="504825"/>
                    <a:pt x="320040" y="455295"/>
                  </a:cubicBezTo>
                  <a:lnTo>
                    <a:pt x="320040" y="119063"/>
                  </a:lnTo>
                  <a:cubicBezTo>
                    <a:pt x="320040" y="69533"/>
                    <a:pt x="358140" y="29528"/>
                    <a:pt x="403860" y="29528"/>
                  </a:cubicBezTo>
                  <a:cubicBezTo>
                    <a:pt x="446723" y="29528"/>
                    <a:pt x="483870" y="65723"/>
                    <a:pt x="487680" y="111443"/>
                  </a:cubicBezTo>
                  <a:lnTo>
                    <a:pt x="489585" y="131445"/>
                  </a:lnTo>
                  <a:lnTo>
                    <a:pt x="508635" y="137160"/>
                  </a:lnTo>
                  <a:cubicBezTo>
                    <a:pt x="551498" y="148590"/>
                    <a:pt x="581978" y="190500"/>
                    <a:pt x="581978" y="238125"/>
                  </a:cubicBezTo>
                  <a:cubicBezTo>
                    <a:pt x="581025" y="275273"/>
                    <a:pt x="561975" y="311468"/>
                    <a:pt x="529590" y="329565"/>
                  </a:cubicBezTo>
                  <a:close/>
                </a:path>
              </a:pathLst>
            </a:custGeom>
            <a:solidFill>
              <a:srgbClr val="3D46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64" name="TextBox 163">
            <a:extLst>
              <a:ext uri="{FF2B5EF4-FFF2-40B4-BE49-F238E27FC236}">
                <a16:creationId xmlns:a16="http://schemas.microsoft.com/office/drawing/2014/main" id="{18B590B1-D26F-5CA6-E720-C0E68CA69362}"/>
              </a:ext>
            </a:extLst>
          </p:cNvPr>
          <p:cNvSpPr txBox="1"/>
          <p:nvPr/>
        </p:nvSpPr>
        <p:spPr>
          <a:xfrm>
            <a:off x="572688" y="4195901"/>
            <a:ext cx="5338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Brain</a:t>
            </a:r>
          </a:p>
        </p:txBody>
      </p:sp>
    </p:spTree>
    <p:extLst>
      <p:ext uri="{BB962C8B-B14F-4D97-AF65-F5344CB8AC3E}">
        <p14:creationId xmlns:p14="http://schemas.microsoft.com/office/powerpoint/2010/main" val="237453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F8EB5B-7FE6-0E8D-D316-7889D17A9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ICONS  </a:t>
            </a:r>
          </a:p>
        </p:txBody>
      </p:sp>
      <p:sp>
        <p:nvSpPr>
          <p:cNvPr id="58" name="Text Placeholder 81">
            <a:extLst>
              <a:ext uri="{FF2B5EF4-FFF2-40B4-BE49-F238E27FC236}">
                <a16:creationId xmlns:a16="http://schemas.microsoft.com/office/drawing/2014/main" id="{A7938B4F-89B4-DDE0-9FD4-C6A1A0560AF1}"/>
              </a:ext>
            </a:extLst>
          </p:cNvPr>
          <p:cNvSpPr txBox="1">
            <a:spLocks/>
          </p:cNvSpPr>
          <p:nvPr/>
        </p:nvSpPr>
        <p:spPr>
          <a:xfrm>
            <a:off x="5682684" y="1606304"/>
            <a:ext cx="92286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upply Chain</a:t>
            </a:r>
          </a:p>
        </p:txBody>
      </p:sp>
      <p:pic>
        <p:nvPicPr>
          <p:cNvPr id="59" name="Graphic 58">
            <a:extLst>
              <a:ext uri="{FF2B5EF4-FFF2-40B4-BE49-F238E27FC236}">
                <a16:creationId xmlns:a16="http://schemas.microsoft.com/office/drawing/2014/main" id="{05A5DA34-CE0D-5EDF-965D-0FFCF31C6A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12069" y="1902216"/>
            <a:ext cx="664091" cy="612648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0314AB73-A5A6-CFE4-DAB5-1C39C8A148FC}"/>
              </a:ext>
            </a:extLst>
          </p:cNvPr>
          <p:cNvSpPr txBox="1"/>
          <p:nvPr/>
        </p:nvSpPr>
        <p:spPr>
          <a:xfrm>
            <a:off x="419569" y="1606304"/>
            <a:ext cx="123108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Expand,   Scale</a:t>
            </a:r>
          </a:p>
        </p:txBody>
      </p:sp>
      <p:sp>
        <p:nvSpPr>
          <p:cNvPr id="61" name="Text Placeholder 81">
            <a:extLst>
              <a:ext uri="{FF2B5EF4-FFF2-40B4-BE49-F238E27FC236}">
                <a16:creationId xmlns:a16="http://schemas.microsoft.com/office/drawing/2014/main" id="{370F7A16-7866-4F1D-AE86-BFE91491540A}"/>
              </a:ext>
            </a:extLst>
          </p:cNvPr>
          <p:cNvSpPr txBox="1">
            <a:spLocks/>
          </p:cNvSpPr>
          <p:nvPr/>
        </p:nvSpPr>
        <p:spPr>
          <a:xfrm>
            <a:off x="408573" y="2933153"/>
            <a:ext cx="125308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dditive</a:t>
            </a:r>
            <a:br>
              <a:rPr lang="en-US" dirty="0"/>
            </a:br>
            <a:r>
              <a:rPr lang="en-US" dirty="0"/>
              <a:t> Manufacturing</a:t>
            </a:r>
          </a:p>
        </p:txBody>
      </p:sp>
      <p:pic>
        <p:nvPicPr>
          <p:cNvPr id="62" name="Graphic 61">
            <a:extLst>
              <a:ext uri="{FF2B5EF4-FFF2-40B4-BE49-F238E27FC236}">
                <a16:creationId xmlns:a16="http://schemas.microsoft.com/office/drawing/2014/main" id="{0E41EC69-1AB7-6275-817E-373F7CCEFB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313" y="3356003"/>
            <a:ext cx="609600" cy="609600"/>
          </a:xfrm>
          <a:prstGeom prst="rect">
            <a:avLst/>
          </a:prstGeom>
        </p:spPr>
      </p:pic>
      <p:sp>
        <p:nvSpPr>
          <p:cNvPr id="65" name="Text Placeholder 81">
            <a:extLst>
              <a:ext uri="{FF2B5EF4-FFF2-40B4-BE49-F238E27FC236}">
                <a16:creationId xmlns:a16="http://schemas.microsoft.com/office/drawing/2014/main" id="{CC02E783-9F0E-6476-E84A-A55A3EDB6469}"/>
              </a:ext>
            </a:extLst>
          </p:cNvPr>
          <p:cNvSpPr txBox="1">
            <a:spLocks/>
          </p:cNvSpPr>
          <p:nvPr/>
        </p:nvSpPr>
        <p:spPr>
          <a:xfrm>
            <a:off x="1721298" y="2933153"/>
            <a:ext cx="128157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Filtration, Funnel,   </a:t>
            </a:r>
            <a:br>
              <a:rPr lang="en-US" dirty="0"/>
            </a:br>
            <a:r>
              <a:rPr lang="en-US" dirty="0"/>
              <a:t>Throughput </a:t>
            </a:r>
          </a:p>
        </p:txBody>
      </p:sp>
      <p:sp>
        <p:nvSpPr>
          <p:cNvPr id="66" name="object 13">
            <a:extLst>
              <a:ext uri="{FF2B5EF4-FFF2-40B4-BE49-F238E27FC236}">
                <a16:creationId xmlns:a16="http://schemas.microsoft.com/office/drawing/2014/main" id="{A69EAE97-8021-F82D-0397-F59A23FE9820}"/>
              </a:ext>
            </a:extLst>
          </p:cNvPr>
          <p:cNvSpPr txBox="1"/>
          <p:nvPr/>
        </p:nvSpPr>
        <p:spPr>
          <a:xfrm>
            <a:off x="4229647" y="1606304"/>
            <a:ext cx="142458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Product</a:t>
            </a:r>
          </a:p>
        </p:txBody>
      </p:sp>
      <p:sp>
        <p:nvSpPr>
          <p:cNvPr id="67" name="object 25">
            <a:extLst>
              <a:ext uri="{FF2B5EF4-FFF2-40B4-BE49-F238E27FC236}">
                <a16:creationId xmlns:a16="http://schemas.microsoft.com/office/drawing/2014/main" id="{2A1DD660-B9F3-16D6-2C81-4CC369233445}"/>
              </a:ext>
            </a:extLst>
          </p:cNvPr>
          <p:cNvSpPr txBox="1"/>
          <p:nvPr/>
        </p:nvSpPr>
        <p:spPr>
          <a:xfrm>
            <a:off x="10737859" y="1537054"/>
            <a:ext cx="125470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Product</a:t>
            </a:r>
            <a:r>
              <a:rPr lang="en-US" dirty="0"/>
              <a:t> </a:t>
            </a:r>
            <a:r>
              <a:rPr dirty="0"/>
              <a:t>Line</a:t>
            </a:r>
            <a:r>
              <a:rPr lang="en-US" dirty="0"/>
              <a:t> </a:t>
            </a:r>
            <a:br>
              <a:rPr lang="en-US" dirty="0"/>
            </a:br>
            <a:r>
              <a:rPr dirty="0"/>
              <a:t>Manag</a:t>
            </a:r>
            <a:r>
              <a:rPr lang="en-US" dirty="0"/>
              <a:t>ement</a:t>
            </a:r>
            <a:endParaRPr dirty="0"/>
          </a:p>
        </p:txBody>
      </p:sp>
      <p:sp>
        <p:nvSpPr>
          <p:cNvPr id="70" name="object 7">
            <a:extLst>
              <a:ext uri="{FF2B5EF4-FFF2-40B4-BE49-F238E27FC236}">
                <a16:creationId xmlns:a16="http://schemas.microsoft.com/office/drawing/2014/main" id="{D3A4F006-30E5-F394-6106-DA782620228F}"/>
              </a:ext>
            </a:extLst>
          </p:cNvPr>
          <p:cNvSpPr txBox="1"/>
          <p:nvPr/>
        </p:nvSpPr>
        <p:spPr>
          <a:xfrm>
            <a:off x="5521179" y="3002403"/>
            <a:ext cx="124587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Performant</a:t>
            </a:r>
          </a:p>
        </p:txBody>
      </p:sp>
      <p:sp>
        <p:nvSpPr>
          <p:cNvPr id="87" name="object 17">
            <a:extLst>
              <a:ext uri="{FF2B5EF4-FFF2-40B4-BE49-F238E27FC236}">
                <a16:creationId xmlns:a16="http://schemas.microsoft.com/office/drawing/2014/main" id="{A7959366-E4BB-DD38-DF8D-D5D6ADCDB742}"/>
              </a:ext>
            </a:extLst>
          </p:cNvPr>
          <p:cNvSpPr txBox="1"/>
          <p:nvPr/>
        </p:nvSpPr>
        <p:spPr>
          <a:xfrm>
            <a:off x="8129792" y="1537054"/>
            <a:ext cx="124587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Gauge, Screening Levels</a:t>
            </a:r>
            <a:endParaRPr dirty="0"/>
          </a:p>
        </p:txBody>
      </p:sp>
      <p:sp>
        <p:nvSpPr>
          <p:cNvPr id="88" name="object 7">
            <a:extLst>
              <a:ext uri="{FF2B5EF4-FFF2-40B4-BE49-F238E27FC236}">
                <a16:creationId xmlns:a16="http://schemas.microsoft.com/office/drawing/2014/main" id="{35B29249-CC99-82F7-87D1-28975F1AEAF1}"/>
              </a:ext>
            </a:extLst>
          </p:cNvPr>
          <p:cNvSpPr txBox="1"/>
          <p:nvPr/>
        </p:nvSpPr>
        <p:spPr>
          <a:xfrm>
            <a:off x="6871540" y="1537054"/>
            <a:ext cx="112927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Release</a:t>
            </a:r>
            <a:r>
              <a:rPr lang="en-US" dirty="0"/>
              <a:t> </a:t>
            </a:r>
            <a:br>
              <a:rPr lang="en-US" dirty="0"/>
            </a:br>
            <a:r>
              <a:rPr dirty="0"/>
              <a:t>Manageme</a:t>
            </a:r>
            <a:r>
              <a:rPr lang="en-US" dirty="0"/>
              <a:t>nt</a:t>
            </a:r>
            <a:endParaRPr dirty="0"/>
          </a:p>
        </p:txBody>
      </p:sp>
      <p:sp>
        <p:nvSpPr>
          <p:cNvPr id="89" name="object 11">
            <a:extLst>
              <a:ext uri="{FF2B5EF4-FFF2-40B4-BE49-F238E27FC236}">
                <a16:creationId xmlns:a16="http://schemas.microsoft.com/office/drawing/2014/main" id="{9BD3EE27-9582-64AB-082D-EE4FA393D473}"/>
              </a:ext>
            </a:extLst>
          </p:cNvPr>
          <p:cNvSpPr txBox="1"/>
          <p:nvPr/>
        </p:nvSpPr>
        <p:spPr>
          <a:xfrm>
            <a:off x="3160099" y="2933153"/>
            <a:ext cx="86430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Risk</a:t>
            </a:r>
            <a:r>
              <a:rPr lang="en-US" dirty="0"/>
              <a:t> </a:t>
            </a:r>
            <a:r>
              <a:rPr dirty="0"/>
              <a:t>Management</a:t>
            </a:r>
          </a:p>
        </p:txBody>
      </p:sp>
      <p:sp>
        <p:nvSpPr>
          <p:cNvPr id="90" name="object 23">
            <a:extLst>
              <a:ext uri="{FF2B5EF4-FFF2-40B4-BE49-F238E27FC236}">
                <a16:creationId xmlns:a16="http://schemas.microsoft.com/office/drawing/2014/main" id="{B8C8C718-6057-1340-C338-B8AFE420F5C3}"/>
              </a:ext>
            </a:extLst>
          </p:cNvPr>
          <p:cNvSpPr txBox="1"/>
          <p:nvPr/>
        </p:nvSpPr>
        <p:spPr>
          <a:xfrm>
            <a:off x="4474576" y="3002403"/>
            <a:ext cx="93473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Risk</a:t>
            </a:r>
            <a:r>
              <a:rPr lang="en-US" dirty="0"/>
              <a:t> </a:t>
            </a:r>
            <a:r>
              <a:rPr dirty="0"/>
              <a:t>Matrix</a:t>
            </a:r>
          </a:p>
        </p:txBody>
      </p:sp>
      <p:sp>
        <p:nvSpPr>
          <p:cNvPr id="91" name="object 3">
            <a:extLst>
              <a:ext uri="{FF2B5EF4-FFF2-40B4-BE49-F238E27FC236}">
                <a16:creationId xmlns:a16="http://schemas.microsoft.com/office/drawing/2014/main" id="{A682413F-BDD8-7283-2853-1635804C1406}"/>
              </a:ext>
            </a:extLst>
          </p:cNvPr>
          <p:cNvSpPr txBox="1"/>
          <p:nvPr/>
        </p:nvSpPr>
        <p:spPr>
          <a:xfrm>
            <a:off x="8323199" y="3002403"/>
            <a:ext cx="85905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Validation</a:t>
            </a:r>
          </a:p>
        </p:txBody>
      </p:sp>
      <p:sp>
        <p:nvSpPr>
          <p:cNvPr id="92" name="object 9">
            <a:extLst>
              <a:ext uri="{FF2B5EF4-FFF2-40B4-BE49-F238E27FC236}">
                <a16:creationId xmlns:a16="http://schemas.microsoft.com/office/drawing/2014/main" id="{EDCCCAFA-69C5-A264-8399-78C6B76CCE16}"/>
              </a:ext>
            </a:extLst>
          </p:cNvPr>
          <p:cNvSpPr txBox="1"/>
          <p:nvPr/>
        </p:nvSpPr>
        <p:spPr>
          <a:xfrm>
            <a:off x="9481436" y="1537054"/>
            <a:ext cx="108950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Variability</a:t>
            </a:r>
            <a:r>
              <a:rPr lang="en-US" dirty="0"/>
              <a:t> </a:t>
            </a:r>
            <a:r>
              <a:rPr dirty="0"/>
              <a:t>Modeling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0923A72F-EBB1-0E98-36FA-B581BDA8811A}"/>
              </a:ext>
            </a:extLst>
          </p:cNvPr>
          <p:cNvSpPr/>
          <p:nvPr/>
        </p:nvSpPr>
        <p:spPr>
          <a:xfrm>
            <a:off x="502478" y="1196438"/>
            <a:ext cx="11247120" cy="2223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400" dirty="0"/>
              <a:t>Manufacturing / Production  </a:t>
            </a:r>
          </a:p>
        </p:txBody>
      </p:sp>
      <p:pic>
        <p:nvPicPr>
          <p:cNvPr id="95" name="Graphic 94">
            <a:extLst>
              <a:ext uri="{FF2B5EF4-FFF2-40B4-BE49-F238E27FC236}">
                <a16:creationId xmlns:a16="http://schemas.microsoft.com/office/drawing/2014/main" id="{AE0AA9F5-17DB-0E05-AA61-DB4EA3B66E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56764" y="3356003"/>
            <a:ext cx="774700" cy="609600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AC47675E-83C7-DD96-3E20-DEF696281E6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17949" b="22854"/>
          <a:stretch/>
        </p:blipFill>
        <p:spPr>
          <a:xfrm>
            <a:off x="8341247" y="1964957"/>
            <a:ext cx="822960" cy="487166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id="{665EB832-9929-6186-F378-5212041942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77861" y="1903740"/>
            <a:ext cx="774700" cy="609600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00D608C5-6AC4-1EE5-5B21-1DC6A85B85F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637141" y="1903740"/>
            <a:ext cx="609600" cy="609600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CFDA9C99-0F57-639F-2058-0864EE5F5E3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048826" y="1903740"/>
            <a:ext cx="774700" cy="609600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1E3473D0-3C4C-CC8C-C544-38291501B3C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30313" y="1903740"/>
            <a:ext cx="609600" cy="609600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05AC16CF-C1FE-AA49-FB3D-93026B70E02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057287" y="3356003"/>
            <a:ext cx="609600" cy="609600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5E22DE7E-D9AE-C7BE-8906-9A8ED79C69B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204902" y="3356003"/>
            <a:ext cx="774700" cy="609600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AE22E04A-9363-144F-5ECA-7CF3EAB4C4F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554591" y="3356003"/>
            <a:ext cx="774700" cy="609600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6C60478C-D975-6F97-19FD-4E318AD45059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365377" y="3356003"/>
            <a:ext cx="774700" cy="609600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5298F2D8-3CE6-B8FB-C2E8-A2CF06E666E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9638836" y="1903740"/>
            <a:ext cx="774700" cy="6096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747B7BE-F61D-BDA1-2915-2F3A3956C40D}"/>
              </a:ext>
            </a:extLst>
          </p:cNvPr>
          <p:cNvSpPr txBox="1"/>
          <p:nvPr/>
        </p:nvSpPr>
        <p:spPr>
          <a:xfrm>
            <a:off x="9185358" y="3002403"/>
            <a:ext cx="1681656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Complian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209FFB-A427-2C7D-51C6-FC85E34C0AFB}"/>
              </a:ext>
            </a:extLst>
          </p:cNvPr>
          <p:cNvSpPr txBox="1"/>
          <p:nvPr/>
        </p:nvSpPr>
        <p:spPr>
          <a:xfrm>
            <a:off x="6948324" y="3002403"/>
            <a:ext cx="975704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AF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B63631-B7A6-7452-A1ED-F53EA380FB01}"/>
              </a:ext>
            </a:extLst>
          </p:cNvPr>
          <p:cNvSpPr txBox="1"/>
          <p:nvPr/>
        </p:nvSpPr>
        <p:spPr>
          <a:xfrm>
            <a:off x="1767727" y="1606304"/>
            <a:ext cx="118872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Scalab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B2C6EAE9-E362-987D-B7AD-F25112A8B7EE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635661" y="3356003"/>
            <a:ext cx="781050" cy="6096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05AA5F8C-82E5-8AC9-3ABD-81043455761A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7045651" y="3356003"/>
            <a:ext cx="781050" cy="6096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1E7B632B-B9E4-B7D4-4380-E6EE26853075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971562" y="1903740"/>
            <a:ext cx="781050" cy="609600"/>
          </a:xfrm>
          <a:prstGeom prst="rect">
            <a:avLst/>
          </a:prstGeom>
        </p:spPr>
      </p:pic>
      <p:sp>
        <p:nvSpPr>
          <p:cNvPr id="21" name="object 13">
            <a:extLst>
              <a:ext uri="{FF2B5EF4-FFF2-40B4-BE49-F238E27FC236}">
                <a16:creationId xmlns:a16="http://schemas.microsoft.com/office/drawing/2014/main" id="{66271536-54F7-1FA9-1263-4ABDFA58762B}"/>
              </a:ext>
            </a:extLst>
          </p:cNvPr>
          <p:cNvSpPr txBox="1"/>
          <p:nvPr/>
        </p:nvSpPr>
        <p:spPr>
          <a:xfrm>
            <a:off x="2012246" y="4307082"/>
            <a:ext cx="1554480" cy="1454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1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sz="1050" dirty="0"/>
              <a:t>Factory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8A2AE318-8B34-BA96-C93E-02DD7AC46490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 flipH="1">
            <a:off x="3285928" y="1902216"/>
            <a:ext cx="612648" cy="612648"/>
          </a:xfrm>
          <a:prstGeom prst="rect">
            <a:avLst/>
          </a:prstGeom>
        </p:spPr>
      </p:pic>
      <p:sp>
        <p:nvSpPr>
          <p:cNvPr id="24" name="Text Placeholder 81">
            <a:extLst>
              <a:ext uri="{FF2B5EF4-FFF2-40B4-BE49-F238E27FC236}">
                <a16:creationId xmlns:a16="http://schemas.microsoft.com/office/drawing/2014/main" id="{FB73BCBF-EEA0-2D92-8E66-90B1A0957D62}"/>
              </a:ext>
            </a:extLst>
          </p:cNvPr>
          <p:cNvSpPr txBox="1">
            <a:spLocks/>
          </p:cNvSpPr>
          <p:nvPr/>
        </p:nvSpPr>
        <p:spPr>
          <a:xfrm>
            <a:off x="3067266" y="1606304"/>
            <a:ext cx="1049972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Recent Activity</a:t>
            </a:r>
          </a:p>
        </p:txBody>
      </p:sp>
      <p:sp>
        <p:nvSpPr>
          <p:cNvPr id="26" name="object 38">
            <a:extLst>
              <a:ext uri="{FF2B5EF4-FFF2-40B4-BE49-F238E27FC236}">
                <a16:creationId xmlns:a16="http://schemas.microsoft.com/office/drawing/2014/main" id="{3D540EDB-189B-69A6-5A9B-6C86F28B1C04}"/>
              </a:ext>
            </a:extLst>
          </p:cNvPr>
          <p:cNvSpPr txBox="1"/>
          <p:nvPr/>
        </p:nvSpPr>
        <p:spPr>
          <a:xfrm>
            <a:off x="10687666" y="3002403"/>
            <a:ext cx="135509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dirty="0"/>
              <a:t>Design</a:t>
            </a:r>
            <a:r>
              <a:rPr lang="en-US" dirty="0"/>
              <a:t> Alternate</a:t>
            </a:r>
            <a:endParaRPr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28DCFC5D-C2E0-8975-A1B3-4F5EB92ACE13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2925301" y="4596499"/>
            <a:ext cx="781050" cy="78105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1CC1970B-73BB-0746-A443-2B014AB3D59F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608933" y="4596499"/>
            <a:ext cx="781050" cy="781050"/>
          </a:xfrm>
          <a:prstGeom prst="rect">
            <a:avLst/>
          </a:prstGeom>
        </p:spPr>
      </p:pic>
      <p:sp>
        <p:nvSpPr>
          <p:cNvPr id="29" name="Text Placeholder 81">
            <a:extLst>
              <a:ext uri="{FF2B5EF4-FFF2-40B4-BE49-F238E27FC236}">
                <a16:creationId xmlns:a16="http://schemas.microsoft.com/office/drawing/2014/main" id="{D5002795-8219-4328-9548-5037E4047B1F}"/>
              </a:ext>
            </a:extLst>
          </p:cNvPr>
          <p:cNvSpPr txBox="1">
            <a:spLocks/>
          </p:cNvSpPr>
          <p:nvPr/>
        </p:nvSpPr>
        <p:spPr>
          <a:xfrm>
            <a:off x="490188" y="4273481"/>
            <a:ext cx="104997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000">
                <a:ea typeface="+mn-lt"/>
                <a:cs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/>
            </a:lvl2pPr>
            <a:lvl3pPr marL="914400" indent="-210312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/>
            </a:lvl3pPr>
            <a:lvl4pPr marL="1197864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baseline="0"/>
            </a:lvl4pPr>
            <a:lvl5pPr marL="1444752" indent="-18288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Workflow Throughpu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A1C89F1-779B-AE48-F29A-59D09FE4D0FE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983839" y="4767949"/>
            <a:ext cx="609600" cy="6096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DEFA0A50-B22D-8594-6514-B3C2AEE605F1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0974686" y="3356003"/>
            <a:ext cx="78105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956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heme/theme1.xml><?xml version="1.0" encoding="utf-8"?>
<a:theme xmlns:a="http://schemas.openxmlformats.org/drawingml/2006/main" name="PTC PowerPoint Template">
  <a:themeElements>
    <a:clrScheme name="PTC June 2023">
      <a:dk1>
        <a:srgbClr val="3D4647"/>
      </a:dk1>
      <a:lt1>
        <a:srgbClr val="FFFFFF"/>
      </a:lt1>
      <a:dk2>
        <a:srgbClr val="C8C9C7"/>
      </a:dk2>
      <a:lt2>
        <a:srgbClr val="40AA1D"/>
      </a:lt2>
      <a:accent1>
        <a:srgbClr val="40AA1D"/>
      </a:accent1>
      <a:accent2>
        <a:srgbClr val="617480"/>
      </a:accent2>
      <a:accent3>
        <a:srgbClr val="26481F"/>
      </a:accent3>
      <a:accent4>
        <a:srgbClr val="197BC0"/>
      </a:accent4>
      <a:accent5>
        <a:srgbClr val="EB6D00"/>
      </a:accent5>
      <a:accent6>
        <a:srgbClr val="1D496E"/>
      </a:accent6>
      <a:hlink>
        <a:srgbClr val="197BC0"/>
      </a:hlink>
      <a:folHlink>
        <a:srgbClr val="197BC0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9525">
          <a:noFill/>
        </a:ln>
      </a:spPr>
      <a:bodyPr vert="horz" wrap="square" lIns="91440" tIns="45720" rIns="91440" bIns="45720" rtlCol="0">
        <a:spAutoFit/>
      </a:bodyPr>
      <a:lstStyle>
        <a:defPPr algn="l">
          <a:lnSpc>
            <a:spcPct val="90000"/>
          </a:lnSpc>
          <a:spcBef>
            <a:spcPts val="800"/>
          </a:spcBef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'24.pptx" id="{D8074717-C8B2-4C7D-981B-008C5D0B8EE3}" vid="{54974577-BE8A-4095-B091-9199CD15B3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afc796f-8643-486e-8997-d31e75ae07ce" xsi:nil="true"/>
    <SharedWithUsers xmlns="f28fe05d-740b-43fa-94d6-0fce2dea65e7">
      <UserInfo>
        <DisplayName>Yamamoto, Mayumi</DisplayName>
        <AccountId>751</AccountId>
        <AccountType/>
      </UserInfo>
      <UserInfo>
        <DisplayName>Ham, Allison</DisplayName>
        <AccountId>538</AccountId>
        <AccountType/>
      </UserInfo>
      <UserInfo>
        <DisplayName>Siu, Brian</DisplayName>
        <AccountId>46</AccountId>
        <AccountType/>
      </UserInfo>
      <UserInfo>
        <DisplayName>Davidson, Sean</DisplayName>
        <AccountId>199</AccountId>
        <AccountType/>
      </UserInfo>
      <UserInfo>
        <DisplayName>Dumais, David</DisplayName>
        <AccountId>1002</AccountId>
        <AccountType/>
      </UserInfo>
    </SharedWithUsers>
    <lcf76f155ced4ddcb4097134ff3c332f xmlns="63adce2e-ae55-4a86-9f02-8964c44ea8e7">
      <Terms xmlns="http://schemas.microsoft.com/office/infopath/2007/PartnerControls"/>
    </lcf76f155ced4ddcb4097134ff3c332f>
    <lf9d9a35935f447ba812b90a18b999dc xmlns="0afc796f-8643-486e-8997-d31e75ae07ce">
      <Terms xmlns="http://schemas.microsoft.com/office/infopath/2007/PartnerControls"/>
    </lf9d9a35935f447ba812b90a18b999dc>
    <URL xmlns="http://schemas.microsoft.com/sharepoint/v3">
      <Url xsi:nil="true"/>
      <Description xsi:nil="true"/>
    </URL>
    <Review_x002f_Expiry_x0020_Date xmlns="0afc796f-8643-486e-8997-d31e75ae07ce" xsi:nil="true"/>
    <a02e18fbe242454ca4839478e17f56fc xmlns="0afc796f-8643-486e-8997-d31e75ae07ce">
      <Terms xmlns="http://schemas.microsoft.com/office/infopath/2007/PartnerControls"/>
    </a02e18fbe242454ca4839478e17f56fc>
    <Content_x0020_Author xmlns="0afc796f-8643-486e-8997-d31e75ae07ce">
      <UserInfo>
        <DisplayName/>
        <AccountId xsi:nil="true"/>
        <AccountType/>
      </UserInfo>
    </Content_x0020_Author>
    <a42378fcf8ee4c86a9e0031012c55048 xmlns="0afc796f-8643-486e-8997-d31e75ae07ce">
      <Terms xmlns="http://schemas.microsoft.com/office/infopath/2007/PartnerControls"/>
    </a42378fcf8ee4c86a9e0031012c55048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49B424B222E04C877A5C27EA69A6B6" ma:contentTypeVersion="35" ma:contentTypeDescription="Create a new document." ma:contentTypeScope="" ma:versionID="fff37c8c7d1e8d07eb385f484eed689c">
  <xsd:schema xmlns:xsd="http://www.w3.org/2001/XMLSchema" xmlns:xs="http://www.w3.org/2001/XMLSchema" xmlns:p="http://schemas.microsoft.com/office/2006/metadata/properties" xmlns:ns1="http://schemas.microsoft.com/sharepoint/v3" xmlns:ns2="0afc796f-8643-486e-8997-d31e75ae07ce" xmlns:ns3="63adce2e-ae55-4a86-9f02-8964c44ea8e7" xmlns:ns4="f28fe05d-740b-43fa-94d6-0fce2dea65e7" targetNamespace="http://schemas.microsoft.com/office/2006/metadata/properties" ma:root="true" ma:fieldsID="3d4316714c8a4b6084b79a106cacdba1" ns1:_="" ns2:_="" ns3:_="" ns4:_="">
    <xsd:import namespace="http://schemas.microsoft.com/sharepoint/v3"/>
    <xsd:import namespace="0afc796f-8643-486e-8997-d31e75ae07ce"/>
    <xsd:import namespace="63adce2e-ae55-4a86-9f02-8964c44ea8e7"/>
    <xsd:import namespace="f28fe05d-740b-43fa-94d6-0fce2dea65e7"/>
    <xsd:element name="properties">
      <xsd:complexType>
        <xsd:sequence>
          <xsd:element name="documentManagement">
            <xsd:complexType>
              <xsd:all>
                <xsd:element ref="ns2:Content_x0020_Author" minOccurs="0"/>
                <xsd:element ref="ns2:lf9d9a35935f447ba812b90a18b999dc" minOccurs="0"/>
                <xsd:element ref="ns2:TaxCatchAll" minOccurs="0"/>
                <xsd:element ref="ns2:TaxCatchAllLabel" minOccurs="0"/>
                <xsd:element ref="ns2:Review_x002f_Expiry_x0020_Date" minOccurs="0"/>
                <xsd:element ref="ns2:a42378fcf8ee4c86a9e0031012c55048" minOccurs="0"/>
                <xsd:element ref="ns2:a02e18fbe242454ca4839478e17f56fc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1:URL" minOccurs="0"/>
                <xsd:element ref="ns3:lcf76f155ced4ddcb4097134ff3c332f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URL" ma:index="21" nillable="true" ma:displayName="URL" ma:internalName="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fc796f-8643-486e-8997-d31e75ae07ce" elementFormDefault="qualified">
    <xsd:import namespace="http://schemas.microsoft.com/office/2006/documentManagement/types"/>
    <xsd:import namespace="http://schemas.microsoft.com/office/infopath/2007/PartnerControls"/>
    <xsd:element name="Content_x0020_Author" ma:index="8" nillable="true" ma:displayName="Content Author" ma:list="UserInfo" ma:SearchPeopleOnly="false" ma:SharePointGroup="0" ma:internalName="Content_x0020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f9d9a35935f447ba812b90a18b999dc" ma:index="9" nillable="true" ma:taxonomy="true" ma:internalName="lf9d9a35935f447ba812b90a18b999dc" ma:taxonomyFieldName="Content_x0020_Tag" ma:displayName="Content Tag" ma:default="" ma:fieldId="{5f9d9a35-935f-447b-a812-b90a18b999dc}" ma:sspId="95d64b0b-b9db-40f4-af1f-30e697a1503c" ma:termSetId="8f4aaf3a-f296-44c9-9b41-3d70076c8f2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bba23c5c-a7a0-40a9-87f2-801001f6c18e}" ma:internalName="TaxCatchAll" ma:showField="CatchAllData" ma:web="f28fe05d-740b-43fa-94d6-0fce2dea65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bba23c5c-a7a0-40a9-87f2-801001f6c18e}" ma:internalName="TaxCatchAllLabel" ma:readOnly="true" ma:showField="CatchAllDataLabel" ma:web="f28fe05d-740b-43fa-94d6-0fce2dea65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Review_x002f_Expiry_x0020_Date" ma:index="13" nillable="true" ma:displayName="Review/Expiry Date" ma:format="DateOnly" ma:internalName="Review_x002F_Expiry_x0020_Date">
      <xsd:simpleType>
        <xsd:restriction base="dms:DateTime"/>
      </xsd:simpleType>
    </xsd:element>
    <xsd:element name="a42378fcf8ee4c86a9e0031012c55048" ma:index="14" nillable="true" ma:taxonomy="true" ma:internalName="a42378fcf8ee4c86a9e0031012c55048" ma:taxonomyFieldName="Tags" ma:displayName="Tags" ma:default="" ma:fieldId="{a42378fc-f8ee-4c86-a9e0-031012c55048}" ma:taxonomyMulti="true" ma:sspId="95d64b0b-b9db-40f4-af1f-30e697a1503c" ma:termSetId="c3d58b63-2877-4165-a572-c95dd284e3b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02e18fbe242454ca4839478e17f56fc" ma:index="16" nillable="true" ma:taxonomy="true" ma:internalName="a02e18fbe242454ca4839478e17f56fc" ma:taxonomyFieldName="Target_x0020_Country" ma:displayName="Target Country" ma:default="" ma:fieldId="{a02e18fb-e242-454c-a483-9478e17f56fc}" ma:taxonomyMulti="true" ma:sspId="95d64b0b-b9db-40f4-af1f-30e697a1503c" ma:termSetId="577e9599-6a95-4811-9f57-40f2cfdd69fd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dce2e-ae55-4a86-9f02-8964c44ea8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95d64b0b-b9db-40f4-af1f-30e697a150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8fe05d-740b-43fa-94d6-0fce2dea65e7" elementFormDefault="qualified">
    <xsd:import namespace="http://schemas.microsoft.com/office/2006/documentManagement/types"/>
    <xsd:import namespace="http://schemas.microsoft.com/office/infopath/2007/PartnerControls"/>
    <xsd:element name="SharedWithUsers" ma:index="2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95d64b0b-b9db-40f4-af1f-30e697a1503c" ContentTypeId="0x0101" PreviousValue="false"/>
</file>

<file path=customXml/itemProps1.xml><?xml version="1.0" encoding="utf-8"?>
<ds:datastoreItem xmlns:ds="http://schemas.openxmlformats.org/officeDocument/2006/customXml" ds:itemID="{BC392F57-1052-4C99-90E2-907251ECDB6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3C240A6-E85F-4E97-8F39-FB28041B80A0}">
  <ds:schemaRefs>
    <ds:schemaRef ds:uri="http://www.w3.org/XML/1998/namespace"/>
    <ds:schemaRef ds:uri="0afc796f-8643-486e-8997-d31e75ae07ce"/>
    <ds:schemaRef ds:uri="http://purl.org/dc/terms/"/>
    <ds:schemaRef ds:uri="http://schemas.openxmlformats.org/package/2006/metadata/core-properties"/>
    <ds:schemaRef ds:uri="06caee19-00b5-48df-bf01-7741a1496c06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7dafaee0-0f14-4d71-9768-8f6113da2e1a"/>
    <ds:schemaRef ds:uri="http://schemas.microsoft.com/office/2006/metadata/properties"/>
    <ds:schemaRef ds:uri="f28fe05d-740b-43fa-94d6-0fce2dea65e7"/>
    <ds:schemaRef ds:uri="63adce2e-ae55-4a86-9f02-8964c44ea8e7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C23B7B5F-8310-4209-A4D8-2F966CF92A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afc796f-8643-486e-8997-d31e75ae07ce"/>
    <ds:schemaRef ds:uri="63adce2e-ae55-4a86-9f02-8964c44ea8e7"/>
    <ds:schemaRef ds:uri="f28fe05d-740b-43fa-94d6-0fce2dea65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B05B1434-7CBF-4D6C-8D94-85FFF169D2BF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4</TotalTime>
  <Words>1016</Words>
  <Application>Microsoft Office PowerPoint</Application>
  <PresentationFormat>와이드스크린</PresentationFormat>
  <Paragraphs>403</Paragraphs>
  <Slides>15</Slides>
  <Notes>15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5</vt:i4>
      </vt:variant>
    </vt:vector>
  </HeadingPairs>
  <TitlesOfParts>
    <vt:vector size="16" baseType="lpstr">
      <vt:lpstr>PTC PowerPoint Template</vt:lpstr>
      <vt:lpstr>PTC Corporate Template FY'24</vt:lpstr>
      <vt:lpstr>PowerPoint 프레젠테이션</vt:lpstr>
      <vt:lpstr>PowerPoint 프레젠테이션</vt:lpstr>
      <vt:lpstr>Ptc icon library</vt:lpstr>
      <vt:lpstr>PTC ICONS</vt:lpstr>
      <vt:lpstr>PTC Icons</vt:lpstr>
      <vt:lpstr>PTC Icons</vt:lpstr>
      <vt:lpstr>PTC ICONS</vt:lpstr>
      <vt:lpstr>PTC ICONS  </vt:lpstr>
      <vt:lpstr>PTC ICONS</vt:lpstr>
      <vt:lpstr>PTC ICONS  </vt:lpstr>
      <vt:lpstr>PTC ICONS</vt:lpstr>
      <vt:lpstr>Ptc icons</vt:lpstr>
      <vt:lpstr>PTC Icons</vt:lpstr>
      <vt:lpstr>PTC IC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TC Corporate Template FY'24</dc:title>
  <dc:creator>McCagg, Marty</dc:creator>
  <cp:lastModifiedBy>McCagg, Marty</cp:lastModifiedBy>
  <cp:revision>20</cp:revision>
  <dcterms:created xsi:type="dcterms:W3CDTF">2024-02-26T16:07:11Z</dcterms:created>
  <dcterms:modified xsi:type="dcterms:W3CDTF">2024-03-13T02:4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49B424B222E04C877A5C27EA69A6B6</vt:lpwstr>
  </property>
  <property fmtid="{D5CDD505-2E9C-101B-9397-08002B2CF9AE}" pid="3" name="MediaServiceImageTags">
    <vt:lpwstr/>
  </property>
  <property fmtid="{D5CDD505-2E9C-101B-9397-08002B2CF9AE}" pid="4" name="Content Tag">
    <vt:lpwstr/>
  </property>
  <property fmtid="{D5CDD505-2E9C-101B-9397-08002B2CF9AE}" pid="5" name="Target_x0020_Country">
    <vt:lpwstr/>
  </property>
  <property fmtid="{D5CDD505-2E9C-101B-9397-08002B2CF9AE}" pid="6" name="Target Country">
    <vt:lpwstr/>
  </property>
  <property fmtid="{D5CDD505-2E9C-101B-9397-08002B2CF9AE}" pid="7" name="Tags">
    <vt:lpwstr/>
  </property>
  <property fmtid="{D5CDD505-2E9C-101B-9397-08002B2CF9AE}" pid="8" name="Content_x0020_Tag">
    <vt:lpwstr/>
  </property>
</Properties>
</file>